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3" r:id="rId5"/>
    <p:sldMasterId id="2147483724" r:id="rId6"/>
    <p:sldMasterId id="2147483754" r:id="rId7"/>
    <p:sldMasterId id="2147483777" r:id="rId8"/>
    <p:sldMasterId id="2147483780" r:id="rId9"/>
    <p:sldMasterId id="2147483802" r:id="rId10"/>
    <p:sldMasterId id="2147483819" r:id="rId11"/>
    <p:sldMasterId id="2147483880" r:id="rId12"/>
  </p:sldMasterIdLst>
  <p:notesMasterIdLst>
    <p:notesMasterId r:id="rId41"/>
  </p:notesMasterIdLst>
  <p:handoutMasterIdLst>
    <p:handoutMasterId r:id="rId42"/>
  </p:handoutMasterIdLst>
  <p:sldIdLst>
    <p:sldId id="2134805622" r:id="rId13"/>
    <p:sldId id="2134805623" r:id="rId14"/>
    <p:sldId id="2134805624" r:id="rId15"/>
    <p:sldId id="2134805625" r:id="rId16"/>
    <p:sldId id="2134805626" r:id="rId17"/>
    <p:sldId id="2134805627" r:id="rId18"/>
    <p:sldId id="2134805628" r:id="rId19"/>
    <p:sldId id="2134805629" r:id="rId20"/>
    <p:sldId id="2134805630" r:id="rId21"/>
    <p:sldId id="2134805631" r:id="rId22"/>
    <p:sldId id="2134805632" r:id="rId23"/>
    <p:sldId id="2134805633" r:id="rId24"/>
    <p:sldId id="2134805634" r:id="rId25"/>
    <p:sldId id="2134805635" r:id="rId26"/>
    <p:sldId id="2134805636" r:id="rId27"/>
    <p:sldId id="2134805637" r:id="rId28"/>
    <p:sldId id="2134805638" r:id="rId29"/>
    <p:sldId id="2134805639" r:id="rId30"/>
    <p:sldId id="2134805640" r:id="rId31"/>
    <p:sldId id="2134805641" r:id="rId32"/>
    <p:sldId id="2134805642" r:id="rId33"/>
    <p:sldId id="2134805643" r:id="rId34"/>
    <p:sldId id="2134805644" r:id="rId35"/>
    <p:sldId id="2134805645" r:id="rId36"/>
    <p:sldId id="2134805646" r:id="rId37"/>
    <p:sldId id="2134805647" r:id="rId38"/>
    <p:sldId id="2134805648" r:id="rId39"/>
    <p:sldId id="2134805650" r:id="rId40"/>
  </p:sldIdLst>
  <p:sldSz cx="12192000" cy="6858000"/>
  <p:notesSz cx="6797675" cy="9926638"/>
  <p:custDataLst>
    <p:tags r:id="rId4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504" userDrawn="1">
          <p15:clr>
            <a:srgbClr val="A4A3A4"/>
          </p15:clr>
        </p15:guide>
        <p15:guide id="3" orient="horz" pos="2115" userDrawn="1">
          <p15:clr>
            <a:srgbClr val="A4A3A4"/>
          </p15:clr>
        </p15:guide>
        <p15:guide id="7" pos="5124" userDrawn="1">
          <p15:clr>
            <a:srgbClr val="A4A3A4"/>
          </p15:clr>
        </p15:guide>
        <p15:guide id="8" orient="horz" pos="514" userDrawn="1">
          <p15:clr>
            <a:srgbClr val="A4A3A4"/>
          </p15:clr>
        </p15:guide>
        <p15:guide id="9" orient="horz" pos="4135" userDrawn="1">
          <p15:clr>
            <a:srgbClr val="A4A3A4"/>
          </p15:clr>
        </p15:guide>
        <p15:guide id="10" orient="horz" pos="799" userDrawn="1">
          <p15:clr>
            <a:srgbClr val="A4A3A4"/>
          </p15:clr>
        </p15:guide>
        <p15:guide id="11" orient="horz" pos="4319" userDrawn="1">
          <p15:clr>
            <a:srgbClr val="A4A3A4"/>
          </p15:clr>
        </p15:guide>
        <p15:guide id="12" pos="3843" userDrawn="1">
          <p15:clr>
            <a:srgbClr val="A4A3A4"/>
          </p15:clr>
        </p15:guide>
        <p15:guide id="13" pos="303" userDrawn="1">
          <p15:clr>
            <a:srgbClr val="A4A3A4"/>
          </p15:clr>
        </p15:guide>
        <p15:guide id="14" pos="7387" userDrawn="1">
          <p15:clr>
            <a:srgbClr val="A4A3A4"/>
          </p15:clr>
        </p15:guide>
        <p15:guide id="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7" userDrawn="1">
          <p15:clr>
            <a:srgbClr val="A4A3A4"/>
          </p15:clr>
        </p15:guide>
        <p15:guide id="2" pos="2209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scale Reidenberg" initials="PR" lastIdx="106" clrIdx="0"/>
  <p:cmAuthor id="1" name="Petermjflanagan" initials="P" lastIdx="5" clrIdx="1"/>
  <p:cmAuthor id="2" name="Mirjam Britschgi" initials="MB" lastIdx="8" clrIdx="2">
    <p:extLst>
      <p:ext uri="{19B8F6BF-5375-455C-9EA6-DF929625EA0E}">
        <p15:presenceInfo xmlns:p15="http://schemas.microsoft.com/office/powerpoint/2012/main" userId="S-1-5-21-1482476501-484061587-682003330-155733" providerId="AD"/>
      </p:ext>
    </p:extLst>
  </p:cmAuthor>
  <p:cmAuthor id="3" name="Maja Simic" initials="MS" lastIdx="15" clrIdx="3">
    <p:extLst>
      <p:ext uri="{19B8F6BF-5375-455C-9EA6-DF929625EA0E}">
        <p15:presenceInfo xmlns:p15="http://schemas.microsoft.com/office/powerpoint/2012/main" userId="S::maja.simic@bayer.com::86c4dc09-a818-48df-b0ac-c3db72052845" providerId="AD"/>
      </p:ext>
    </p:extLst>
  </p:cmAuthor>
  <p:cmAuthor id="4" name="Philipp Ritter" initials="PR" lastIdx="12" clrIdx="4">
    <p:extLst>
      <p:ext uri="{19B8F6BF-5375-455C-9EA6-DF929625EA0E}">
        <p15:presenceInfo xmlns:p15="http://schemas.microsoft.com/office/powerpoint/2012/main" userId="S::philipp.ritter@bayer.com::e585a0a4-e21a-4f5e-b147-f2f2620664e0" providerId="AD"/>
      </p:ext>
    </p:extLst>
  </p:cmAuthor>
  <p:cmAuthor id="5" name="Alexa Becker" initials="AB" lastIdx="9" clrIdx="5">
    <p:extLst>
      <p:ext uri="{19B8F6BF-5375-455C-9EA6-DF929625EA0E}">
        <p15:presenceInfo xmlns:p15="http://schemas.microsoft.com/office/powerpoint/2012/main" userId="S::alexa.becker@bayer.com::257d1a27-6d3e-41f1-aab2-3dc6aae17b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597"/>
    <a:srgbClr val="10384F"/>
    <a:srgbClr val="00CC00"/>
    <a:srgbClr val="A13F88"/>
    <a:srgbClr val="0000FF"/>
    <a:srgbClr val="FF0066"/>
    <a:srgbClr val="F5D176"/>
    <a:srgbClr val="FCF0D1"/>
    <a:srgbClr val="7A7A7A"/>
    <a:srgbClr val="EEB1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224" autoAdjust="0"/>
  </p:normalViewPr>
  <p:slideViewPr>
    <p:cSldViewPr snapToGrid="0">
      <p:cViewPr varScale="1">
        <p:scale>
          <a:sx n="75" d="100"/>
          <a:sy n="75" d="100"/>
        </p:scale>
        <p:origin x="874" y="53"/>
      </p:cViewPr>
      <p:guideLst>
        <p:guide orient="horz" pos="504"/>
        <p:guide orient="horz" pos="2115"/>
        <p:guide pos="5124"/>
        <p:guide orient="horz" pos="514"/>
        <p:guide orient="horz" pos="4135"/>
        <p:guide orient="horz" pos="799"/>
        <p:guide orient="horz" pos="4319"/>
        <p:guide pos="3843"/>
        <p:guide pos="303"/>
        <p:guide pos="7387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27"/>
        <p:guide pos="2209"/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microsoft.com/office/2016/11/relationships/changesInfo" Target="changesInfos/changesInfo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Master" Target="slideMasters/slideMaster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u Marschalleck" userId="10daab7a-c84f-4104-801c-1b479a9d315c" providerId="ADAL" clId="{F044552C-1109-4574-BD02-EEB8483C5F10}"/>
    <pc:docChg chg="undo redo custSel addSld delSld modSld sldOrd modMainMaster addSection delSection modSection replTag delTag">
      <pc:chgData name="Lou Marschalleck" userId="10daab7a-c84f-4104-801c-1b479a9d315c" providerId="ADAL" clId="{F044552C-1109-4574-BD02-EEB8483C5F10}" dt="2023-11-29T15:16:29.554" v="222"/>
      <pc:docMkLst>
        <pc:docMk/>
      </pc:docMkLst>
      <pc:sldChg chg="modSp del mod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875583548" sldId="297"/>
        </pc:sldMkLst>
        <pc:spChg chg="mod">
          <ac:chgData name="Lou Marschalleck" userId="10daab7a-c84f-4104-801c-1b479a9d315c" providerId="ADAL" clId="{F044552C-1109-4574-BD02-EEB8483C5F10}" dt="2023-11-21T16:11:51.145" v="111" actId="27636"/>
          <ac:spMkLst>
            <pc:docMk/>
            <pc:sldMk cId="3875583548" sldId="297"/>
            <ac:spMk id="4" creationId="{F0D26DF1-BACA-491E-81B5-E0CE45D8ECEC}"/>
          </ac:spMkLst>
        </pc:spChg>
      </pc:sldChg>
      <pc:sldChg chg="modSp del mod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291109537" sldId="1030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291109537" sldId="1030"/>
            <ac:spMk id="9" creationId="{507389EB-4949-481D-B5C4-190CA045023D}"/>
          </ac:spMkLst>
        </pc:spChg>
      </pc:sldChg>
      <pc:sldChg chg="modSp del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426277867" sldId="1141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426277867" sldId="1141"/>
            <ac:spMk id="2" creationId="{00000000-0000-0000-0000-000000000000}"/>
          </ac:spMkLst>
        </pc:spChg>
      </pc:sldChg>
      <pc:sldChg chg="modSp del mod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984277556" sldId="1219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984277556" sldId="1219"/>
            <ac:spMk id="5" creationId="{DD4AD713-ABB5-4582-8412-5D05940CF217}"/>
          </ac:spMkLst>
        </pc:spChg>
        <pc:spChg chg="mod">
          <ac:chgData name="Lou Marschalleck" userId="10daab7a-c84f-4104-801c-1b479a9d315c" providerId="ADAL" clId="{F044552C-1109-4574-BD02-EEB8483C5F10}" dt="2023-11-21T16:11:51.130" v="110" actId="27636"/>
          <ac:spMkLst>
            <pc:docMk/>
            <pc:sldMk cId="3984277556" sldId="1219"/>
            <ac:spMk id="6" creationId="{052A9F82-A6E9-462B-9541-1BC6BC6A6FDF}"/>
          </ac:spMkLst>
        </pc:spChg>
      </pc:sldChg>
      <pc:sldChg chg="modSp del mod">
        <pc:chgData name="Lou Marschalleck" userId="10daab7a-c84f-4104-801c-1b479a9d315c" providerId="ADAL" clId="{F044552C-1109-4574-BD02-EEB8483C5F10}" dt="2023-11-21T16:13:07.293" v="124" actId="18676"/>
        <pc:sldMkLst>
          <pc:docMk/>
          <pc:sldMk cId="1261979203" sldId="1225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1261979203" sldId="1225"/>
            <ac:spMk id="2" creationId="{43402416-4A17-4592-B892-B413D7BA4C22}"/>
          </ac:spMkLst>
        </pc:spChg>
        <pc:spChg chg="mod">
          <ac:chgData name="Lou Marschalleck" userId="10daab7a-c84f-4104-801c-1b479a9d315c" providerId="ADAL" clId="{F044552C-1109-4574-BD02-EEB8483C5F10}" dt="2023-11-21T16:11:51.193" v="115" actId="27636"/>
          <ac:spMkLst>
            <pc:docMk/>
            <pc:sldMk cId="1261979203" sldId="1225"/>
            <ac:spMk id="3" creationId="{DC248D4F-272B-4CD5-A197-E70ED76AB999}"/>
          </ac:spMkLst>
        </pc:spChg>
        <pc:spChg chg="mod">
          <ac:chgData name="Lou Marschalleck" userId="10daab7a-c84f-4104-801c-1b479a9d315c" providerId="ADAL" clId="{F044552C-1109-4574-BD02-EEB8483C5F10}" dt="2023-11-21T16:11:51.193" v="116" actId="27636"/>
          <ac:spMkLst>
            <pc:docMk/>
            <pc:sldMk cId="1261979203" sldId="1225"/>
            <ac:spMk id="23555" creationId="{00000000-0000-0000-0000-000000000000}"/>
          </ac:spMkLst>
        </pc:spChg>
      </pc:sldChg>
      <pc:sldChg chg="modSp del mod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168514997" sldId="1278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168514997" sldId="1278"/>
            <ac:spMk id="3" creationId="{D327A6D4-8F64-4FF9-B03A-D009C369BCF1}"/>
          </ac:spMkLst>
        </pc:spChg>
        <pc:spChg chg="mod">
          <ac:chgData name="Lou Marschalleck" userId="10daab7a-c84f-4104-801c-1b479a9d315c" providerId="ADAL" clId="{F044552C-1109-4574-BD02-EEB8483C5F10}" dt="2023-11-21T16:11:51.177" v="114" actId="27636"/>
          <ac:spMkLst>
            <pc:docMk/>
            <pc:sldMk cId="3168514997" sldId="1278"/>
            <ac:spMk id="4" creationId="{C4590D0B-25F8-4D0D-BCD9-E512959A754A}"/>
          </ac:spMkLst>
        </pc:spChg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168514997" sldId="1278"/>
            <ac:spMk id="6" creationId="{9909EE2F-41D1-4723-80D2-80A5DAE07CBC}"/>
          </ac:spMkLst>
        </pc:spChg>
      </pc:sldChg>
      <pc:sldChg chg="modSp del mod modTransition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787549941" sldId="1281"/>
        </pc:sldMkLst>
        <pc:spChg chg="mod">
          <ac:chgData name="Lou Marschalleck" userId="10daab7a-c84f-4104-801c-1b479a9d315c" providerId="ADAL" clId="{F044552C-1109-4574-BD02-EEB8483C5F10}" dt="2023-11-21T16:11:51.161" v="112" actId="27636"/>
          <ac:spMkLst>
            <pc:docMk/>
            <pc:sldMk cId="3787549941" sldId="1281"/>
            <ac:spMk id="48" creationId="{4DA8E6A6-B808-4BD5-BE83-AC6BD60DD209}"/>
          </ac:spMkLst>
        </pc:spChg>
      </pc:sldChg>
      <pc:sldChg chg="modSp del modTransition">
        <pc:chgData name="Lou Marschalleck" userId="10daab7a-c84f-4104-801c-1b479a9d315c" providerId="ADAL" clId="{F044552C-1109-4574-BD02-EEB8483C5F10}" dt="2023-11-21T16:13:07.293" v="124" actId="18676"/>
        <pc:sldMkLst>
          <pc:docMk/>
          <pc:sldMk cId="1147196760" sldId="1286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1147196760" sldId="1286"/>
            <ac:spMk id="2" creationId="{30FADA5A-00E1-4B2B-837E-A0A454A12686}"/>
          </ac:spMkLst>
        </pc:spChg>
      </pc:sldChg>
      <pc:sldChg chg="modSp del modTransition">
        <pc:chgData name="Lou Marschalleck" userId="10daab7a-c84f-4104-801c-1b479a9d315c" providerId="ADAL" clId="{F044552C-1109-4574-BD02-EEB8483C5F10}" dt="2023-11-21T16:13:07.293" v="124" actId="18676"/>
        <pc:sldMkLst>
          <pc:docMk/>
          <pc:sldMk cId="4120516966" sldId="1288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4120516966" sldId="1288"/>
            <ac:spMk id="2" creationId="{A9ADE10F-D268-451A-9D81-864E2B2A9B19}"/>
          </ac:spMkLst>
        </pc:spChg>
      </pc:sldChg>
      <pc:sldChg chg="modSp del modTransition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679412419" sldId="1289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679412419" sldId="1289"/>
            <ac:spMk id="2" creationId="{7318586C-6F29-47EE-9FEE-4980CB4AEABB}"/>
          </ac:spMkLst>
        </pc:spChg>
      </pc:sldChg>
      <pc:sldChg chg="modSp del modTransition">
        <pc:chgData name="Lou Marschalleck" userId="10daab7a-c84f-4104-801c-1b479a9d315c" providerId="ADAL" clId="{F044552C-1109-4574-BD02-EEB8483C5F10}" dt="2023-11-21T16:13:07.293" v="124" actId="18676"/>
        <pc:sldMkLst>
          <pc:docMk/>
          <pc:sldMk cId="465977008" sldId="1291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465977008" sldId="1291"/>
            <ac:spMk id="2" creationId="{8D5852D4-8D84-4C1A-8903-941BCE351C66}"/>
          </ac:spMkLst>
        </pc:spChg>
      </pc:sldChg>
      <pc:sldChg chg="modSp del modTransition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703366871" sldId="1294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703366871" sldId="1294"/>
            <ac:spMk id="2" creationId="{2154B793-7D49-496E-8D76-86A6CD8D0D0D}"/>
          </ac:spMkLst>
        </pc:spChg>
      </pc:sldChg>
      <pc:sldChg chg="modSp del modTransition">
        <pc:chgData name="Lou Marschalleck" userId="10daab7a-c84f-4104-801c-1b479a9d315c" providerId="ADAL" clId="{F044552C-1109-4574-BD02-EEB8483C5F10}" dt="2023-11-21T16:13:07.293" v="124" actId="18676"/>
        <pc:sldMkLst>
          <pc:docMk/>
          <pc:sldMk cId="1637705936" sldId="1346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1637705936" sldId="1346"/>
            <ac:spMk id="2" creationId="{F6F50A88-848B-44E2-9821-4EF99A26E1BC}"/>
          </ac:spMkLst>
        </pc:spChg>
      </pc:sldChg>
      <pc:sldChg chg="modSp del modTransition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81948489" sldId="1350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81948489" sldId="1350"/>
            <ac:spMk id="2" creationId="{34A65267-876C-415D-B6E7-4D336BDACE44}"/>
          </ac:spMkLst>
        </pc:spChg>
      </pc:sldChg>
      <pc:sldChg chg="modSp del">
        <pc:chgData name="Lou Marschalleck" userId="10daab7a-c84f-4104-801c-1b479a9d315c" providerId="ADAL" clId="{F044552C-1109-4574-BD02-EEB8483C5F10}" dt="2023-11-21T16:13:07.293" v="124" actId="18676"/>
        <pc:sldMkLst>
          <pc:docMk/>
          <pc:sldMk cId="2309734972" sldId="1546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2309734972" sldId="1546"/>
            <ac:spMk id="4" creationId="{67BC64B2-66EF-45BA-A9AD-B2AE020B8B38}"/>
          </ac:spMkLst>
        </pc:spChg>
      </pc:sldChg>
      <pc:sldChg chg="modSp del">
        <pc:chgData name="Lou Marschalleck" userId="10daab7a-c84f-4104-801c-1b479a9d315c" providerId="ADAL" clId="{F044552C-1109-4574-BD02-EEB8483C5F10}" dt="2023-11-21T16:13:07.293" v="124" actId="18676"/>
        <pc:sldMkLst>
          <pc:docMk/>
          <pc:sldMk cId="2777434515" sldId="1580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2777434515" sldId="1580"/>
            <ac:spMk id="4" creationId="{67BC64B2-66EF-45BA-A9AD-B2AE020B8B38}"/>
          </ac:spMkLst>
        </pc:spChg>
      </pc:sldChg>
      <pc:sldChg chg="modSp del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074608020" sldId="2179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074608020" sldId="2179"/>
            <ac:spMk id="4" creationId="{67BC64B2-66EF-45BA-A9AD-B2AE020B8B38}"/>
          </ac:spMkLst>
        </pc:spChg>
      </pc:sldChg>
      <pc:sldChg chg="modSp del mod">
        <pc:chgData name="Lou Marschalleck" userId="10daab7a-c84f-4104-801c-1b479a9d315c" providerId="ADAL" clId="{F044552C-1109-4574-BD02-EEB8483C5F10}" dt="2023-11-21T16:13:07.293" v="124" actId="18676"/>
        <pc:sldMkLst>
          <pc:docMk/>
          <pc:sldMk cId="1360571753" sldId="13629"/>
        </pc:sldMkLst>
        <pc:spChg chg="mod">
          <ac:chgData name="Lou Marschalleck" userId="10daab7a-c84f-4104-801c-1b479a9d315c" providerId="ADAL" clId="{F044552C-1109-4574-BD02-EEB8483C5F10}" dt="2023-11-21T16:11:26.856" v="47" actId="27636"/>
          <ac:spMkLst>
            <pc:docMk/>
            <pc:sldMk cId="1360571753" sldId="13629"/>
            <ac:spMk id="4" creationId="{486533A5-72C7-4F2E-BB6F-25EDB3C64345}"/>
          </ac:spMkLst>
        </pc:spChg>
      </pc:sldChg>
      <pc:sldChg chg="modSp del">
        <pc:chgData name="Lou Marschalleck" userId="10daab7a-c84f-4104-801c-1b479a9d315c" providerId="ADAL" clId="{F044552C-1109-4574-BD02-EEB8483C5F10}" dt="2023-11-21T16:13:07.293" v="124" actId="18676"/>
        <pc:sldMkLst>
          <pc:docMk/>
          <pc:sldMk cId="1310729747" sldId="13630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1310729747" sldId="13630"/>
            <ac:spMk id="4" creationId="{486533A5-72C7-4F2E-BB6F-25EDB3C64345}"/>
          </ac:spMkLst>
        </pc:spChg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1310729747" sldId="13630"/>
            <ac:spMk id="5" creationId="{BB4F2902-3955-4940-A330-5A3439DD0685}"/>
          </ac:spMkLst>
        </pc:spChg>
      </pc:sldChg>
      <pc:sldChg chg="modSp del">
        <pc:chgData name="Lou Marschalleck" userId="10daab7a-c84f-4104-801c-1b479a9d315c" providerId="ADAL" clId="{F044552C-1109-4574-BD02-EEB8483C5F10}" dt="2023-11-21T16:13:07.293" v="124" actId="18676"/>
        <pc:sldMkLst>
          <pc:docMk/>
          <pc:sldMk cId="414639488" sldId="13643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414639488" sldId="13643"/>
            <ac:spMk id="5" creationId="{57768E21-7EC5-4D4B-8AEE-A9E40183406C}"/>
          </ac:spMkLst>
        </pc:spChg>
      </pc:sldChg>
      <pc:sldChg chg="modSp del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546680441" sldId="13710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546680441" sldId="13710"/>
            <ac:spMk id="5" creationId="{E34A33FF-2491-4ED3-9D17-8A45B4C0DA0B}"/>
          </ac:spMkLst>
        </pc:spChg>
        <pc:spChg chg="mod">
          <ac:chgData name="Lou Marschalleck" userId="10daab7a-c84f-4104-801c-1b479a9d315c" providerId="ADAL" clId="{F044552C-1109-4574-BD02-EEB8483C5F10}" dt="2023-11-21T16:11:45.190" v="50"/>
          <ac:spMkLst>
            <pc:docMk/>
            <pc:sldMk cId="3546680441" sldId="13710"/>
            <ac:spMk id="8" creationId="{624BCCDD-F67D-4E83-ADCB-0FBB838A49FC}"/>
          </ac:spMkLst>
        </pc:spChg>
      </pc:sldChg>
      <pc:sldChg chg="del">
        <pc:chgData name="Lou Marschalleck" userId="10daab7a-c84f-4104-801c-1b479a9d315c" providerId="ADAL" clId="{F044552C-1109-4574-BD02-EEB8483C5F10}" dt="2023-11-21T16:13:07.293" v="124" actId="18676"/>
        <pc:sldMkLst>
          <pc:docMk/>
          <pc:sldMk cId="924003748" sldId="13733"/>
        </pc:sldMkLst>
      </pc:sldChg>
      <pc:sldChg chg="modSp del">
        <pc:chgData name="Lou Marschalleck" userId="10daab7a-c84f-4104-801c-1b479a9d315c" providerId="ADAL" clId="{F044552C-1109-4574-BD02-EEB8483C5F10}" dt="2023-11-21T16:13:07.293" v="124" actId="18676"/>
        <pc:sldMkLst>
          <pc:docMk/>
          <pc:sldMk cId="2874150850" sldId="13734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2874150850" sldId="13734"/>
            <ac:spMk id="6" creationId="{351F5817-1C1D-4515-81B4-AC6C08B71B63}"/>
          </ac:spMkLst>
        </pc:spChg>
      </pc:sldChg>
      <pc:sldChg chg="modSp del mod modTransition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299150112" sldId="13737"/>
        </pc:sldMkLst>
        <pc:spChg chg="mod">
          <ac:chgData name="Lou Marschalleck" userId="10daab7a-c84f-4104-801c-1b479a9d315c" providerId="ADAL" clId="{F044552C-1109-4574-BD02-EEB8483C5F10}" dt="2023-11-21T16:11:51.173" v="113" actId="27636"/>
          <ac:spMkLst>
            <pc:docMk/>
            <pc:sldMk cId="3299150112" sldId="13737"/>
            <ac:spMk id="2" creationId="{34A65267-876C-415D-B6E7-4D336BDACE44}"/>
          </ac:spMkLst>
        </pc:spChg>
      </pc:sldChg>
      <pc:sldChg chg="modSp del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199435414" sldId="13738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199435414" sldId="13738"/>
            <ac:spMk id="2" creationId="{DD21EC9B-1572-4D94-B762-C249D50C705F}"/>
          </ac:spMkLst>
        </pc:spChg>
      </pc:sldChg>
      <pc:sldChg chg="modSp del">
        <pc:chgData name="Lou Marschalleck" userId="10daab7a-c84f-4104-801c-1b479a9d315c" providerId="ADAL" clId="{F044552C-1109-4574-BD02-EEB8483C5F10}" dt="2023-11-21T16:13:07.293" v="124" actId="18676"/>
        <pc:sldMkLst>
          <pc:docMk/>
          <pc:sldMk cId="1776601033" sldId="13739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1776601033" sldId="13739"/>
            <ac:spMk id="2" creationId="{92262E6D-A405-49D3-8FBE-FDAF7A87DB92}"/>
          </ac:spMkLst>
        </pc:spChg>
      </pc:sldChg>
      <pc:sldChg chg="modSp del mod">
        <pc:chgData name="Lou Marschalleck" userId="10daab7a-c84f-4104-801c-1b479a9d315c" providerId="ADAL" clId="{F044552C-1109-4574-BD02-EEB8483C5F10}" dt="2023-11-21T16:13:07.293" v="124" actId="18676"/>
        <pc:sldMkLst>
          <pc:docMk/>
          <pc:sldMk cId="4193819489" sldId="13740"/>
        </pc:sldMkLst>
        <pc:spChg chg="mod">
          <ac:chgData name="Lou Marschalleck" userId="10daab7a-c84f-4104-801c-1b479a9d315c" providerId="ADAL" clId="{F044552C-1109-4574-BD02-EEB8483C5F10}" dt="2023-11-21T16:11:51.208" v="117" actId="27636"/>
          <ac:spMkLst>
            <pc:docMk/>
            <pc:sldMk cId="4193819489" sldId="13740"/>
            <ac:spMk id="4" creationId="{67BC64B2-66EF-45BA-A9AD-B2AE020B8B38}"/>
          </ac:spMkLst>
        </pc:spChg>
      </pc:sldChg>
      <pc:sldChg chg="modSp del">
        <pc:chgData name="Lou Marschalleck" userId="10daab7a-c84f-4104-801c-1b479a9d315c" providerId="ADAL" clId="{F044552C-1109-4574-BD02-EEB8483C5F10}" dt="2023-11-21T16:13:07.293" v="124" actId="18676"/>
        <pc:sldMkLst>
          <pc:docMk/>
          <pc:sldMk cId="3003153013" sldId="2134805621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003153013" sldId="2134805621"/>
            <ac:spMk id="5" creationId="{68C86BC9-1EAD-49CC-9551-E969BDB8B246}"/>
          </ac:spMkLst>
        </pc:spChg>
      </pc:sldChg>
      <pc:sldChg chg="addSp delSp modSp add mod modClrScheme chgLayout">
        <pc:chgData name="Lou Marschalleck" userId="10daab7a-c84f-4104-801c-1b479a9d315c" providerId="ADAL" clId="{F044552C-1109-4574-BD02-EEB8483C5F10}" dt="2023-11-29T15:16:29.554" v="222"/>
        <pc:sldMkLst>
          <pc:docMk/>
          <pc:sldMk cId="1705463027" sldId="2134805622"/>
        </pc:sldMkLst>
        <pc:spChg chg="add mod">
          <ac:chgData name="Lou Marschalleck" userId="10daab7a-c84f-4104-801c-1b479a9d315c" providerId="ADAL" clId="{F044552C-1109-4574-BD02-EEB8483C5F10}" dt="2023-11-29T15:16:29.554" v="222"/>
          <ac:spMkLst>
            <pc:docMk/>
            <pc:sldMk cId="1705463027" sldId="2134805622"/>
            <ac:spMk id="2" creationId="{F2E312DB-6AAD-A0CE-7D49-4661FE7DF8D0}"/>
          </ac:spMkLst>
        </pc:spChg>
        <pc:spChg chg="mod ord">
          <ac:chgData name="Lou Marschalleck" userId="10daab7a-c84f-4104-801c-1b479a9d315c" providerId="ADAL" clId="{F044552C-1109-4574-BD02-EEB8483C5F10}" dt="2023-11-28T10:17:30.528" v="143" actId="20577"/>
          <ac:spMkLst>
            <pc:docMk/>
            <pc:sldMk cId="1705463027" sldId="2134805622"/>
            <ac:spMk id="9" creationId="{507389EB-4949-481D-B5C4-190CA045023D}"/>
          </ac:spMkLst>
        </pc:spChg>
        <pc:spChg chg="del mod">
          <ac:chgData name="Lou Marschalleck" userId="10daab7a-c84f-4104-801c-1b479a9d315c" providerId="ADAL" clId="{F044552C-1109-4574-BD02-EEB8483C5F10}" dt="2023-11-29T15:13:23.592" v="206"/>
          <ac:spMkLst>
            <pc:docMk/>
            <pc:sldMk cId="1705463027" sldId="2134805622"/>
            <ac:spMk id="12" creationId="{E72057FD-457C-4B8E-BE75-81E42B834797}"/>
          </ac:spMkLst>
        </pc:spChg>
        <pc:spChg chg="mod ord">
          <ac:chgData name="Lou Marschalleck" userId="10daab7a-c84f-4104-801c-1b479a9d315c" providerId="ADAL" clId="{F044552C-1109-4574-BD02-EEB8483C5F10}" dt="2023-11-28T10:08:00.800" v="130" actId="6549"/>
          <ac:spMkLst>
            <pc:docMk/>
            <pc:sldMk cId="1705463027" sldId="2134805622"/>
            <ac:spMk id="13" creationId="{16F15087-CB26-42BF-8221-4CC463C547AF}"/>
          </ac:spMkLst>
        </pc:spChg>
      </pc:sldChg>
      <pc:sldChg chg="add del ord">
        <pc:chgData name="Lou Marschalleck" userId="10daab7a-c84f-4104-801c-1b479a9d315c" providerId="ADAL" clId="{F044552C-1109-4574-BD02-EEB8483C5F10}" dt="2023-11-21T16:11:05.384" v="24" actId="2696"/>
        <pc:sldMkLst>
          <pc:docMk/>
          <pc:sldMk cId="2592611498" sldId="2134805622"/>
        </pc:sldMkLst>
      </pc:sldChg>
      <pc:sldChg chg="modSp add">
        <pc:chgData name="Lou Marschalleck" userId="10daab7a-c84f-4104-801c-1b479a9d315c" providerId="ADAL" clId="{F044552C-1109-4574-BD02-EEB8483C5F10}" dt="2023-11-21T16:11:50.690" v="101"/>
        <pc:sldMkLst>
          <pc:docMk/>
          <pc:sldMk cId="687337129" sldId="2134805623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687337129" sldId="2134805623"/>
            <ac:spMk id="2" creationId="{00000000-0000-0000-0000-000000000000}"/>
          </ac:spMkLst>
        </pc:spChg>
      </pc:sldChg>
      <pc:sldChg chg="modSp add">
        <pc:chgData name="Lou Marschalleck" userId="10daab7a-c84f-4104-801c-1b479a9d315c" providerId="ADAL" clId="{F044552C-1109-4574-BD02-EEB8483C5F10}" dt="2023-11-21T16:11:50.690" v="101"/>
        <pc:sldMkLst>
          <pc:docMk/>
          <pc:sldMk cId="3602752722" sldId="2134805624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602752722" sldId="2134805624"/>
            <ac:spMk id="5" creationId="{57768E21-7EC5-4D4B-8AEE-A9E40183406C}"/>
          </ac:spMkLst>
        </pc:spChg>
      </pc:sldChg>
      <pc:sldChg chg="addSp delSp modSp add mod modClrScheme chgLayout">
        <pc:chgData name="Lou Marschalleck" userId="10daab7a-c84f-4104-801c-1b479a9d315c" providerId="ADAL" clId="{F044552C-1109-4574-BD02-EEB8483C5F10}" dt="2023-11-21T16:12:21.226" v="121" actId="27636"/>
        <pc:sldMkLst>
          <pc:docMk/>
          <pc:sldMk cId="3190741059" sldId="2134805625"/>
        </pc:sldMkLst>
        <pc:spChg chg="add mod ord">
          <ac:chgData name="Lou Marschalleck" userId="10daab7a-c84f-4104-801c-1b479a9d315c" providerId="ADAL" clId="{F044552C-1109-4574-BD02-EEB8483C5F10}" dt="2023-11-21T16:12:21.163" v="120" actId="700"/>
          <ac:spMkLst>
            <pc:docMk/>
            <pc:sldMk cId="3190741059" sldId="2134805625"/>
            <ac:spMk id="2" creationId="{AC06DE70-30AD-0636-B7E7-8AFB1EA849AD}"/>
          </ac:spMkLst>
        </pc:spChg>
        <pc:spChg chg="mod ord">
          <ac:chgData name="Lou Marschalleck" userId="10daab7a-c84f-4104-801c-1b479a9d315c" providerId="ADAL" clId="{F044552C-1109-4574-BD02-EEB8483C5F10}" dt="2023-11-21T16:12:21.226" v="121" actId="27636"/>
          <ac:spMkLst>
            <pc:docMk/>
            <pc:sldMk cId="3190741059" sldId="2134805625"/>
            <ac:spMk id="5" creationId="{DD4AD713-ABB5-4582-8412-5D05940CF217}"/>
          </ac:spMkLst>
        </pc:spChg>
        <pc:spChg chg="del mod ord">
          <ac:chgData name="Lou Marschalleck" userId="10daab7a-c84f-4104-801c-1b479a9d315c" providerId="ADAL" clId="{F044552C-1109-4574-BD02-EEB8483C5F10}" dt="2023-11-21T16:12:21.163" v="120" actId="700"/>
          <ac:spMkLst>
            <pc:docMk/>
            <pc:sldMk cId="3190741059" sldId="2134805625"/>
            <ac:spMk id="6" creationId="{052A9F82-A6E9-462B-9541-1BC6BC6A6FDF}"/>
          </ac:spMkLst>
        </pc:spChg>
      </pc:sldChg>
      <pc:sldChg chg="modSp add modTransition">
        <pc:chgData name="Lou Marschalleck" userId="10daab7a-c84f-4104-801c-1b479a9d315c" providerId="ADAL" clId="{F044552C-1109-4574-BD02-EEB8483C5F10}" dt="2023-11-21T16:11:50.690" v="101"/>
        <pc:sldMkLst>
          <pc:docMk/>
          <pc:sldMk cId="3377455239" sldId="2134805626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377455239" sldId="2134805626"/>
            <ac:spMk id="2" creationId="{F6F50A88-848B-44E2-9821-4EF99A26E1BC}"/>
          </ac:spMkLst>
        </pc:spChg>
      </pc:sldChg>
      <pc:sldChg chg="modSp add mod">
        <pc:chgData name="Lou Marschalleck" userId="10daab7a-c84f-4104-801c-1b479a9d315c" providerId="ADAL" clId="{F044552C-1109-4574-BD02-EEB8483C5F10}" dt="2023-11-21T16:11:51.083" v="103" actId="27636"/>
        <pc:sldMkLst>
          <pc:docMk/>
          <pc:sldMk cId="1738683742" sldId="2134805627"/>
        </pc:sldMkLst>
        <pc:spChg chg="mod">
          <ac:chgData name="Lou Marschalleck" userId="10daab7a-c84f-4104-801c-1b479a9d315c" providerId="ADAL" clId="{F044552C-1109-4574-BD02-EEB8483C5F10}" dt="2023-11-21T16:11:51.083" v="103" actId="27636"/>
          <ac:spMkLst>
            <pc:docMk/>
            <pc:sldMk cId="1738683742" sldId="2134805627"/>
            <ac:spMk id="4" creationId="{F0D26DF1-BACA-491E-81B5-E0CE45D8ECEC}"/>
          </ac:spMkLst>
        </pc:spChg>
      </pc:sldChg>
      <pc:sldChg chg="modSp add mod modTransition">
        <pc:chgData name="Lou Marschalleck" userId="10daab7a-c84f-4104-801c-1b479a9d315c" providerId="ADAL" clId="{F044552C-1109-4574-BD02-EEB8483C5F10}" dt="2023-11-21T16:11:51.098" v="104" actId="27636"/>
        <pc:sldMkLst>
          <pc:docMk/>
          <pc:sldMk cId="2963977226" sldId="2134805628"/>
        </pc:sldMkLst>
        <pc:spChg chg="mod">
          <ac:chgData name="Lou Marschalleck" userId="10daab7a-c84f-4104-801c-1b479a9d315c" providerId="ADAL" clId="{F044552C-1109-4574-BD02-EEB8483C5F10}" dt="2023-11-21T16:11:51.098" v="104" actId="27636"/>
          <ac:spMkLst>
            <pc:docMk/>
            <pc:sldMk cId="2963977226" sldId="2134805628"/>
            <ac:spMk id="48" creationId="{4DA8E6A6-B808-4BD5-BE83-AC6BD60DD209}"/>
          </ac:spMkLst>
        </pc:spChg>
      </pc:sldChg>
      <pc:sldChg chg="modSp add">
        <pc:chgData name="Lou Marschalleck" userId="10daab7a-c84f-4104-801c-1b479a9d315c" providerId="ADAL" clId="{F044552C-1109-4574-BD02-EEB8483C5F10}" dt="2023-11-21T16:11:50.690" v="101"/>
        <pc:sldMkLst>
          <pc:docMk/>
          <pc:sldMk cId="3481663509" sldId="2134805629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481663509" sldId="2134805629"/>
            <ac:spMk id="5" creationId="{68C86BC9-1EAD-49CC-9551-E969BDB8B246}"/>
          </ac:spMkLst>
        </pc:spChg>
      </pc:sldChg>
      <pc:sldChg chg="modSp add modTransition">
        <pc:chgData name="Lou Marschalleck" userId="10daab7a-c84f-4104-801c-1b479a9d315c" providerId="ADAL" clId="{F044552C-1109-4574-BD02-EEB8483C5F10}" dt="2023-11-21T16:11:50.690" v="101"/>
        <pc:sldMkLst>
          <pc:docMk/>
          <pc:sldMk cId="336104876" sldId="2134805630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36104876" sldId="2134805630"/>
            <ac:spMk id="2" creationId="{34A65267-876C-415D-B6E7-4D336BDACE44}"/>
          </ac:spMkLst>
        </pc:spChg>
      </pc:sldChg>
      <pc:sldChg chg="modSp add mod modTransition">
        <pc:chgData name="Lou Marschalleck" userId="10daab7a-c84f-4104-801c-1b479a9d315c" providerId="ADAL" clId="{F044552C-1109-4574-BD02-EEB8483C5F10}" dt="2023-11-21T16:11:51.098" v="105" actId="27636"/>
        <pc:sldMkLst>
          <pc:docMk/>
          <pc:sldMk cId="528647274" sldId="2134805631"/>
        </pc:sldMkLst>
        <pc:spChg chg="mod">
          <ac:chgData name="Lou Marschalleck" userId="10daab7a-c84f-4104-801c-1b479a9d315c" providerId="ADAL" clId="{F044552C-1109-4574-BD02-EEB8483C5F10}" dt="2023-11-21T16:11:51.098" v="105" actId="27636"/>
          <ac:spMkLst>
            <pc:docMk/>
            <pc:sldMk cId="528647274" sldId="2134805631"/>
            <ac:spMk id="2" creationId="{34A65267-876C-415D-B6E7-4D336BDACE44}"/>
          </ac:spMkLst>
        </pc:spChg>
      </pc:sldChg>
      <pc:sldChg chg="addSp delSp modSp add mod modClrScheme chgLayout">
        <pc:chgData name="Lou Marschalleck" userId="10daab7a-c84f-4104-801c-1b479a9d315c" providerId="ADAL" clId="{F044552C-1109-4574-BD02-EEB8483C5F10}" dt="2023-11-21T16:12:29.640" v="122" actId="700"/>
        <pc:sldMkLst>
          <pc:docMk/>
          <pc:sldMk cId="2682513591" sldId="2134805632"/>
        </pc:sldMkLst>
        <pc:spChg chg="add mod ord">
          <ac:chgData name="Lou Marschalleck" userId="10daab7a-c84f-4104-801c-1b479a9d315c" providerId="ADAL" clId="{F044552C-1109-4574-BD02-EEB8483C5F10}" dt="2023-11-21T16:12:29.640" v="122" actId="700"/>
          <ac:spMkLst>
            <pc:docMk/>
            <pc:sldMk cId="2682513591" sldId="2134805632"/>
            <ac:spMk id="2" creationId="{E9578F33-5ADA-D1D5-A8AD-6B1C17CFCAED}"/>
          </ac:spMkLst>
        </pc:spChg>
        <pc:spChg chg="mod ord">
          <ac:chgData name="Lou Marschalleck" userId="10daab7a-c84f-4104-801c-1b479a9d315c" providerId="ADAL" clId="{F044552C-1109-4574-BD02-EEB8483C5F10}" dt="2023-11-21T16:12:29.640" v="122" actId="700"/>
          <ac:spMkLst>
            <pc:docMk/>
            <pc:sldMk cId="2682513591" sldId="2134805632"/>
            <ac:spMk id="3" creationId="{D327A6D4-8F64-4FF9-B03A-D009C369BCF1}"/>
          </ac:spMkLst>
        </pc:spChg>
        <pc:spChg chg="del mod ord">
          <ac:chgData name="Lou Marschalleck" userId="10daab7a-c84f-4104-801c-1b479a9d315c" providerId="ADAL" clId="{F044552C-1109-4574-BD02-EEB8483C5F10}" dt="2023-11-21T16:12:29.640" v="122" actId="700"/>
          <ac:spMkLst>
            <pc:docMk/>
            <pc:sldMk cId="2682513591" sldId="2134805632"/>
            <ac:spMk id="4" creationId="{C4590D0B-25F8-4D0D-BCD9-E512959A754A}"/>
          </ac:spMkLst>
        </pc:spChg>
        <pc:spChg chg="del mod">
          <ac:chgData name="Lou Marschalleck" userId="10daab7a-c84f-4104-801c-1b479a9d315c" providerId="ADAL" clId="{F044552C-1109-4574-BD02-EEB8483C5F10}" dt="2023-11-21T16:12:29.640" v="122" actId="700"/>
          <ac:spMkLst>
            <pc:docMk/>
            <pc:sldMk cId="2682513591" sldId="2134805632"/>
            <ac:spMk id="6" creationId="{9909EE2F-41D1-4723-80D2-80A5DAE07CBC}"/>
          </ac:spMkLst>
        </pc:spChg>
      </pc:sldChg>
      <pc:sldChg chg="modSp add">
        <pc:chgData name="Lou Marschalleck" userId="10daab7a-c84f-4104-801c-1b479a9d315c" providerId="ADAL" clId="{F044552C-1109-4574-BD02-EEB8483C5F10}" dt="2023-11-21T16:11:50.690" v="101"/>
        <pc:sldMkLst>
          <pc:docMk/>
          <pc:sldMk cId="342466133" sldId="2134805633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42466133" sldId="2134805633"/>
            <ac:spMk id="5" creationId="{E34A33FF-2491-4ED3-9D17-8A45B4C0DA0B}"/>
          </ac:spMkLst>
        </pc:spChg>
        <pc:spChg chg="mod">
          <ac:chgData name="Lou Marschalleck" userId="10daab7a-c84f-4104-801c-1b479a9d315c" providerId="ADAL" clId="{F044552C-1109-4574-BD02-EEB8483C5F10}" dt="2023-11-21T16:11:45.190" v="50"/>
          <ac:spMkLst>
            <pc:docMk/>
            <pc:sldMk cId="342466133" sldId="2134805633"/>
            <ac:spMk id="8" creationId="{624BCCDD-F67D-4E83-ADCB-0FBB838A49FC}"/>
          </ac:spMkLst>
        </pc:spChg>
      </pc:sldChg>
      <pc:sldChg chg="addSp delSp modSp add mod modClrScheme chgLayout">
        <pc:chgData name="Lou Marschalleck" userId="10daab7a-c84f-4104-801c-1b479a9d315c" providerId="ADAL" clId="{F044552C-1109-4574-BD02-EEB8483C5F10}" dt="2023-11-21T16:12:33.174" v="123" actId="700"/>
        <pc:sldMkLst>
          <pc:docMk/>
          <pc:sldMk cId="112123160" sldId="2134805634"/>
        </pc:sldMkLst>
        <pc:spChg chg="mod ord">
          <ac:chgData name="Lou Marschalleck" userId="10daab7a-c84f-4104-801c-1b479a9d315c" providerId="ADAL" clId="{F044552C-1109-4574-BD02-EEB8483C5F10}" dt="2023-11-21T16:12:33.174" v="123" actId="700"/>
          <ac:spMkLst>
            <pc:docMk/>
            <pc:sldMk cId="112123160" sldId="2134805634"/>
            <ac:spMk id="2" creationId="{43402416-4A17-4592-B892-B413D7BA4C22}"/>
          </ac:spMkLst>
        </pc:spChg>
        <pc:spChg chg="del mod ord">
          <ac:chgData name="Lou Marschalleck" userId="10daab7a-c84f-4104-801c-1b479a9d315c" providerId="ADAL" clId="{F044552C-1109-4574-BD02-EEB8483C5F10}" dt="2023-11-21T16:12:33.174" v="123" actId="700"/>
          <ac:spMkLst>
            <pc:docMk/>
            <pc:sldMk cId="112123160" sldId="2134805634"/>
            <ac:spMk id="3" creationId="{DC248D4F-272B-4CD5-A197-E70ED76AB999}"/>
          </ac:spMkLst>
        </pc:spChg>
        <pc:spChg chg="add mod ord">
          <ac:chgData name="Lou Marschalleck" userId="10daab7a-c84f-4104-801c-1b479a9d315c" providerId="ADAL" clId="{F044552C-1109-4574-BD02-EEB8483C5F10}" dt="2023-11-21T16:12:33.174" v="123" actId="700"/>
          <ac:spMkLst>
            <pc:docMk/>
            <pc:sldMk cId="112123160" sldId="2134805634"/>
            <ac:spMk id="4" creationId="{740ED34D-C75D-0744-97C4-B8366E819570}"/>
          </ac:spMkLst>
        </pc:spChg>
        <pc:spChg chg="del mod">
          <ac:chgData name="Lou Marschalleck" userId="10daab7a-c84f-4104-801c-1b479a9d315c" providerId="ADAL" clId="{F044552C-1109-4574-BD02-EEB8483C5F10}" dt="2023-11-21T16:12:33.174" v="123" actId="700"/>
          <ac:spMkLst>
            <pc:docMk/>
            <pc:sldMk cId="112123160" sldId="2134805634"/>
            <ac:spMk id="23555" creationId="{00000000-0000-0000-0000-000000000000}"/>
          </ac:spMkLst>
        </pc:spChg>
      </pc:sldChg>
      <pc:sldChg chg="modSp add modTransition">
        <pc:chgData name="Lou Marschalleck" userId="10daab7a-c84f-4104-801c-1b479a9d315c" providerId="ADAL" clId="{F044552C-1109-4574-BD02-EEB8483C5F10}" dt="2023-11-21T16:11:50.690" v="101"/>
        <pc:sldMkLst>
          <pc:docMk/>
          <pc:sldMk cId="3801860639" sldId="2134805635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801860639" sldId="2134805635"/>
            <ac:spMk id="2" creationId="{30FADA5A-00E1-4B2B-837E-A0A454A12686}"/>
          </ac:spMkLst>
        </pc:spChg>
      </pc:sldChg>
      <pc:sldChg chg="modSp add modTransition">
        <pc:chgData name="Lou Marschalleck" userId="10daab7a-c84f-4104-801c-1b479a9d315c" providerId="ADAL" clId="{F044552C-1109-4574-BD02-EEB8483C5F10}" dt="2023-11-21T16:11:50.690" v="101"/>
        <pc:sldMkLst>
          <pc:docMk/>
          <pc:sldMk cId="3538479765" sldId="2134805636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538479765" sldId="2134805636"/>
            <ac:spMk id="2" creationId="{A9ADE10F-D268-451A-9D81-864E2B2A9B19}"/>
          </ac:spMkLst>
        </pc:spChg>
      </pc:sldChg>
      <pc:sldChg chg="modSp add modTransition">
        <pc:chgData name="Lou Marschalleck" userId="10daab7a-c84f-4104-801c-1b479a9d315c" providerId="ADAL" clId="{F044552C-1109-4574-BD02-EEB8483C5F10}" dt="2023-11-21T16:11:50.690" v="101"/>
        <pc:sldMkLst>
          <pc:docMk/>
          <pc:sldMk cId="2715753440" sldId="2134805637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2715753440" sldId="2134805637"/>
            <ac:spMk id="2" creationId="{7318586C-6F29-47EE-9FEE-4980CB4AEABB}"/>
          </ac:spMkLst>
        </pc:spChg>
      </pc:sldChg>
      <pc:sldChg chg="modSp add modTransition">
        <pc:chgData name="Lou Marschalleck" userId="10daab7a-c84f-4104-801c-1b479a9d315c" providerId="ADAL" clId="{F044552C-1109-4574-BD02-EEB8483C5F10}" dt="2023-11-21T16:11:50.690" v="101"/>
        <pc:sldMkLst>
          <pc:docMk/>
          <pc:sldMk cId="77551004" sldId="2134805638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77551004" sldId="2134805638"/>
            <ac:spMk id="2" creationId="{8D5852D4-8D84-4C1A-8903-941BCE351C66}"/>
          </ac:spMkLst>
        </pc:spChg>
      </pc:sldChg>
      <pc:sldChg chg="modSp add modTransition">
        <pc:chgData name="Lou Marschalleck" userId="10daab7a-c84f-4104-801c-1b479a9d315c" providerId="ADAL" clId="{F044552C-1109-4574-BD02-EEB8483C5F10}" dt="2023-11-21T16:11:50.690" v="101"/>
        <pc:sldMkLst>
          <pc:docMk/>
          <pc:sldMk cId="2529051096" sldId="2134805639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2529051096" sldId="2134805639"/>
            <ac:spMk id="2" creationId="{2154B793-7D49-496E-8D76-86A6CD8D0D0D}"/>
          </ac:spMkLst>
        </pc:spChg>
      </pc:sldChg>
      <pc:sldChg chg="modSp add mod">
        <pc:chgData name="Lou Marschalleck" userId="10daab7a-c84f-4104-801c-1b479a9d315c" providerId="ADAL" clId="{F044552C-1109-4574-BD02-EEB8483C5F10}" dt="2023-11-21T16:11:26.793" v="36" actId="27636"/>
        <pc:sldMkLst>
          <pc:docMk/>
          <pc:sldMk cId="1580868784" sldId="2134805640"/>
        </pc:sldMkLst>
        <pc:spChg chg="mod">
          <ac:chgData name="Lou Marschalleck" userId="10daab7a-c84f-4104-801c-1b479a9d315c" providerId="ADAL" clId="{F044552C-1109-4574-BD02-EEB8483C5F10}" dt="2023-11-21T16:11:26.793" v="36" actId="27636"/>
          <ac:spMkLst>
            <pc:docMk/>
            <pc:sldMk cId="1580868784" sldId="2134805640"/>
            <ac:spMk id="4" creationId="{486533A5-72C7-4F2E-BB6F-25EDB3C64345}"/>
          </ac:spMkLst>
        </pc:spChg>
      </pc:sldChg>
      <pc:sldChg chg="modSp add">
        <pc:chgData name="Lou Marschalleck" userId="10daab7a-c84f-4104-801c-1b479a9d315c" providerId="ADAL" clId="{F044552C-1109-4574-BD02-EEB8483C5F10}" dt="2023-11-21T16:11:50.690" v="101"/>
        <pc:sldMkLst>
          <pc:docMk/>
          <pc:sldMk cId="1416333531" sldId="2134805641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1416333531" sldId="2134805641"/>
            <ac:spMk id="4" creationId="{486533A5-72C7-4F2E-BB6F-25EDB3C64345}"/>
          </ac:spMkLst>
        </pc:spChg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1416333531" sldId="2134805641"/>
            <ac:spMk id="5" creationId="{BB4F2902-3955-4940-A330-5A3439DD0685}"/>
          </ac:spMkLst>
        </pc:spChg>
      </pc:sldChg>
      <pc:sldChg chg="modSp add">
        <pc:chgData name="Lou Marschalleck" userId="10daab7a-c84f-4104-801c-1b479a9d315c" providerId="ADAL" clId="{F044552C-1109-4574-BD02-EEB8483C5F10}" dt="2023-11-21T16:11:50.690" v="101"/>
        <pc:sldMkLst>
          <pc:docMk/>
          <pc:sldMk cId="1308786452" sldId="2134805642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1308786452" sldId="2134805642"/>
            <ac:spMk id="4" creationId="{67BC64B2-66EF-45BA-A9AD-B2AE020B8B38}"/>
          </ac:spMkLst>
        </pc:spChg>
      </pc:sldChg>
      <pc:sldChg chg="add">
        <pc:chgData name="Lou Marschalleck" userId="10daab7a-c84f-4104-801c-1b479a9d315c" providerId="ADAL" clId="{F044552C-1109-4574-BD02-EEB8483C5F10}" dt="2023-11-21T16:09:50.168" v="17"/>
        <pc:sldMkLst>
          <pc:docMk/>
          <pc:sldMk cId="1401015679" sldId="2134805643"/>
        </pc:sldMkLst>
      </pc:sldChg>
      <pc:sldChg chg="modSp add">
        <pc:chgData name="Lou Marschalleck" userId="10daab7a-c84f-4104-801c-1b479a9d315c" providerId="ADAL" clId="{F044552C-1109-4574-BD02-EEB8483C5F10}" dt="2023-11-21T16:11:50.690" v="101"/>
        <pc:sldMkLst>
          <pc:docMk/>
          <pc:sldMk cId="2348818401" sldId="2134805644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2348818401" sldId="2134805644"/>
            <ac:spMk id="6" creationId="{351F5817-1C1D-4515-81B4-AC6C08B71B63}"/>
          </ac:spMkLst>
        </pc:spChg>
      </pc:sldChg>
      <pc:sldChg chg="modSp add mod">
        <pc:chgData name="Lou Marschalleck" userId="10daab7a-c84f-4104-801c-1b479a9d315c" providerId="ADAL" clId="{F044552C-1109-4574-BD02-EEB8483C5F10}" dt="2023-11-21T16:11:51.114" v="109" actId="27636"/>
        <pc:sldMkLst>
          <pc:docMk/>
          <pc:sldMk cId="1901124743" sldId="2134805645"/>
        </pc:sldMkLst>
        <pc:spChg chg="mod">
          <ac:chgData name="Lou Marschalleck" userId="10daab7a-c84f-4104-801c-1b479a9d315c" providerId="ADAL" clId="{F044552C-1109-4574-BD02-EEB8483C5F10}" dt="2023-11-21T16:11:51.114" v="109" actId="27636"/>
          <ac:spMkLst>
            <pc:docMk/>
            <pc:sldMk cId="1901124743" sldId="2134805645"/>
            <ac:spMk id="4" creationId="{67BC64B2-66EF-45BA-A9AD-B2AE020B8B38}"/>
          </ac:spMkLst>
        </pc:spChg>
      </pc:sldChg>
      <pc:sldChg chg="modSp add">
        <pc:chgData name="Lou Marschalleck" userId="10daab7a-c84f-4104-801c-1b479a9d315c" providerId="ADAL" clId="{F044552C-1109-4574-BD02-EEB8483C5F10}" dt="2023-11-21T16:11:50.690" v="101"/>
        <pc:sldMkLst>
          <pc:docMk/>
          <pc:sldMk cId="1807409346" sldId="2134805646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1807409346" sldId="2134805646"/>
            <ac:spMk id="4" creationId="{67BC64B2-66EF-45BA-A9AD-B2AE020B8B38}"/>
          </ac:spMkLst>
        </pc:spChg>
      </pc:sldChg>
      <pc:sldChg chg="modSp add">
        <pc:chgData name="Lou Marschalleck" userId="10daab7a-c84f-4104-801c-1b479a9d315c" providerId="ADAL" clId="{F044552C-1109-4574-BD02-EEB8483C5F10}" dt="2023-11-21T16:11:50.690" v="101"/>
        <pc:sldMkLst>
          <pc:docMk/>
          <pc:sldMk cId="123847099" sldId="2134805647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123847099" sldId="2134805647"/>
            <ac:spMk id="4" creationId="{67BC64B2-66EF-45BA-A9AD-B2AE020B8B38}"/>
          </ac:spMkLst>
        </pc:spChg>
      </pc:sldChg>
      <pc:sldChg chg="modSp add">
        <pc:chgData name="Lou Marschalleck" userId="10daab7a-c84f-4104-801c-1b479a9d315c" providerId="ADAL" clId="{F044552C-1109-4574-BD02-EEB8483C5F10}" dt="2023-11-21T16:11:50.690" v="101"/>
        <pc:sldMkLst>
          <pc:docMk/>
          <pc:sldMk cId="1080887440" sldId="2134805648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1080887440" sldId="2134805648"/>
            <ac:spMk id="2" creationId="{92262E6D-A405-49D3-8FBE-FDAF7A87DB92}"/>
          </ac:spMkLst>
        </pc:spChg>
      </pc:sldChg>
      <pc:sldChg chg="modSp add del">
        <pc:chgData name="Lou Marschalleck" userId="10daab7a-c84f-4104-801c-1b479a9d315c" providerId="ADAL" clId="{F044552C-1109-4574-BD02-EEB8483C5F10}" dt="2023-11-29T09:33:45.545" v="203" actId="47"/>
        <pc:sldMkLst>
          <pc:docMk/>
          <pc:sldMk cId="345266693" sldId="2134805649"/>
        </pc:sldMkLst>
        <pc:spChg chg="mod">
          <ac:chgData name="Lou Marschalleck" userId="10daab7a-c84f-4104-801c-1b479a9d315c" providerId="ADAL" clId="{F044552C-1109-4574-BD02-EEB8483C5F10}" dt="2023-11-21T16:11:50.690" v="101"/>
          <ac:spMkLst>
            <pc:docMk/>
            <pc:sldMk cId="345266693" sldId="2134805649"/>
            <ac:spMk id="2" creationId="{DD21EC9B-1572-4D94-B762-C249D50C705F}"/>
          </ac:spMkLst>
        </pc:spChg>
      </pc:sldChg>
      <pc:sldChg chg="modSp add mod">
        <pc:chgData name="Lou Marschalleck" userId="10daab7a-c84f-4104-801c-1b479a9d315c" providerId="ADAL" clId="{F044552C-1109-4574-BD02-EEB8483C5F10}" dt="2023-11-29T09:22:54.775" v="202" actId="113"/>
        <pc:sldMkLst>
          <pc:docMk/>
          <pc:sldMk cId="4240708603" sldId="2134805650"/>
        </pc:sldMkLst>
        <pc:spChg chg="mod">
          <ac:chgData name="Lou Marschalleck" userId="10daab7a-c84f-4104-801c-1b479a9d315c" providerId="ADAL" clId="{F044552C-1109-4574-BD02-EEB8483C5F10}" dt="2023-11-29T09:22:54.775" v="202" actId="113"/>
          <ac:spMkLst>
            <pc:docMk/>
            <pc:sldMk cId="4240708603" sldId="2134805650"/>
            <ac:spMk id="4" creationId="{EFC90A74-61CB-46AC-8D97-EF1DA7455BDF}"/>
          </ac:spMkLst>
        </pc:spChg>
      </pc:sldChg>
      <pc:sldMasterChg chg="addSldLayout delSldLayout modSldLayout">
        <pc:chgData name="Lou Marschalleck" userId="10daab7a-c84f-4104-801c-1b479a9d315c" providerId="ADAL" clId="{F044552C-1109-4574-BD02-EEB8483C5F10}" dt="2023-11-21T16:07:38.604" v="13" actId="2696"/>
        <pc:sldMasterMkLst>
          <pc:docMk/>
          <pc:sldMasterMk cId="2019119006" sldId="2147483802"/>
        </pc:sldMasterMkLst>
        <pc:sldLayoutChg chg="new del mod">
          <pc:chgData name="Lou Marschalleck" userId="10daab7a-c84f-4104-801c-1b479a9d315c" providerId="ADAL" clId="{F044552C-1109-4574-BD02-EEB8483C5F10}" dt="2023-11-21T16:07:38.604" v="13" actId="2696"/>
          <pc:sldLayoutMkLst>
            <pc:docMk/>
            <pc:sldMasterMk cId="2019119006" sldId="2147483802"/>
            <pc:sldLayoutMk cId="3138377549" sldId="2147483835"/>
          </pc:sldLayoutMkLst>
        </pc:sldLayoutChg>
      </pc:sldMasterChg>
      <pc:sldMasterChg chg="addSldLayout delSldLayout modSldLayout">
        <pc:chgData name="Lou Marschalleck" userId="10daab7a-c84f-4104-801c-1b479a9d315c" providerId="ADAL" clId="{F044552C-1109-4574-BD02-EEB8483C5F10}" dt="2023-11-21T16:07:49.888" v="15" actId="2696"/>
        <pc:sldMasterMkLst>
          <pc:docMk/>
          <pc:sldMasterMk cId="3733857972" sldId="2147483819"/>
        </pc:sldMasterMkLst>
        <pc:sldLayoutChg chg="new del mod">
          <pc:chgData name="Lou Marschalleck" userId="10daab7a-c84f-4104-801c-1b479a9d315c" providerId="ADAL" clId="{F044552C-1109-4574-BD02-EEB8483C5F10}" dt="2023-11-21T16:07:49.888" v="15" actId="2696"/>
          <pc:sldLayoutMkLst>
            <pc:docMk/>
            <pc:sldMasterMk cId="3733857972" sldId="2147483819"/>
            <pc:sldLayoutMk cId="2426136445" sldId="2147483833"/>
          </pc:sldLayoutMkLst>
        </pc:sldLayoutChg>
      </pc:sldMasterChg>
      <pc:sldMasterChg chg="modTransition modSldLayout">
        <pc:chgData name="Lou Marschalleck" userId="10daab7a-c84f-4104-801c-1b479a9d315c" providerId="ADAL" clId="{F044552C-1109-4574-BD02-EEB8483C5F10}" dt="2023-11-21T16:11:26.572" v="26"/>
        <pc:sldMasterMkLst>
          <pc:docMk/>
          <pc:sldMasterMk cId="1852652375" sldId="2147483835"/>
        </pc:sldMasterMkLst>
        <pc:sldLayoutChg chg="delSp">
          <pc:chgData name="Lou Marschalleck" userId="10daab7a-c84f-4104-801c-1b479a9d315c" providerId="ADAL" clId="{F044552C-1109-4574-BD02-EEB8483C5F10}" dt="2023-11-21T16:11:26.572" v="26"/>
          <pc:sldLayoutMkLst>
            <pc:docMk/>
            <pc:sldMasterMk cId="1852652375" sldId="2147483835"/>
            <pc:sldLayoutMk cId="2244211687" sldId="2147483849"/>
          </pc:sldLayoutMkLst>
          <pc:picChg chg="del">
            <ac:chgData name="Lou Marschalleck" userId="10daab7a-c84f-4104-801c-1b479a9d315c" providerId="ADAL" clId="{F044552C-1109-4574-BD02-EEB8483C5F10}" dt="2023-11-21T16:11:26.572" v="26"/>
            <ac:picMkLst>
              <pc:docMk/>
              <pc:sldMasterMk cId="1852652375" sldId="2147483835"/>
              <pc:sldLayoutMk cId="2244211687" sldId="2147483849"/>
              <ac:picMk id="13" creationId="{45AADF22-57BE-5644-9C47-1004662BB291}"/>
            </ac:picMkLst>
          </pc:picChg>
        </pc:sldLayoutChg>
        <pc:sldLayoutChg chg="delSp">
          <pc:chgData name="Lou Marschalleck" userId="10daab7a-c84f-4104-801c-1b479a9d315c" providerId="ADAL" clId="{F044552C-1109-4574-BD02-EEB8483C5F10}" dt="2023-11-21T16:11:26.572" v="26"/>
          <pc:sldLayoutMkLst>
            <pc:docMk/>
            <pc:sldMasterMk cId="1852652375" sldId="2147483835"/>
            <pc:sldLayoutMk cId="596621646" sldId="2147483851"/>
          </pc:sldLayoutMkLst>
          <pc:picChg chg="del">
            <ac:chgData name="Lou Marschalleck" userId="10daab7a-c84f-4104-801c-1b479a9d315c" providerId="ADAL" clId="{F044552C-1109-4574-BD02-EEB8483C5F10}" dt="2023-11-21T16:11:26.572" v="26"/>
            <ac:picMkLst>
              <pc:docMk/>
              <pc:sldMasterMk cId="1852652375" sldId="2147483835"/>
              <pc:sldLayoutMk cId="596621646" sldId="2147483851"/>
              <ac:picMk id="6" creationId="{BE1EB75A-C591-401F-AF89-9D380C47F27C}"/>
            </ac:picMkLst>
          </pc:picChg>
        </pc:sldLayoutChg>
      </pc:sldMasterChg>
      <pc:sldMasterChg chg="modTransition">
        <pc:chgData name="Lou Marschalleck" userId="10daab7a-c84f-4104-801c-1b479a9d315c" providerId="ADAL" clId="{F044552C-1109-4574-BD02-EEB8483C5F10}" dt="2023-11-21T16:11:43.557" v="49"/>
        <pc:sldMasterMkLst>
          <pc:docMk/>
          <pc:sldMasterMk cId="1343307228" sldId="2147483855"/>
        </pc:sldMasterMkLst>
      </pc:sldMasterChg>
      <pc:sldMasterChg chg="addSp modTransition modSldLayout">
        <pc:chgData name="Lou Marschalleck" userId="10daab7a-c84f-4104-801c-1b479a9d315c" providerId="ADAL" clId="{F044552C-1109-4574-BD02-EEB8483C5F10}" dt="2023-11-21T16:11:46.370" v="67"/>
        <pc:sldMasterMkLst>
          <pc:docMk/>
          <pc:sldMasterMk cId="2442323153" sldId="2147483880"/>
        </pc:sldMasterMkLst>
        <pc:spChg chg="add">
          <ac:chgData name="Lou Marschalleck" userId="10daab7a-c84f-4104-801c-1b479a9d315c" providerId="ADAL" clId="{F044552C-1109-4574-BD02-EEB8483C5F10}" dt="2023-11-21T16:11:46.370" v="67"/>
          <ac:spMkLst>
            <pc:docMk/>
            <pc:sldMasterMk cId="2442323153" sldId="2147483880"/>
            <ac:spMk id="5" creationId="{479ADDE0-2F1E-A423-90CC-DF00E2B9F776}"/>
          </ac:spMkLst>
        </pc:spChg>
        <pc:sldLayoutChg chg="modTransition">
          <pc:chgData name="Lou Marschalleck" userId="10daab7a-c84f-4104-801c-1b479a9d315c" providerId="ADAL" clId="{F044552C-1109-4574-BD02-EEB8483C5F10}" dt="2023-11-21T16:11:46.370" v="67"/>
          <pc:sldLayoutMkLst>
            <pc:docMk/>
            <pc:sldMasterMk cId="2442323153" sldId="2147483880"/>
            <pc:sldLayoutMk cId="333964962" sldId="2147483889"/>
          </pc:sldLayoutMkLst>
        </pc:sldLayoutChg>
      </pc:sldMasterChg>
      <pc:sldMasterChg chg="addSp modTransition delSldLayout modSldLayout">
        <pc:chgData name="Lou Marschalleck" userId="10daab7a-c84f-4104-801c-1b479a9d315c" providerId="ADAL" clId="{F044552C-1109-4574-BD02-EEB8483C5F10}" dt="2023-11-21T16:13:39.292" v="126"/>
        <pc:sldMasterMkLst>
          <pc:docMk/>
          <pc:sldMasterMk cId="2716794000" sldId="2147483880"/>
        </pc:sldMasterMkLst>
        <pc:spChg chg="add">
          <ac:chgData name="Lou Marschalleck" userId="10daab7a-c84f-4104-801c-1b479a9d315c" providerId="ADAL" clId="{F044552C-1109-4574-BD02-EEB8483C5F10}" dt="2023-11-21T16:11:50.690" v="101"/>
          <ac:spMkLst>
            <pc:docMk/>
            <pc:sldMasterMk cId="2716794000" sldId="2147483880"/>
            <ac:spMk id="5" creationId="{03CCAC9F-75E5-301F-1672-17BA0E127555}"/>
          </ac:spMkLst>
        </pc:spChg>
        <pc:sldLayoutChg chg="addSp modSp">
          <pc:chgData name="Lou Marschalleck" userId="10daab7a-c84f-4104-801c-1b479a9d315c" providerId="ADAL" clId="{F044552C-1109-4574-BD02-EEB8483C5F10}" dt="2023-11-21T16:13:36.364" v="125"/>
          <pc:sldLayoutMkLst>
            <pc:docMk/>
            <pc:sldMasterMk cId="2716794000" sldId="2147483880"/>
            <pc:sldLayoutMk cId="3845259150" sldId="2147483881"/>
          </pc:sldLayoutMkLst>
          <pc:picChg chg="add mod">
            <ac:chgData name="Lou Marschalleck" userId="10daab7a-c84f-4104-801c-1b479a9d315c" providerId="ADAL" clId="{F044552C-1109-4574-BD02-EEB8483C5F10}" dt="2023-11-21T16:13:36.364" v="125"/>
            <ac:picMkLst>
              <pc:docMk/>
              <pc:sldMasterMk cId="2716794000" sldId="2147483880"/>
              <pc:sldLayoutMk cId="3845259150" sldId="2147483881"/>
              <ac:picMk id="4" creationId="{ECC5CB58-A02C-A06C-050A-33DCBEEEA749}"/>
            </ac:picMkLst>
          </pc:picChg>
        </pc:sldLayoutChg>
        <pc:sldLayoutChg chg="addSp modSp">
          <pc:chgData name="Lou Marschalleck" userId="10daab7a-c84f-4104-801c-1b479a9d315c" providerId="ADAL" clId="{F044552C-1109-4574-BD02-EEB8483C5F10}" dt="2023-11-21T16:13:39.292" v="126"/>
          <pc:sldLayoutMkLst>
            <pc:docMk/>
            <pc:sldMasterMk cId="2716794000" sldId="2147483880"/>
            <pc:sldLayoutMk cId="2889094030" sldId="2147483882"/>
          </pc:sldLayoutMkLst>
          <pc:picChg chg="add mod">
            <ac:chgData name="Lou Marschalleck" userId="10daab7a-c84f-4104-801c-1b479a9d315c" providerId="ADAL" clId="{F044552C-1109-4574-BD02-EEB8483C5F10}" dt="2023-11-21T16:13:39.292" v="126"/>
            <ac:picMkLst>
              <pc:docMk/>
              <pc:sldMasterMk cId="2716794000" sldId="2147483880"/>
              <pc:sldLayoutMk cId="2889094030" sldId="2147483882"/>
              <ac:picMk id="5" creationId="{0ABDE0A7-5117-ABD5-BAB8-FECE37966D3F}"/>
            </ac:picMkLst>
          </pc:picChg>
        </pc:sldLayoutChg>
        <pc:sldLayoutChg chg="modTransition">
          <pc:chgData name="Lou Marschalleck" userId="10daab7a-c84f-4104-801c-1b479a9d315c" providerId="ADAL" clId="{F044552C-1109-4574-BD02-EEB8483C5F10}" dt="2023-11-21T16:11:50.690" v="101"/>
          <pc:sldLayoutMkLst>
            <pc:docMk/>
            <pc:sldMasterMk cId="2716794000" sldId="2147483880"/>
            <pc:sldLayoutMk cId="2366174031" sldId="2147483889"/>
          </pc:sldLayoutMkLst>
        </pc:sldLayoutChg>
        <pc:sldLayoutChg chg="del">
          <pc:chgData name="Lou Marschalleck" userId="10daab7a-c84f-4104-801c-1b479a9d315c" providerId="ADAL" clId="{F044552C-1109-4574-BD02-EEB8483C5F10}" dt="2023-11-21T16:13:07.293" v="124" actId="18676"/>
          <pc:sldLayoutMkLst>
            <pc:docMk/>
            <pc:sldMasterMk cId="2716794000" sldId="2147483880"/>
            <pc:sldLayoutMk cId="4226963339" sldId="2147483894"/>
          </pc:sldLayoutMkLst>
        </pc:sldLayoutChg>
        <pc:sldLayoutChg chg="del">
          <pc:chgData name="Lou Marschalleck" userId="10daab7a-c84f-4104-801c-1b479a9d315c" providerId="ADAL" clId="{F044552C-1109-4574-BD02-EEB8483C5F10}" dt="2023-11-21T16:13:07.293" v="124" actId="18676"/>
          <pc:sldLayoutMkLst>
            <pc:docMk/>
            <pc:sldMasterMk cId="2716794000" sldId="2147483880"/>
            <pc:sldLayoutMk cId="1557706685" sldId="2147483896"/>
          </pc:sldLayoutMkLst>
        </pc:sldLayoutChg>
      </pc:sldMasterChg>
    </pc:docChg>
  </pc:docChgLst>
  <pc:docChgLst>
    <pc:chgData name="Alexa Becker" userId="257d1a27-6d3e-41f1-aab2-3dc6aae17b96" providerId="ADAL" clId="{35755754-A545-470A-B702-CB7627D380B7}"/>
    <pc:docChg chg="undo redo custSel modSld">
      <pc:chgData name="Alexa Becker" userId="257d1a27-6d3e-41f1-aab2-3dc6aae17b96" providerId="ADAL" clId="{35755754-A545-470A-B702-CB7627D380B7}" dt="2024-06-07T08:46:32.582" v="24" actId="478"/>
      <pc:docMkLst>
        <pc:docMk/>
      </pc:docMkLst>
      <pc:sldChg chg="delSp modSp mod">
        <pc:chgData name="Alexa Becker" userId="257d1a27-6d3e-41f1-aab2-3dc6aae17b96" providerId="ADAL" clId="{35755754-A545-470A-B702-CB7627D380B7}" dt="2024-06-07T08:46:32.582" v="24" actId="478"/>
        <pc:sldMkLst>
          <pc:docMk/>
          <pc:sldMk cId="1705463027" sldId="2134805622"/>
        </pc:sldMkLst>
        <pc:spChg chg="mod">
          <ac:chgData name="Alexa Becker" userId="257d1a27-6d3e-41f1-aab2-3dc6aae17b96" providerId="ADAL" clId="{35755754-A545-470A-B702-CB7627D380B7}" dt="2024-06-07T08:46:27.812" v="23" actId="20577"/>
          <ac:spMkLst>
            <pc:docMk/>
            <pc:sldMk cId="1705463027" sldId="2134805622"/>
            <ac:spMk id="2" creationId="{F2E312DB-6AAD-A0CE-7D49-4661FE7DF8D0}"/>
          </ac:spMkLst>
        </pc:spChg>
        <pc:spChg chg="del">
          <ac:chgData name="Alexa Becker" userId="257d1a27-6d3e-41f1-aab2-3dc6aae17b96" providerId="ADAL" clId="{35755754-A545-470A-B702-CB7627D380B7}" dt="2024-06-07T08:46:32.582" v="24" actId="478"/>
          <ac:spMkLst>
            <pc:docMk/>
            <pc:sldMk cId="1705463027" sldId="2134805622"/>
            <ac:spMk id="13" creationId="{16F15087-CB26-42BF-8221-4CC463C547AF}"/>
          </ac:spMkLst>
        </pc:spChg>
      </pc:sldChg>
      <pc:sldChg chg="modSp mod">
        <pc:chgData name="Alexa Becker" userId="257d1a27-6d3e-41f1-aab2-3dc6aae17b96" providerId="ADAL" clId="{35755754-A545-470A-B702-CB7627D380B7}" dt="2024-06-06T14:34:16.181" v="12" actId="20577"/>
        <pc:sldMkLst>
          <pc:docMk/>
          <pc:sldMk cId="4240708603" sldId="2134805650"/>
        </pc:sldMkLst>
        <pc:spChg chg="mod">
          <ac:chgData name="Alexa Becker" userId="257d1a27-6d3e-41f1-aab2-3dc6aae17b96" providerId="ADAL" clId="{35755754-A545-470A-B702-CB7627D380B7}" dt="2024-06-06T14:34:16.181" v="12" actId="20577"/>
          <ac:spMkLst>
            <pc:docMk/>
            <pc:sldMk cId="4240708603" sldId="2134805650"/>
            <ac:spMk id="4" creationId="{EFC90A74-61CB-46AC-8D97-EF1DA7455BDF}"/>
          </ac:spMkLst>
        </pc:spChg>
      </pc:sldChg>
    </pc:docChg>
  </pc:docChgLst>
  <pc:docChgLst>
    <pc:chgData name="Kristin Fritsch" userId="cb17481a-23c2-48a9-abb1-06b1976fb766" providerId="ADAL" clId="{FA983177-5D0C-4AA5-89FD-BA7E6194B9E0}"/>
    <pc:docChg chg="modSld">
      <pc:chgData name="Kristin Fritsch" userId="cb17481a-23c2-48a9-abb1-06b1976fb766" providerId="ADAL" clId="{FA983177-5D0C-4AA5-89FD-BA7E6194B9E0}" dt="2024-06-07T08:07:41.572" v="83" actId="20577"/>
      <pc:docMkLst>
        <pc:docMk/>
      </pc:docMkLst>
      <pc:sldChg chg="modSp mod">
        <pc:chgData name="Kristin Fritsch" userId="cb17481a-23c2-48a9-abb1-06b1976fb766" providerId="ADAL" clId="{FA983177-5D0C-4AA5-89FD-BA7E6194B9E0}" dt="2024-06-07T08:07:41.572" v="83" actId="20577"/>
        <pc:sldMkLst>
          <pc:docMk/>
          <pc:sldMk cId="3481663509" sldId="2134805629"/>
        </pc:sldMkLst>
        <pc:spChg chg="mod">
          <ac:chgData name="Kristin Fritsch" userId="cb17481a-23c2-48a9-abb1-06b1976fb766" providerId="ADAL" clId="{FA983177-5D0C-4AA5-89FD-BA7E6194B9E0}" dt="2024-06-07T07:49:38.643" v="1" actId="20577"/>
          <ac:spMkLst>
            <pc:docMk/>
            <pc:sldMk cId="3481663509" sldId="2134805629"/>
            <ac:spMk id="6" creationId="{D6D70371-0C76-4BF2-992A-42AE86992D0E}"/>
          </ac:spMkLst>
        </pc:spChg>
        <pc:spChg chg="mod">
          <ac:chgData name="Kristin Fritsch" userId="cb17481a-23c2-48a9-abb1-06b1976fb766" providerId="ADAL" clId="{FA983177-5D0C-4AA5-89FD-BA7E6194B9E0}" dt="2024-06-07T07:52:43.369" v="22" actId="20577"/>
          <ac:spMkLst>
            <pc:docMk/>
            <pc:sldMk cId="3481663509" sldId="2134805629"/>
            <ac:spMk id="7" creationId="{87355475-BE23-4896-B06C-14958485FB19}"/>
          </ac:spMkLst>
        </pc:spChg>
        <pc:spChg chg="mod">
          <ac:chgData name="Kristin Fritsch" userId="cb17481a-23c2-48a9-abb1-06b1976fb766" providerId="ADAL" clId="{FA983177-5D0C-4AA5-89FD-BA7E6194B9E0}" dt="2024-06-07T08:07:41.572" v="83" actId="20577"/>
          <ac:spMkLst>
            <pc:docMk/>
            <pc:sldMk cId="3481663509" sldId="2134805629"/>
            <ac:spMk id="8" creationId="{65293DAB-C55D-4BD8-A982-61B8B83B7439}"/>
          </ac:spMkLst>
        </pc:spChg>
      </pc:sldChg>
      <pc:sldChg chg="modSp mod">
        <pc:chgData name="Kristin Fritsch" userId="cb17481a-23c2-48a9-abb1-06b1976fb766" providerId="ADAL" clId="{FA983177-5D0C-4AA5-89FD-BA7E6194B9E0}" dt="2024-06-07T08:07:26.809" v="78" actId="20577"/>
        <pc:sldMkLst>
          <pc:docMk/>
          <pc:sldMk cId="1080887440" sldId="2134805648"/>
        </pc:sldMkLst>
        <pc:spChg chg="mod">
          <ac:chgData name="Kristin Fritsch" userId="cb17481a-23c2-48a9-abb1-06b1976fb766" providerId="ADAL" clId="{FA983177-5D0C-4AA5-89FD-BA7E6194B9E0}" dt="2024-06-07T08:07:26.809" v="78" actId="20577"/>
          <ac:spMkLst>
            <pc:docMk/>
            <pc:sldMk cId="1080887440" sldId="2134805648"/>
            <ac:spMk id="4" creationId="{F4357A5B-15FE-4DBB-B5E0-5F268277036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1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A4C-47B9-848D-B9BABF304B12}"/>
              </c:ext>
            </c:extLst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A4C-47B9-848D-B9BABF304B12}"/>
              </c:ext>
            </c:extLst>
          </c:dPt>
          <c:dPt>
            <c:idx val="2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A4C-47B9-848D-B9BABF304B12}"/>
              </c:ext>
            </c:extLst>
          </c:dPt>
          <c:dPt>
            <c:idx val="3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A4C-47B9-848D-B9BABF304B12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6</c:v>
                </c:pt>
                <c:pt idx="1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A4C-47B9-848D-B9BABF304B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CB1-4D57-B2F6-723CC018D100}"/>
              </c:ext>
            </c:extLst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CB1-4D57-B2F6-723CC018D100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CB1-4D57-B2F6-723CC018D100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CB1-4D57-B2F6-723CC018D100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</c:v>
                </c:pt>
                <c:pt idx="1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CB1-4D57-B2F6-723CC018D1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dPt>
            <c:idx val="0"/>
            <c:marker>
              <c:symbol val="circle"/>
              <c:size val="13"/>
              <c:spPr>
                <a:solidFill>
                  <a:schemeClr val="tx1"/>
                </a:solidFill>
                <a:ln w="9525">
                  <a:solidFill>
                    <a:schemeClr val="tx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488D-478C-8F7F-DEEB1540C72B}"/>
              </c:ext>
            </c:extLst>
          </c:dPt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errBars>
            <c:errDir val="x"/>
            <c:errBarType val="both"/>
            <c:errValType val="cust"/>
            <c:noEndCap val="0"/>
            <c:plus>
              <c:numRef>
                <c:f>Sheet1!$A$4</c:f>
                <c:numCache>
                  <c:formatCode>General</c:formatCode>
                  <c:ptCount val="1"/>
                  <c:pt idx="0">
                    <c:v>0.1</c:v>
                  </c:pt>
                </c:numCache>
              </c:numRef>
            </c:plus>
            <c:minus>
              <c:numRef>
                <c:f>Sheet1!$A$5</c:f>
                <c:numCache>
                  <c:formatCode>General</c:formatCode>
                  <c:ptCount val="1"/>
                  <c:pt idx="0">
                    <c:v>0.11</c:v>
                  </c:pt>
                </c:numCache>
              </c:numRef>
            </c:minus>
            <c:spPr>
              <a:noFill/>
              <a:ln w="19050" cap="flat" cmpd="sng" algn="ctr">
                <a:solidFill>
                  <a:schemeClr val="tx1"/>
                </a:solidFill>
                <a:round/>
                <a:headEnd w="lg" len="lg"/>
                <a:tailEnd w="lg" len="lg"/>
              </a:ln>
              <a:effectLst/>
            </c:spPr>
          </c:errBars>
          <c:errBars>
            <c:errDir val="y"/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Sheet1!$A$2</c:f>
              <c:numCache>
                <c:formatCode>General</c:formatCode>
                <c:ptCount val="1"/>
                <c:pt idx="0">
                  <c:v>0.8</c:v>
                </c:pt>
              </c:numCache>
            </c:numRef>
          </c:xVal>
          <c:yVal>
            <c:numRef>
              <c:f>Sheet1!$B$2</c:f>
              <c:numCache>
                <c:formatCode>General</c:formatCode>
                <c:ptCount val="1"/>
                <c:pt idx="0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88D-478C-8F7F-DEEB1540C72B}"/>
            </c:ext>
          </c:extLst>
        </c:ser>
        <c:ser>
          <c:idx val="1"/>
          <c:order val="1"/>
          <c:tx>
            <c:v>Line</c:v>
          </c:tx>
          <c:spPr>
            <a:ln w="25400" cap="rnd">
              <a:solidFill>
                <a:schemeClr val="tx1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Sheet1!$D$2:$D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xVal>
          <c:yVal>
            <c:numRef>
              <c:f>Sheet1!$E$2:$E$7</c:f>
              <c:numCache>
                <c:formatCode>General</c:formatCode>
                <c:ptCount val="6"/>
                <c:pt idx="0">
                  <c:v>0</c:v>
                </c:pt>
                <c:pt idx="1">
                  <c:v>0.2</c:v>
                </c:pt>
                <c:pt idx="2">
                  <c:v>0.4</c:v>
                </c:pt>
                <c:pt idx="3">
                  <c:v>0.6</c:v>
                </c:pt>
                <c:pt idx="4">
                  <c:v>0.8</c:v>
                </c:pt>
                <c:pt idx="5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488D-478C-8F7F-DEEB1540C7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70076223"/>
        <c:axId val="1070086623"/>
      </c:scatterChart>
      <c:valAx>
        <c:axId val="1070076223"/>
        <c:scaling>
          <c:orientation val="minMax"/>
          <c:max val="1.6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58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70086623"/>
        <c:crosses val="autoZero"/>
        <c:crossBetween val="midCat"/>
        <c:majorUnit val="0.2"/>
      </c:valAx>
      <c:valAx>
        <c:axId val="1070086623"/>
        <c:scaling>
          <c:orientation val="minMax"/>
          <c:max val="1"/>
        </c:scaling>
        <c:delete val="1"/>
        <c:axPos val="l"/>
        <c:numFmt formatCode="General" sourceLinked="1"/>
        <c:majorTickMark val="none"/>
        <c:minorTickMark val="none"/>
        <c:tickLblPos val="nextTo"/>
        <c:crossAx val="107007622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CH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76869020404708E-2"/>
          <c:y val="0"/>
          <c:w val="0.81502333041703123"/>
          <c:h val="0.889089058372719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rolutamide (N=954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\ #0.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ny AE</c:v>
                </c:pt>
                <c:pt idx="1">
                  <c:v>Grade 3 or 4</c:v>
                </c:pt>
                <c:pt idx="2">
                  <c:v>Grade 5</c:v>
                </c:pt>
                <c:pt idx="3">
                  <c:v>Serious</c:v>
                </c:pt>
                <c:pt idx="4">
                  <c:v>Discontinuation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85.7</c:v>
                </c:pt>
                <c:pt idx="1">
                  <c:v>26.3</c:v>
                </c:pt>
                <c:pt idx="2">
                  <c:v>4</c:v>
                </c:pt>
                <c:pt idx="3">
                  <c:v>26.1</c:v>
                </c:pt>
                <c:pt idx="4">
                  <c:v>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FC-4E21-AF75-8ECA580CE58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 (N=554)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Lbls>
            <c:numFmt formatCode="\ #0.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ny AE</c:v>
                </c:pt>
                <c:pt idx="1">
                  <c:v>Grade 3 or 4</c:v>
                </c:pt>
                <c:pt idx="2">
                  <c:v>Grade 5</c:v>
                </c:pt>
                <c:pt idx="3">
                  <c:v>Serious</c:v>
                </c:pt>
                <c:pt idx="4">
                  <c:v>Discontinuation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79.2</c:v>
                </c:pt>
                <c:pt idx="1">
                  <c:v>21.7</c:v>
                </c:pt>
                <c:pt idx="2">
                  <c:v>3.4</c:v>
                </c:pt>
                <c:pt idx="3">
                  <c:v>21.8</c:v>
                </c:pt>
                <c:pt idx="4">
                  <c:v>8.6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DFC-4E21-AF75-8ECA580CE58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-30"/>
        <c:axId val="1998466016"/>
        <c:axId val="1"/>
      </c:barChart>
      <c:catAx>
        <c:axId val="199846601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06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t"/>
        <c:numFmt formatCode="\ #0&quot;%&quot;" sourceLinked="0"/>
        <c:majorTickMark val="out"/>
        <c:minorTickMark val="none"/>
        <c:tickLblPos val="high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998466016"/>
        <c:crosses val="autoZero"/>
        <c:crossBetween val="between"/>
        <c:majorUnit val="50"/>
      </c:valAx>
      <c:spPr>
        <a:noFill/>
        <a:ln w="25351"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676869020404708E-2"/>
          <c:y val="0"/>
          <c:w val="0.81502333041703123"/>
          <c:h val="0.9282563611221751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rolutamide (N=954)</c:v>
                </c:pt>
              </c:strCache>
            </c:strRef>
          </c:tx>
          <c:spPr>
            <a:solidFill>
              <a:srgbClr val="89D32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019558039116078E-3"/>
                  <c:y val="0"/>
                </c:manualLayout>
              </c:layout>
              <c:numFmt formatCode="\ #0.0&quot;%&quot;" sourceLinked="0"/>
              <c:spPr>
                <a:solidFill>
                  <a:srgbClr val="FFFFFF">
                    <a:alpha val="80000"/>
                  </a:srgbClr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en-CH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F1F-4C0E-A429-74A02E8EB91F}"/>
                </c:ext>
              </c:extLst>
            </c:dLbl>
            <c:numFmt formatCode="\ #0.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Any AE</c:v>
                </c:pt>
                <c:pt idx="1">
                  <c:v>Grade 3 or 4</c:v>
                </c:pt>
                <c:pt idx="2">
                  <c:v>Grade 5</c:v>
                </c:pt>
                <c:pt idx="3">
                  <c:v>Serious</c:v>
                </c:pt>
                <c:pt idx="4">
                  <c:v>Discontinuation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83.2</c:v>
                </c:pt>
                <c:pt idx="1">
                  <c:v>24.7</c:v>
                </c:pt>
                <c:pt idx="2">
                  <c:v>3.9</c:v>
                </c:pt>
                <c:pt idx="3">
                  <c:v>24.8</c:v>
                </c:pt>
                <c:pt idx="4">
                  <c:v>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1F-4C0E-A429-74A02E8EB91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 (N=554)</c:v>
                </c:pt>
              </c:strCache>
            </c:strRef>
          </c:tx>
          <c:spPr>
            <a:solidFill>
              <a:srgbClr val="000000">
                <a:lumMod val="50000"/>
                <a:lumOff val="5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\ #0.0&quot;%&quot;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CH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F1F-4C0E-A429-74A02E8EB91F}"/>
                </c:ext>
              </c:extLst>
            </c:dLbl>
            <c:numFmt formatCode="\ #0.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Any AE</c:v>
                </c:pt>
                <c:pt idx="1">
                  <c:v>Grade 3 or 4</c:v>
                </c:pt>
                <c:pt idx="2">
                  <c:v>Grade 5</c:v>
                </c:pt>
                <c:pt idx="3">
                  <c:v>Serious</c:v>
                </c:pt>
                <c:pt idx="4">
                  <c:v>Discontinuation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76.900000000000006</c:v>
                </c:pt>
                <c:pt idx="1">
                  <c:v>19.5</c:v>
                </c:pt>
                <c:pt idx="2">
                  <c:v>3.2</c:v>
                </c:pt>
                <c:pt idx="3">
                  <c:v>20</c:v>
                </c:pt>
                <c:pt idx="4">
                  <c:v>8.6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F1F-4C0E-A429-74A02E8EB91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-30"/>
        <c:axId val="1998466016"/>
        <c:axId val="1"/>
      </c:barChart>
      <c:catAx>
        <c:axId val="199846601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06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t"/>
        <c:numFmt formatCode="\ #0&quot;%&quot;" sourceLinked="0"/>
        <c:majorTickMark val="out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998466016"/>
        <c:crosses val="autoZero"/>
        <c:crossBetween val="between"/>
        <c:majorUnit val="50"/>
      </c:valAx>
      <c:spPr>
        <a:noFill/>
        <a:ln w="25351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5126294829630629E-2"/>
          <c:y val="1.1034243967153305E-3"/>
          <c:w val="0.81502333041703123"/>
          <c:h val="0.9282563611221751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petitive workshop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A59-4552-89C7-590FFA8C74CB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A59-4552-89C7-590FFA8C74CB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A59-4552-89C7-590FFA8C74CB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A59-4552-89C7-590FFA8C74CB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A59-4552-89C7-590FFA8C74CB}"/>
                </c:ext>
              </c:extLst>
            </c:dLbl>
            <c:dLbl>
              <c:idx val="1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A59-4552-89C7-590FFA8C74CB}"/>
                </c:ext>
              </c:extLst>
            </c:dLbl>
            <c:dLbl>
              <c:idx val="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A59-4552-89C7-590FFA8C74CB}"/>
                </c:ext>
              </c:extLst>
            </c:dLbl>
            <c:numFmt formatCode="\ #0.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6</c:f>
              <c:strCache>
                <c:ptCount val="15"/>
                <c:pt idx="0">
                  <c:v>Primary Analysis</c:v>
                </c:pt>
                <c:pt idx="1">
                  <c:v>Final Analysis</c:v>
                </c:pt>
                <c:pt idx="2">
                  <c:v>Diarrhea</c:v>
                </c:pt>
                <c:pt idx="3">
                  <c:v>Nausea</c:v>
                </c:pt>
                <c:pt idx="4">
                  <c:v>Fractures</c:v>
                </c:pt>
                <c:pt idx="5">
                  <c:v>Fractures [final]</c:v>
                </c:pt>
                <c:pt idx="6">
                  <c:v>Back Pain</c:v>
                </c:pt>
                <c:pt idx="7">
                  <c:v>Arthralgia</c:v>
                </c:pt>
                <c:pt idx="8">
                  <c:v>Pain in Extremities</c:v>
                </c:pt>
                <c:pt idx="9">
                  <c:v>Hypothyroidisma</c:v>
                </c:pt>
                <c:pt idx="10">
                  <c:v>Weight Decrease</c:v>
                </c:pt>
                <c:pt idx="11">
                  <c:v>Hot Flush</c:v>
                </c:pt>
                <c:pt idx="12">
                  <c:v>Hypertension</c:v>
                </c:pt>
                <c:pt idx="13">
                  <c:v>Coronary Artery Disorders</c:v>
                </c:pt>
                <c:pt idx="14">
                  <c:v>Cardiovascular events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.9</c:v>
                </c:pt>
                <c:pt idx="1">
                  <c:v>3.1</c:v>
                </c:pt>
                <c:pt idx="2">
                  <c:v>7.4</c:v>
                </c:pt>
                <c:pt idx="3">
                  <c:v>5.6</c:v>
                </c:pt>
                <c:pt idx="4">
                  <c:v>4.2</c:v>
                </c:pt>
                <c:pt idx="5">
                  <c:v>5.5</c:v>
                </c:pt>
                <c:pt idx="6">
                  <c:v>9.6999999999999993</c:v>
                </c:pt>
                <c:pt idx="7">
                  <c:v>9</c:v>
                </c:pt>
                <c:pt idx="8">
                  <c:v>6.3</c:v>
                </c:pt>
                <c:pt idx="9">
                  <c:v>0.2</c:v>
                </c:pt>
                <c:pt idx="10">
                  <c:v>4.2</c:v>
                </c:pt>
                <c:pt idx="11">
                  <c:v>6</c:v>
                </c:pt>
                <c:pt idx="12">
                  <c:v>7.8</c:v>
                </c:pt>
                <c:pt idx="13">
                  <c:v>4</c:v>
                </c:pt>
                <c:pt idx="14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A59-4552-89C7-590FFA8C74C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 (N=554)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A59-4552-89C7-590FFA8C74CB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A59-4552-89C7-590FFA8C74CB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A59-4552-89C7-590FFA8C74CB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A59-4552-89C7-590FFA8C74CB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7A59-4552-89C7-590FFA8C74CB}"/>
                </c:ext>
              </c:extLst>
            </c:dLbl>
            <c:dLbl>
              <c:idx val="1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A59-4552-89C7-590FFA8C74CB}"/>
                </c:ext>
              </c:extLst>
            </c:dLbl>
            <c:dLbl>
              <c:idx val="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7A59-4552-89C7-590FFA8C74CB}"/>
                </c:ext>
              </c:extLst>
            </c:dLbl>
            <c:numFmt formatCode="\ #0.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6</c:f>
              <c:strCache>
                <c:ptCount val="15"/>
                <c:pt idx="0">
                  <c:v>Primary Analysis</c:v>
                </c:pt>
                <c:pt idx="1">
                  <c:v>Final Analysis</c:v>
                </c:pt>
                <c:pt idx="2">
                  <c:v>Diarrhea</c:v>
                </c:pt>
                <c:pt idx="3">
                  <c:v>Nausea</c:v>
                </c:pt>
                <c:pt idx="4">
                  <c:v>Fractures</c:v>
                </c:pt>
                <c:pt idx="5">
                  <c:v>Fractures [final]</c:v>
                </c:pt>
                <c:pt idx="6">
                  <c:v>Back Pain</c:v>
                </c:pt>
                <c:pt idx="7">
                  <c:v>Arthralgia</c:v>
                </c:pt>
                <c:pt idx="8">
                  <c:v>Pain in Extremities</c:v>
                </c:pt>
                <c:pt idx="9">
                  <c:v>Hypothyroidisma</c:v>
                </c:pt>
                <c:pt idx="10">
                  <c:v>Weight Decrease</c:v>
                </c:pt>
                <c:pt idx="11">
                  <c:v>Hot Flush</c:v>
                </c:pt>
                <c:pt idx="12">
                  <c:v>Hypertension</c:v>
                </c:pt>
                <c:pt idx="13">
                  <c:v>Coronary Artery Disorders</c:v>
                </c:pt>
                <c:pt idx="14">
                  <c:v>Cardiovascular events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9</c:v>
                </c:pt>
                <c:pt idx="1">
                  <c:v>1.1000000000000001</c:v>
                </c:pt>
                <c:pt idx="2">
                  <c:v>5.6</c:v>
                </c:pt>
                <c:pt idx="3">
                  <c:v>5.8</c:v>
                </c:pt>
                <c:pt idx="4">
                  <c:v>3.6</c:v>
                </c:pt>
                <c:pt idx="5">
                  <c:v>3.6</c:v>
                </c:pt>
                <c:pt idx="6">
                  <c:v>9.4</c:v>
                </c:pt>
                <c:pt idx="7">
                  <c:v>9.4</c:v>
                </c:pt>
                <c:pt idx="8">
                  <c:v>3.4</c:v>
                </c:pt>
                <c:pt idx="9">
                  <c:v>0</c:v>
                </c:pt>
                <c:pt idx="10">
                  <c:v>2.5</c:v>
                </c:pt>
                <c:pt idx="11">
                  <c:v>4.5</c:v>
                </c:pt>
                <c:pt idx="12">
                  <c:v>6.5</c:v>
                </c:pt>
                <c:pt idx="13">
                  <c:v>2.7</c:v>
                </c:pt>
                <c:pt idx="14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A59-4552-89C7-590FFA8C74C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998466016"/>
        <c:axId val="1"/>
      </c:barChart>
      <c:catAx>
        <c:axId val="199846601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06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CH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50"/>
          <c:min val="0"/>
        </c:scaling>
        <c:delete val="0"/>
        <c:axPos val="t"/>
        <c:numFmt formatCode="\ #0&quot;%&quot;" sourceLinked="0"/>
        <c:majorTickMark val="out"/>
        <c:minorTickMark val="none"/>
        <c:tickLblPos val="high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pPr>
            <a:endParaRPr lang="en-CH"/>
          </a:p>
        </c:txPr>
        <c:crossAx val="1998466016"/>
        <c:crosses val="autoZero"/>
        <c:crossBetween val="between"/>
        <c:majorUnit val="25"/>
      </c:valAx>
      <c:spPr>
        <a:noFill/>
        <a:ln w="25351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n-CH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5126294829630629E-2"/>
          <c:y val="1.1034243967153305E-3"/>
          <c:w val="0.81502333041703123"/>
          <c:h val="0.9282563611221751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rolutamide (n=954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\ #0.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6</c:f>
              <c:strCache>
                <c:ptCount val="15"/>
                <c:pt idx="0">
                  <c:v>Primary Analysis</c:v>
                </c:pt>
                <c:pt idx="1">
                  <c:v>Final Analysis</c:v>
                </c:pt>
                <c:pt idx="2">
                  <c:v>Diarrhea</c:v>
                </c:pt>
                <c:pt idx="3">
                  <c:v>Nausea</c:v>
                </c:pt>
                <c:pt idx="4">
                  <c:v>Fractures</c:v>
                </c:pt>
                <c:pt idx="5">
                  <c:v>Fractures [final]</c:v>
                </c:pt>
                <c:pt idx="6">
                  <c:v>Back Pain</c:v>
                </c:pt>
                <c:pt idx="7">
                  <c:v>Arthralgia</c:v>
                </c:pt>
                <c:pt idx="8">
                  <c:v>Pain in Extremities</c:v>
                </c:pt>
                <c:pt idx="9">
                  <c:v>Hypothyroidisma</c:v>
                </c:pt>
                <c:pt idx="10">
                  <c:v>Weight Decrease</c:v>
                </c:pt>
                <c:pt idx="11">
                  <c:v>Hot Flush</c:v>
                </c:pt>
                <c:pt idx="12">
                  <c:v>Hypertension</c:v>
                </c:pt>
                <c:pt idx="13">
                  <c:v>Coronary Artery Disorders</c:v>
                </c:pt>
                <c:pt idx="14">
                  <c:v>Heart failure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1</c:v>
                </c:pt>
                <c:pt idx="1">
                  <c:v>0.2</c:v>
                </c:pt>
                <c:pt idx="2">
                  <c:v>0.1</c:v>
                </c:pt>
                <c:pt idx="3">
                  <c:v>0.2</c:v>
                </c:pt>
                <c:pt idx="4">
                  <c:v>0.9</c:v>
                </c:pt>
                <c:pt idx="5">
                  <c:v>1</c:v>
                </c:pt>
                <c:pt idx="6">
                  <c:v>0.4</c:v>
                </c:pt>
                <c:pt idx="7">
                  <c:v>0.3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3.5</c:v>
                </c:pt>
                <c:pt idx="13">
                  <c:v>2</c:v>
                </c:pt>
                <c:pt idx="14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8C6-4A02-8CF2-47DD1A8D5E3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 (N=554)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Lbls>
            <c:numFmt formatCode="\ #0.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CH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6</c:f>
              <c:strCache>
                <c:ptCount val="15"/>
                <c:pt idx="0">
                  <c:v>Primary Analysis</c:v>
                </c:pt>
                <c:pt idx="1">
                  <c:v>Final Analysis</c:v>
                </c:pt>
                <c:pt idx="2">
                  <c:v>Diarrhea</c:v>
                </c:pt>
                <c:pt idx="3">
                  <c:v>Nausea</c:v>
                </c:pt>
                <c:pt idx="4">
                  <c:v>Fractures</c:v>
                </c:pt>
                <c:pt idx="5">
                  <c:v>Fractures [final]</c:v>
                </c:pt>
                <c:pt idx="6">
                  <c:v>Back Pain</c:v>
                </c:pt>
                <c:pt idx="7">
                  <c:v>Arthralgia</c:v>
                </c:pt>
                <c:pt idx="8">
                  <c:v>Pain in Extremities</c:v>
                </c:pt>
                <c:pt idx="9">
                  <c:v>Hypothyroidisma</c:v>
                </c:pt>
                <c:pt idx="10">
                  <c:v>Weight Decrease</c:v>
                </c:pt>
                <c:pt idx="11">
                  <c:v>Hot Flush</c:v>
                </c:pt>
                <c:pt idx="12">
                  <c:v>Hypertension</c:v>
                </c:pt>
                <c:pt idx="13">
                  <c:v>Coronary Artery Disorders</c:v>
                </c:pt>
                <c:pt idx="14">
                  <c:v>Heart failure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</c:v>
                </c:pt>
                <c:pt idx="1">
                  <c:v>0.2</c:v>
                </c:pt>
                <c:pt idx="2">
                  <c:v>0.2</c:v>
                </c:pt>
                <c:pt idx="3">
                  <c:v>0</c:v>
                </c:pt>
                <c:pt idx="4">
                  <c:v>0.9</c:v>
                </c:pt>
                <c:pt idx="5">
                  <c:v>0.9</c:v>
                </c:pt>
                <c:pt idx="6">
                  <c:v>0.2</c:v>
                </c:pt>
                <c:pt idx="7">
                  <c:v>0.5</c:v>
                </c:pt>
                <c:pt idx="8">
                  <c:v>0.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2.2999999999999998</c:v>
                </c:pt>
                <c:pt idx="13">
                  <c:v>0.4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8C6-4A02-8CF2-47DD1A8D5E3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998466016"/>
        <c:axId val="1"/>
      </c:barChart>
      <c:catAx>
        <c:axId val="199846601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06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CH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50"/>
          <c:min val="0"/>
        </c:scaling>
        <c:delete val="0"/>
        <c:axPos val="t"/>
        <c:numFmt formatCode="\ #0&quot;%&quot;" sourceLinked="0"/>
        <c:majorTickMark val="out"/>
        <c:minorTickMark val="none"/>
        <c:tickLblPos val="high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pPr>
            <a:endParaRPr lang="en-CH"/>
          </a:p>
        </c:txPr>
        <c:crossAx val="1998466016"/>
        <c:crosses val="autoZero"/>
        <c:crossBetween val="between"/>
        <c:majorUnit val="25"/>
      </c:valAx>
      <c:spPr>
        <a:noFill/>
        <a:ln w="25351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n-CH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6275" cy="498366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863" y="2"/>
            <a:ext cx="2946275" cy="498366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D9D4BFE3-1F5C-4FC7-9E0E-024AEB753C1F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28274"/>
            <a:ext cx="2946275" cy="498366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863" y="9428274"/>
            <a:ext cx="2946275" cy="498366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BF6DA2FA-F909-4443-B065-8077A71F850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02668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275" cy="496672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863" y="1"/>
            <a:ext cx="2946275" cy="496672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A43451A-6EBF-4BEE-860A-1A16FB221866}" type="datetimeFigureOut">
              <a:rPr lang="en-US"/>
              <a:pPr>
                <a:defRPr/>
              </a:pPr>
              <a:t>6/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8" tIns="46584" rIns="93168" bIns="4658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386" y="4715833"/>
            <a:ext cx="5436908" cy="4466648"/>
          </a:xfrm>
          <a:prstGeom prst="rect">
            <a:avLst/>
          </a:prstGeom>
        </p:spPr>
        <p:txBody>
          <a:bodyPr vert="horz" lIns="93168" tIns="46584" rIns="93168" bIns="46584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272"/>
            <a:ext cx="2946275" cy="496672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863" y="9428272"/>
            <a:ext cx="2946275" cy="496672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DD0BCFC-278B-4F80-8D54-C86DD34C9A9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54012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28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5952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19264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09543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3988" y="617538"/>
            <a:ext cx="6308725" cy="3549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4900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5000" y="730250"/>
            <a:ext cx="6045200" cy="3400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8540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88925" y="617538"/>
            <a:ext cx="6310313" cy="3549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284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88925" y="617538"/>
            <a:ext cx="6310313" cy="3549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4512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D7225A-D2C8-CF4D-967A-BD51D58F1E3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6050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85633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AFB87F-AE93-4B5D-8772-B3215053F0C6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0" name="Slide Image Placeholder 9">
            <a:extLst>
              <a:ext uri="{FF2B5EF4-FFF2-40B4-BE49-F238E27FC236}">
                <a16:creationId xmlns:a16="http://schemas.microsoft.com/office/drawing/2014/main" id="{BA01BB69-BF83-4271-A458-963C39F54B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Notes Placeholder 10">
            <a:extLst>
              <a:ext uri="{FF2B5EF4-FFF2-40B4-BE49-F238E27FC236}">
                <a16:creationId xmlns:a16="http://schemas.microsoft.com/office/drawing/2014/main" id="{202F922A-99E1-4AE1-A7EC-CCCEE1D807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079174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452849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5000" y="730250"/>
            <a:ext cx="6045200" cy="3400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8921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2938" y="728663"/>
            <a:ext cx="6045200" cy="3400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4741" y="4248753"/>
            <a:ext cx="6909889" cy="4761464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12070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88925" y="617538"/>
            <a:ext cx="6310313" cy="3549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448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0007" y="3018336"/>
            <a:ext cx="8229600" cy="457048"/>
          </a:xfrm>
        </p:spPr>
        <p:txBody>
          <a:bodyPr anchor="b"/>
          <a:lstStyle>
            <a:lvl1pPr algn="l">
              <a:defRPr sz="33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10007" y="3717034"/>
            <a:ext cx="8229600" cy="366254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/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7847904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0007" y="3018336"/>
            <a:ext cx="8229600" cy="457048"/>
          </a:xfrm>
        </p:spPr>
        <p:txBody>
          <a:bodyPr anchor="b"/>
          <a:lstStyle>
            <a:lvl1pPr algn="l">
              <a:defRPr sz="33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10007" y="3717034"/>
            <a:ext cx="8229600" cy="366254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/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7922474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umper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6EDE9CCF-D32F-AA4F-A6BA-FEAC7DA2297C}"/>
              </a:ext>
            </a:extLst>
          </p:cNvPr>
          <p:cNvGrpSpPr/>
          <p:nvPr/>
        </p:nvGrpSpPr>
        <p:grpSpPr>
          <a:xfrm>
            <a:off x="0" y="0"/>
            <a:ext cx="7812426" cy="6858000"/>
            <a:chOff x="29765" y="0"/>
            <a:chExt cx="7812426" cy="6858000"/>
          </a:xfrm>
        </p:grpSpPr>
        <p:sp>
          <p:nvSpPr>
            <p:cNvPr id="29" name="Parallelogram 28">
              <a:extLst>
                <a:ext uri="{FF2B5EF4-FFF2-40B4-BE49-F238E27FC236}">
                  <a16:creationId xmlns:a16="http://schemas.microsoft.com/office/drawing/2014/main" id="{928C4630-B298-204A-AD43-222B4811DA97}"/>
                </a:ext>
              </a:extLst>
            </p:cNvPr>
            <p:cNvSpPr/>
            <p:nvPr/>
          </p:nvSpPr>
          <p:spPr>
            <a:xfrm>
              <a:off x="4387791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EAC653CE-03F0-5A43-9D35-659009E07DE7}"/>
                </a:ext>
              </a:extLst>
            </p:cNvPr>
            <p:cNvSpPr/>
            <p:nvPr/>
          </p:nvSpPr>
          <p:spPr>
            <a:xfrm>
              <a:off x="29765" y="0"/>
              <a:ext cx="7495273" cy="6858000"/>
            </a:xfrm>
            <a:custGeom>
              <a:avLst/>
              <a:gdLst>
                <a:gd name="connsiteX0" fmla="*/ 0 w 7495273"/>
                <a:gd name="connsiteY0" fmla="*/ 0 h 6858000"/>
                <a:gd name="connsiteX1" fmla="*/ 7495273 w 7495273"/>
                <a:gd name="connsiteY1" fmla="*/ 0 h 6858000"/>
                <a:gd name="connsiteX2" fmla="*/ 4400338 w 7495273"/>
                <a:gd name="connsiteY2" fmla="*/ 6858000 h 6858000"/>
                <a:gd name="connsiteX3" fmla="*/ 0 w 7495273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95273" h="6858000">
                  <a:moveTo>
                    <a:pt x="0" y="0"/>
                  </a:moveTo>
                  <a:lnTo>
                    <a:pt x="7495273" y="0"/>
                  </a:lnTo>
                  <a:lnTo>
                    <a:pt x="4400338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C82AC-9FB2-8D42-9E9A-1EC8648F1151}"/>
              </a:ext>
            </a:extLst>
          </p:cNvPr>
          <p:cNvSpPr/>
          <p:nvPr/>
        </p:nvSpPr>
        <p:spPr>
          <a:xfrm>
            <a:off x="1" y="1380223"/>
            <a:ext cx="12192000" cy="4210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300" y="1122363"/>
            <a:ext cx="5627204" cy="2387600"/>
          </a:xfrm>
        </p:spPr>
        <p:txBody>
          <a:bodyPr anchor="b"/>
          <a:lstStyle>
            <a:lvl1pPr algn="l">
              <a:defRPr sz="40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UMPER SLID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3602038"/>
            <a:ext cx="4529924" cy="1655762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4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4BD9C38-583A-254C-A1AE-F2952A4A8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04567E9-9CA0-FB4E-AD11-DE2319884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020257"/>
      </p:ext>
    </p:extLst>
  </p:cSld>
  <p:clrMapOvr>
    <a:masterClrMapping/>
  </p:clrMapOvr>
  <p:hf sldNum="0" hdr="0" ft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F71A2E-1D04-F441-844E-0C20094432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1" y="1825625"/>
            <a:ext cx="9483587" cy="4351338"/>
          </a:xfrm>
        </p:spPr>
        <p:txBody>
          <a:bodyPr/>
          <a:lstStyle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03CBD74-E145-9A4B-AF40-81075C209E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AB81B8-FA8C-E943-9BDE-DCC7952CB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b="1" i="0" baseline="0"/>
            </a:lvl1pPr>
          </a:lstStyle>
          <a:p>
            <a:r>
              <a:rPr lang="en-US"/>
              <a:t>FOR INTERNAL USE ONLY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CF16414-ED7A-D44A-AFDC-E4C657FC7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2EDBEE-768C-C240-92F5-019B7286C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125230"/>
      </p:ext>
    </p:extLst>
  </p:cSld>
  <p:clrMapOvr>
    <a:masterClrMapping/>
  </p:clrMapOvr>
  <p:hf sldNum="0"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FEA0F3-FE77-4342-9F85-A445BCEDC2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1825626"/>
            <a:ext cx="5219700" cy="3732337"/>
          </a:xfrm>
        </p:spPr>
        <p:txBody>
          <a:bodyPr/>
          <a:lstStyle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38F12A-92D9-C04F-948A-1A7BDED22B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67400" y="1825626"/>
            <a:ext cx="5181600" cy="3732337"/>
          </a:xfrm>
        </p:spPr>
        <p:txBody>
          <a:bodyPr/>
          <a:lstStyle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024075-CE92-864D-BB63-ECA21C4A4B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39A6D4-8217-9047-9309-6F3296601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A05A640-E2E9-7044-AC75-31DDB2AEB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defRPr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55238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7B0AE6-C8D1-8C4D-8231-0D159F2258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1421180"/>
            <a:ext cx="5120612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E97601-30DB-7247-95EC-E5DC55D3EF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95301" y="2245092"/>
            <a:ext cx="5120612" cy="30290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F5C0D-5A5A-EA47-A641-D68AB69322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790537" y="1421180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CD8D6D-0E2A-B74B-86F4-9F1A927085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790537" y="2245092"/>
            <a:ext cx="5183188" cy="30290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9CE67B-5FB4-CC41-B8EC-B53F04C8B5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4B0B08-EBF0-8348-A7B2-017A950C0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0657FED-0BE6-2B46-93FB-E5A3B7DF8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4296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FA904D-ED8C-AC41-84DE-8253AE32D6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BDB17-5F77-B640-B829-6B26F62B9635}" type="datetime1">
              <a:rPr lang="en-US" smtClean="0"/>
              <a:t>6/7/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C8BEBF-ADEB-9247-AC7D-F5F282502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1EEF3D0-910B-0342-9BCF-2D0FEE484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174031"/>
      </p:ext>
    </p:extLst>
  </p:cSld>
  <p:clrMapOvr>
    <a:masterClrMapping/>
  </p:clrMapOvr>
  <p:transition spd="slow">
    <p:wipe dir="r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Exam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427890-ADB8-B24B-8AF6-B623EB4D7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10FB84-49F2-EE4F-93B5-2E732A1475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9F23A7D-69A5-2846-9794-FE510EE271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494328"/>
              </p:ext>
            </p:extLst>
          </p:nvPr>
        </p:nvGraphicFramePr>
        <p:xfrm>
          <a:off x="2083957" y="2137709"/>
          <a:ext cx="7201210" cy="293917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40242">
                  <a:extLst>
                    <a:ext uri="{9D8B030D-6E8A-4147-A177-3AD203B41FA5}">
                      <a16:colId xmlns:a16="http://schemas.microsoft.com/office/drawing/2014/main" val="3957934296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3389176171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2668702004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4278197419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774662539"/>
                    </a:ext>
                  </a:extLst>
                </a:gridCol>
              </a:tblGrid>
              <a:tr h="645685">
                <a:tc>
                  <a:txBody>
                    <a:bodyPr/>
                    <a:lstStyle/>
                    <a:p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b="0" cap="none" spc="0">
                        <a:ln w="0"/>
                        <a:solidFill>
                          <a:schemeClr val="tx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29324"/>
                  </a:ext>
                </a:extLst>
              </a:tr>
              <a:tr h="572756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318197"/>
                  </a:ext>
                </a:extLst>
              </a:tr>
              <a:tr h="860365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7712195"/>
                  </a:ext>
                </a:extLst>
              </a:tr>
              <a:tr h="860365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8281970"/>
                  </a:ext>
                </a:extLst>
              </a:tr>
            </a:tbl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8675FDF3-1F72-0540-A111-532C2AFF9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7D5F87-7E05-A54C-B75B-D3238725747F}"/>
              </a:ext>
            </a:extLst>
          </p:cNvPr>
          <p:cNvSpPr/>
          <p:nvPr/>
        </p:nvSpPr>
        <p:spPr>
          <a:xfrm>
            <a:off x="4835720" y="127221"/>
            <a:ext cx="3236181" cy="75537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>
                <a:solidFill>
                  <a:schemeClr val="tx1"/>
                </a:solidFill>
              </a:rPr>
              <a:t>Style Example Only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Tables cannot be templa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170E67E-9ABC-2D4F-937D-3CD77FBD4A1D}"/>
              </a:ext>
            </a:extLst>
          </p:cNvPr>
          <p:cNvGrpSpPr/>
          <p:nvPr/>
        </p:nvGrpSpPr>
        <p:grpSpPr>
          <a:xfrm>
            <a:off x="2083957" y="1472638"/>
            <a:ext cx="9033707" cy="545786"/>
            <a:chOff x="2033714" y="1472638"/>
            <a:chExt cx="9033707" cy="545786"/>
          </a:xfrm>
        </p:grpSpPr>
        <p:sp>
          <p:nvSpPr>
            <p:cNvPr id="11" name="Content Placeholder 7">
              <a:extLst>
                <a:ext uri="{FF2B5EF4-FFF2-40B4-BE49-F238E27FC236}">
                  <a16:creationId xmlns:a16="http://schemas.microsoft.com/office/drawing/2014/main" id="{24B5BAB3-15B5-8644-B023-9811CD87B122}"/>
                </a:ext>
              </a:extLst>
            </p:cNvPr>
            <p:cNvSpPr txBox="1">
              <a:spLocks/>
            </p:cNvSpPr>
            <p:nvPr/>
          </p:nvSpPr>
          <p:spPr>
            <a:xfrm>
              <a:off x="2033714" y="1472638"/>
              <a:ext cx="9033707" cy="545786"/>
            </a:xfrm>
            <a:prstGeom prst="rect">
              <a:avLst/>
            </a:prstGeom>
          </p:spPr>
          <p:txBody>
            <a:bodyPr vert="horz" lIns="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Helvetica" pitchFamily="2" charset="0"/>
                <a:buChar char="―"/>
                <a:defRPr sz="20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ourier New" panose="02070309020205020404" pitchFamily="49" charset="0"/>
                <a:buChar char="o"/>
                <a:defRPr sz="18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>
                  <a:latin typeface="Arial" panose="020B0604020202020204" pitchFamily="34" charset="0"/>
                  <a:cs typeface="Arial" panose="020B0604020202020204" pitchFamily="34" charset="0"/>
                </a:rPr>
                <a:t>Table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9006CA3-C958-8548-A9BA-119C6D4F859B}"/>
                </a:ext>
              </a:extLst>
            </p:cNvPr>
            <p:cNvCxnSpPr>
              <a:cxnSpLocks/>
            </p:cNvCxnSpPr>
            <p:nvPr/>
          </p:nvCxnSpPr>
          <p:spPr>
            <a:xfrm>
              <a:off x="2033714" y="1899138"/>
              <a:ext cx="720121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4751010"/>
      </p:ext>
    </p:extLst>
  </p:cSld>
  <p:clrMapOvr>
    <a:masterClrMapping/>
  </p:clrMapOvr>
  <p:hf sldNum="0"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388CBA-B1E9-5943-8F4A-6BE859EC9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3506" y="1864283"/>
            <a:ext cx="6172200" cy="368572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AF3F6E-6154-1045-826E-39C332920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A11E2F-5213-8D42-97AD-3ADF8E30A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66" y="6397451"/>
            <a:ext cx="394643" cy="324024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824CEAE-9DE2-124A-916A-B912EA200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C9237C4A-455C-6141-A5F7-EE17FF75CE27}"/>
              </a:ext>
            </a:extLst>
          </p:cNvPr>
          <p:cNvSpPr txBox="1">
            <a:spLocks/>
          </p:cNvSpPr>
          <p:nvPr/>
        </p:nvSpPr>
        <p:spPr>
          <a:xfrm>
            <a:off x="839789" y="984079"/>
            <a:ext cx="3932237" cy="1600200"/>
          </a:xfrm>
          <a:prstGeom prst="rect">
            <a:avLst/>
          </a:prstGeom>
        </p:spPr>
        <p:txBody>
          <a:bodyPr vert="horz" lIns="0" tIns="45714" rIns="91428" bIns="45714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sz="240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AA6D7610-CBFE-1746-914B-FC52DCFF09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1925036"/>
            <a:ext cx="3933825" cy="1458912"/>
          </a:xfrm>
        </p:spPr>
        <p:txBody>
          <a:bodyPr anchor="t"/>
          <a:lstStyle>
            <a:lvl1pPr marL="0" indent="0">
              <a:buNone/>
              <a:defRPr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1189952"/>
      </p:ext>
    </p:extLst>
  </p:cSld>
  <p:clrMapOvr>
    <a:masterClrMapping/>
  </p:clrMapOvr>
  <p:hf sldNum="0"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A34716-9CB5-0B46-9BC2-9833CC8B77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494846"/>
            <a:ext cx="6172200" cy="3912042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56B722-8619-394F-8953-EEAE4672EF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3440927"/>
            <a:ext cx="3932237" cy="1965960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36B82E-341C-9D49-BE66-C1B30D426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885300-3194-3D44-A000-58B58BCB1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EB02C3C5-7F6B-694F-8C79-105306958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25128"/>
            <a:ext cx="10448193" cy="8908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E1A07E2-D097-A748-A2EB-77F8BD79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1925036"/>
            <a:ext cx="3933825" cy="1458912"/>
          </a:xfrm>
        </p:spPr>
        <p:txBody>
          <a:bodyPr anchor="b"/>
          <a:lstStyle>
            <a:lvl1pPr marL="0" indent="0">
              <a:buNone/>
              <a:defRPr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3870355"/>
      </p:ext>
    </p:extLst>
  </p:cSld>
  <p:clrMapOvr>
    <a:masterClrMapping/>
  </p:clrMapOvr>
  <p:hf sldNum="0"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Text slide | Medical Affai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9366" y="181938"/>
            <a:ext cx="10686258" cy="8640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826" y="1491453"/>
            <a:ext cx="10688164" cy="281195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758C7C20-0F60-1238-7B65-64BFF8BF23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06336" y="6561541"/>
            <a:ext cx="8771789" cy="205212"/>
          </a:xfrm>
          <a:prstGeom prst="rect">
            <a:avLst/>
          </a:prstGeom>
        </p:spPr>
        <p:txBody>
          <a:bodyPr anchor="b" anchorCtr="0"/>
          <a:lstStyle>
            <a:lvl1pPr algn="l">
              <a:spcBef>
                <a:spcPts val="0"/>
              </a:spcBef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Abbreviations</a:t>
            </a:r>
          </a:p>
        </p:txBody>
      </p:sp>
    </p:spTree>
    <p:extLst>
      <p:ext uri="{BB962C8B-B14F-4D97-AF65-F5344CB8AC3E}">
        <p14:creationId xmlns:p14="http://schemas.microsoft.com/office/powerpoint/2010/main" val="1073732017"/>
      </p:ext>
    </p:extLst>
  </p:cSld>
  <p:clrMapOvr>
    <a:masterClrMapping/>
  </p:clrMapOvr>
  <p:transition>
    <p:fade/>
  </p:transition>
  <p:hf sldNum="0" hdr="0" ft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588246" y="1295401"/>
            <a:ext cx="11193569" cy="4991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204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486836" y="3269297"/>
            <a:ext cx="11218333" cy="313932"/>
          </a:xfrm>
        </p:spPr>
        <p:txBody>
          <a:bodyPr lIns="0" anchor="b"/>
          <a:lstStyle>
            <a:lvl1pPr marL="0" indent="0">
              <a:buNone/>
              <a:defRPr sz="2400" b="1"/>
            </a:lvl1pPr>
            <a:lvl2pPr marL="457189" indent="0">
              <a:buNone/>
              <a:defRPr sz="1800"/>
            </a:lvl2pPr>
            <a:lvl3pPr marL="914377" indent="0">
              <a:buNone/>
              <a:defRPr sz="1600"/>
            </a:lvl3pPr>
            <a:lvl4pPr marL="1371566" indent="0">
              <a:buNone/>
              <a:defRPr sz="1400"/>
            </a:lvl4pPr>
            <a:lvl5pPr marL="1828754" indent="0">
              <a:buNone/>
              <a:defRPr sz="1400"/>
            </a:lvl5pPr>
            <a:lvl6pPr marL="2285943" indent="0">
              <a:buNone/>
              <a:defRPr sz="1400"/>
            </a:lvl6pPr>
            <a:lvl7pPr marL="2743131" indent="0">
              <a:buNone/>
              <a:defRPr sz="1400"/>
            </a:lvl7pPr>
            <a:lvl8pPr marL="3200320" indent="0">
              <a:buNone/>
              <a:defRPr sz="1400"/>
            </a:lvl8pPr>
            <a:lvl9pPr marL="365750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86836" y="3727016"/>
            <a:ext cx="11218333" cy="287771"/>
          </a:xfrm>
        </p:spPr>
        <p:txBody>
          <a:bodyPr lIns="0" anchor="t"/>
          <a:lstStyle>
            <a:lvl1pPr marL="0" indent="0">
              <a:spcBef>
                <a:spcPts val="600"/>
              </a:spcBef>
              <a:buNone/>
              <a:defRPr sz="2200" b="0" cap="all" baseline="0">
                <a:solidFill>
                  <a:schemeClr val="tx2"/>
                </a:solidFill>
              </a:defRPr>
            </a:lvl1pPr>
            <a:lvl2pPr marL="457189" indent="0">
              <a:buNone/>
              <a:defRPr sz="1800"/>
            </a:lvl2pPr>
            <a:lvl3pPr marL="914377" indent="0">
              <a:buNone/>
              <a:defRPr sz="1600"/>
            </a:lvl3pPr>
            <a:lvl4pPr marL="1371566" indent="0">
              <a:buNone/>
              <a:defRPr sz="1400"/>
            </a:lvl4pPr>
            <a:lvl5pPr marL="1828754" indent="0">
              <a:buNone/>
              <a:defRPr sz="1400"/>
            </a:lvl5pPr>
            <a:lvl6pPr marL="2285943" indent="0">
              <a:buNone/>
              <a:defRPr sz="1400"/>
            </a:lvl6pPr>
            <a:lvl7pPr marL="2743131" indent="0">
              <a:buNone/>
              <a:defRPr sz="1400"/>
            </a:lvl7pPr>
            <a:lvl8pPr marL="3200320" indent="0">
              <a:buNone/>
              <a:defRPr sz="1400"/>
            </a:lvl8pPr>
            <a:lvl9pPr marL="365750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8383849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pos="6827" userDrawn="1">
          <p15:clr>
            <a:srgbClr val="FBAE40"/>
          </p15:clr>
        </p15:guide>
        <p15:guide id="2" pos="1183" userDrawn="1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5E8203-1FB3-486B-83D7-3614934F1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A5A31-514C-4E11-BB0E-A0DF45B8D06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052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EE41E4-B1DE-4870-B603-FB862F25B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266E3BA-4F85-4F92-8FE1-7AD9088CEF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0923AC-0A09-4D97-AB32-1479C042C6E2}" type="datetimeFigureOut">
              <a:rPr lang="de-DE" smtClean="0"/>
              <a:t>07.06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5360771-0E11-48A6-9637-EF8F816968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D6C38B-F457-457B-8E63-533B4252C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8F59E-0513-4D11-A744-DFF90BFD2B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809250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51BB9-B5A7-4A4E-BCC8-1B2D01A08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F139DE-402E-4979-B6F1-51154AC2A2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lick to add foot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1124854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077" y="1261828"/>
            <a:ext cx="11245851" cy="1186992"/>
          </a:xfrm>
        </p:spPr>
        <p:txBody>
          <a:bodyPr/>
          <a:lstStyle>
            <a:lvl1pPr>
              <a:spcBef>
                <a:spcPts val="1800"/>
              </a:spcBef>
              <a:defRPr sz="2000"/>
            </a:lvl1pPr>
            <a:lvl2pPr>
              <a:spcBef>
                <a:spcPts val="300"/>
              </a:spcBef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7434152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077" y="1261830"/>
            <a:ext cx="11245851" cy="1107739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64236"/>
      </p:ext>
    </p:extLst>
  </p:cSld>
  <p:clrMapOvr>
    <a:masterClrMapping/>
  </p:clrMapOvr>
  <p:transition spd="slow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irs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" y="1276589"/>
            <a:ext cx="11216640" cy="1277786"/>
          </a:xfrm>
        </p:spPr>
        <p:txBody>
          <a:bodyPr lIns="0" rIns="0"/>
          <a:lstStyle>
            <a:lvl1pPr marL="0" indent="0">
              <a:spcBef>
                <a:spcPts val="1800"/>
              </a:spcBef>
              <a:buNone/>
              <a:defRPr sz="2000" b="0"/>
            </a:lvl1pPr>
            <a:lvl2pPr marL="117472" indent="-117472">
              <a:spcBef>
                <a:spcPts val="600"/>
              </a:spcBef>
              <a:buFont typeface="Arial" panose="020B0604020202020204" pitchFamily="34" charset="0"/>
              <a:buChar char="•"/>
              <a:defRPr sz="1800" b="0"/>
            </a:lvl2pPr>
            <a:lvl3pPr marL="342891" indent="-115885">
              <a:spcBef>
                <a:spcPts val="300"/>
              </a:spcBef>
              <a:buFont typeface="Arial" panose="020B0604020202020204" pitchFamily="34" charset="0"/>
              <a:buChar char="•"/>
              <a:defRPr sz="16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0849927"/>
      </p:ext>
    </p:extLst>
  </p:cSld>
  <p:clrMapOvr>
    <a:masterClrMapping/>
  </p:clrMapOvr>
  <p:transition spd="slow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No Firs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" y="1286750"/>
            <a:ext cx="11216640" cy="1029513"/>
          </a:xfrm>
        </p:spPr>
        <p:txBody>
          <a:bodyPr lIns="0" rIns="0"/>
          <a:lstStyle>
            <a:lvl1pPr marL="0" indent="0">
              <a:spcBef>
                <a:spcPts val="1800"/>
              </a:spcBef>
              <a:buNone/>
              <a:defRPr sz="1600" b="0"/>
            </a:lvl1pPr>
            <a:lvl2pPr marL="117472" indent="-117472">
              <a:spcBef>
                <a:spcPts val="600"/>
              </a:spcBef>
              <a:buFont typeface="Arial" panose="020B0604020202020204" pitchFamily="34" charset="0"/>
              <a:buChar char="•"/>
              <a:defRPr sz="1400" b="0"/>
            </a:lvl2pPr>
            <a:lvl3pPr marL="342891" indent="-115885">
              <a:spcBef>
                <a:spcPts val="200"/>
              </a:spcBef>
              <a:buFont typeface="Arial" panose="020B0604020202020204" pitchFamily="34" charset="0"/>
              <a:buChar char="•"/>
              <a:defRPr sz="1200" b="0"/>
            </a:lvl3pPr>
            <a:lvl4pPr>
              <a:defRPr sz="1100" b="0"/>
            </a:lvl4pPr>
            <a:lvl5pPr>
              <a:defRPr sz="11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1486059"/>
      </p:ext>
    </p:extLst>
  </p:cSld>
  <p:clrMapOvr>
    <a:masterClrMapping/>
  </p:clrMapOvr>
  <p:transition spd="slow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No Firs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" y="1276588"/>
            <a:ext cx="11216640" cy="1146981"/>
          </a:xfrm>
        </p:spPr>
        <p:txBody>
          <a:bodyPr lIns="0" rIns="0"/>
          <a:lstStyle>
            <a:lvl1pPr marL="0" indent="0">
              <a:spcBef>
                <a:spcPts val="1800"/>
              </a:spcBef>
              <a:buNone/>
              <a:defRPr sz="1800" b="1"/>
            </a:lvl1pPr>
            <a:lvl2pPr marL="117472" indent="-117472">
              <a:spcBef>
                <a:spcPts val="600"/>
              </a:spcBef>
              <a:buFont typeface="Arial" panose="020B0604020202020204" pitchFamily="34" charset="0"/>
              <a:buChar char="•"/>
              <a:defRPr sz="1600" b="0"/>
            </a:lvl2pPr>
            <a:lvl3pPr marL="398453" indent="-115885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6640444"/>
      </p:ext>
    </p:extLst>
  </p:cSld>
  <p:clrMapOvr>
    <a:masterClrMapping/>
  </p:clrMapOvr>
  <p:transition spd="slow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128279"/>
      </p:ext>
    </p:extLst>
  </p:cSld>
  <p:clrMapOvr>
    <a:masterClrMapping/>
  </p:clrMapOvr>
  <p:transition spd="slow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8661820"/>
      </p:ext>
    </p:extLst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57619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486836" y="3269297"/>
            <a:ext cx="11218333" cy="313932"/>
          </a:xfrm>
        </p:spPr>
        <p:txBody>
          <a:bodyPr lIns="0" anchor="b"/>
          <a:lstStyle>
            <a:lvl1pPr marL="0" indent="0">
              <a:buNone/>
              <a:defRPr sz="2400" b="1"/>
            </a:lvl1pPr>
            <a:lvl2pPr marL="457189" indent="0">
              <a:buNone/>
              <a:defRPr sz="1800"/>
            </a:lvl2pPr>
            <a:lvl3pPr marL="914377" indent="0">
              <a:buNone/>
              <a:defRPr sz="1600"/>
            </a:lvl3pPr>
            <a:lvl4pPr marL="1371566" indent="0">
              <a:buNone/>
              <a:defRPr sz="1400"/>
            </a:lvl4pPr>
            <a:lvl5pPr marL="1828754" indent="0">
              <a:buNone/>
              <a:defRPr sz="1400"/>
            </a:lvl5pPr>
            <a:lvl6pPr marL="2285943" indent="0">
              <a:buNone/>
              <a:defRPr sz="1400"/>
            </a:lvl6pPr>
            <a:lvl7pPr marL="2743131" indent="0">
              <a:buNone/>
              <a:defRPr sz="1400"/>
            </a:lvl7pPr>
            <a:lvl8pPr marL="3200320" indent="0">
              <a:buNone/>
              <a:defRPr sz="1400"/>
            </a:lvl8pPr>
            <a:lvl9pPr marL="365750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86836" y="3727016"/>
            <a:ext cx="11218333" cy="287771"/>
          </a:xfrm>
        </p:spPr>
        <p:txBody>
          <a:bodyPr lIns="0" anchor="t"/>
          <a:lstStyle>
            <a:lvl1pPr marL="0" indent="0">
              <a:spcBef>
                <a:spcPts val="600"/>
              </a:spcBef>
              <a:buNone/>
              <a:defRPr sz="2200" b="0" cap="all" baseline="0">
                <a:solidFill>
                  <a:schemeClr val="tx2"/>
                </a:solidFill>
              </a:defRPr>
            </a:lvl1pPr>
            <a:lvl2pPr marL="457189" indent="0">
              <a:buNone/>
              <a:defRPr sz="1800"/>
            </a:lvl2pPr>
            <a:lvl3pPr marL="914377" indent="0">
              <a:buNone/>
              <a:defRPr sz="1600"/>
            </a:lvl3pPr>
            <a:lvl4pPr marL="1371566" indent="0">
              <a:buNone/>
              <a:defRPr sz="1400"/>
            </a:lvl4pPr>
            <a:lvl5pPr marL="1828754" indent="0">
              <a:buNone/>
              <a:defRPr sz="1400"/>
            </a:lvl5pPr>
            <a:lvl6pPr marL="2285943" indent="0">
              <a:buNone/>
              <a:defRPr sz="1400"/>
            </a:lvl6pPr>
            <a:lvl7pPr marL="2743131" indent="0">
              <a:buNone/>
              <a:defRPr sz="1400"/>
            </a:lvl7pPr>
            <a:lvl8pPr marL="3200320" indent="0">
              <a:buNone/>
              <a:defRPr sz="1400"/>
            </a:lvl8pPr>
            <a:lvl9pPr marL="365750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5020252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pos="6827" userDrawn="1">
          <p15:clr>
            <a:srgbClr val="FBAE40"/>
          </p15:clr>
        </p15:guide>
        <p15:guide id="2" pos="118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2" y="0"/>
            <a:ext cx="811362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3106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10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388409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588246" y="1295401"/>
            <a:ext cx="11193569" cy="4991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66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44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2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0182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09155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81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18003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88246" y="1138299"/>
            <a:ext cx="1119356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588246" y="1732752"/>
            <a:ext cx="11193569" cy="45537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420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88246" y="1138299"/>
            <a:ext cx="1119289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88245" y="1732750"/>
            <a:ext cx="5443401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337736" y="1732750"/>
            <a:ext cx="5443401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59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077" y="1261828"/>
            <a:ext cx="11245851" cy="1186992"/>
          </a:xfrm>
        </p:spPr>
        <p:txBody>
          <a:bodyPr/>
          <a:lstStyle>
            <a:lvl1pPr>
              <a:spcBef>
                <a:spcPts val="1800"/>
              </a:spcBef>
              <a:defRPr sz="2000"/>
            </a:lvl1pPr>
            <a:lvl2pPr>
              <a:spcBef>
                <a:spcPts val="300"/>
              </a:spcBef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8158206"/>
      </p:ext>
    </p:extLst>
  </p:cSld>
  <p:clrMapOvr>
    <a:masterClrMapping/>
  </p:clrMapOvr>
  <p:transition spd="slow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88247" y="1138299"/>
            <a:ext cx="1119300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88246" y="3892750"/>
            <a:ext cx="5612844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168409" y="3892750"/>
            <a:ext cx="5612844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588246" y="1732750"/>
            <a:ext cx="5612844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168409" y="1732750"/>
            <a:ext cx="5612844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771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88246" y="1138299"/>
            <a:ext cx="1119356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88246" y="181938"/>
            <a:ext cx="11193569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7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39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692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393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29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792" y="1735137"/>
            <a:ext cx="10801406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948" y="590935"/>
            <a:ext cx="10801406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/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" y="0"/>
            <a:ext cx="12192000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14,20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5.59</a:t>
              </a:r>
            </a:p>
            <a:p>
              <a:pPr algn="l"/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7,45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2.93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6,45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2.54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0,3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12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1,30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0.51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8,06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3.17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9,06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3.57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15,8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6.22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4,7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1.85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>
                  <a:solidFill>
                    <a:schemeClr val="accent6"/>
                  </a:solidFill>
                </a:rPr>
                <a:t>8,49</a:t>
              </a:r>
              <a:endParaRPr lang="en-US" sz="800">
                <a:solidFill>
                  <a:schemeClr val="accent6"/>
                </a:solidFill>
              </a:endParaRP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2,4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94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>
                  <a:solidFill>
                    <a:schemeClr val="accent6"/>
                  </a:solidFill>
                </a:rPr>
                <a:t>1,40</a:t>
              </a:r>
              <a:endParaRPr lang="en-US" sz="800">
                <a:solidFill>
                  <a:schemeClr val="accent6"/>
                </a:solidFill>
              </a:endParaRP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>
                  <a:solidFill>
                    <a:schemeClr val="tx2"/>
                  </a:solidFill>
                </a:rPr>
                <a:t>0.31</a:t>
              </a:r>
              <a:endParaRPr lang="en-US" sz="600">
                <a:solidFill>
                  <a:schemeClr val="tx2"/>
                </a:solidFill>
              </a:endParaRPr>
            </a:p>
          </p:txBody>
        </p:sp>
        <p:sp>
          <p:nvSpPr>
            <p:cNvPr id="53" name="Rectangle 37"/>
            <p:cNvSpPr/>
            <p:nvPr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0.75</a:t>
              </a:r>
              <a:endParaRPr lang="en-US" sz="600">
                <a:solidFill>
                  <a:schemeClr val="tx2"/>
                </a:solidFill>
              </a:endParaRPr>
            </a:p>
          </p:txBody>
        </p:sp>
        <p:cxnSp>
          <p:nvCxnSpPr>
            <p:cNvPr id="57" name="Straight Connector 27"/>
            <p:cNvCxnSpPr/>
            <p:nvPr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792" y="1735137"/>
            <a:ext cx="10801406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lease restrict your content to this area</a:t>
            </a:r>
          </a:p>
        </p:txBody>
      </p:sp>
    </p:spTree>
    <p:extLst>
      <p:ext uri="{BB962C8B-B14F-4D97-AF65-F5344CB8AC3E}">
        <p14:creationId xmlns:p14="http://schemas.microsoft.com/office/powerpoint/2010/main" val="2721657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1578228"/>
      </p:ext>
    </p:extLst>
  </p:cSld>
  <p:clrMapOvr>
    <a:masterClrMapping/>
  </p:clrMapOvr>
  <p:transition spd="slow"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486836" y="3269297"/>
            <a:ext cx="11218333" cy="313932"/>
          </a:xfrm>
        </p:spPr>
        <p:txBody>
          <a:bodyPr lIns="0" anchor="b"/>
          <a:lstStyle>
            <a:lvl1pPr marL="0" indent="0">
              <a:buNone/>
              <a:defRPr sz="2400" b="1"/>
            </a:lvl1pPr>
            <a:lvl2pPr marL="457189" indent="0">
              <a:buNone/>
              <a:defRPr sz="1800"/>
            </a:lvl2pPr>
            <a:lvl3pPr marL="914377" indent="0">
              <a:buNone/>
              <a:defRPr sz="1600"/>
            </a:lvl3pPr>
            <a:lvl4pPr marL="1371566" indent="0">
              <a:buNone/>
              <a:defRPr sz="1400"/>
            </a:lvl4pPr>
            <a:lvl5pPr marL="1828754" indent="0">
              <a:buNone/>
              <a:defRPr sz="1400"/>
            </a:lvl5pPr>
            <a:lvl6pPr marL="2285943" indent="0">
              <a:buNone/>
              <a:defRPr sz="1400"/>
            </a:lvl6pPr>
            <a:lvl7pPr marL="2743131" indent="0">
              <a:buNone/>
              <a:defRPr sz="1400"/>
            </a:lvl7pPr>
            <a:lvl8pPr marL="3200320" indent="0">
              <a:buNone/>
              <a:defRPr sz="1400"/>
            </a:lvl8pPr>
            <a:lvl9pPr marL="365750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86836" y="3727016"/>
            <a:ext cx="11218333" cy="287771"/>
          </a:xfrm>
        </p:spPr>
        <p:txBody>
          <a:bodyPr lIns="0" anchor="t"/>
          <a:lstStyle>
            <a:lvl1pPr marL="0" indent="0">
              <a:spcBef>
                <a:spcPts val="600"/>
              </a:spcBef>
              <a:buNone/>
              <a:defRPr sz="2200" b="0" cap="all" baseline="0">
                <a:solidFill>
                  <a:schemeClr val="tx2"/>
                </a:solidFill>
              </a:defRPr>
            </a:lvl1pPr>
            <a:lvl2pPr marL="457189" indent="0">
              <a:buNone/>
              <a:defRPr sz="1800"/>
            </a:lvl2pPr>
            <a:lvl3pPr marL="914377" indent="0">
              <a:buNone/>
              <a:defRPr sz="1600"/>
            </a:lvl3pPr>
            <a:lvl4pPr marL="1371566" indent="0">
              <a:buNone/>
              <a:defRPr sz="1400"/>
            </a:lvl4pPr>
            <a:lvl5pPr marL="1828754" indent="0">
              <a:buNone/>
              <a:defRPr sz="1400"/>
            </a:lvl5pPr>
            <a:lvl6pPr marL="2285943" indent="0">
              <a:buNone/>
              <a:defRPr sz="1400"/>
            </a:lvl6pPr>
            <a:lvl7pPr marL="2743131" indent="0">
              <a:buNone/>
              <a:defRPr sz="1400"/>
            </a:lvl7pPr>
            <a:lvl8pPr marL="3200320" indent="0">
              <a:buNone/>
              <a:defRPr sz="1400"/>
            </a:lvl8pPr>
            <a:lvl9pPr marL="365750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0362991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pos="6827">
          <p15:clr>
            <a:srgbClr val="FBAE40"/>
          </p15:clr>
        </p15:guide>
        <p15:guide id="2" pos="1183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79" y="6192985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4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494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077" y="1261830"/>
            <a:ext cx="11245851" cy="1107739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2929587"/>
      </p:ext>
    </p:extLst>
  </p:cSld>
  <p:clrMapOvr>
    <a:masterClrMapping/>
  </p:clrMapOvr>
  <p:transition spd="slow"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79" y="6192985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4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997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5E8203-1FB3-486B-83D7-3614934F1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A5A31-514C-4E11-BB0E-A0DF45B8D06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666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EE41E4-B1DE-4870-B603-FB862F25B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266E3BA-4F85-4F92-8FE1-7AD9088CEF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0923AC-0A09-4D97-AB32-1479C042C6E2}" type="datetimeFigureOut">
              <a:rPr lang="de-DE" smtClean="0"/>
              <a:t>07.06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5360771-0E11-48A6-9637-EF8F816968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D6C38B-F457-457B-8E63-533B4252C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8F59E-0513-4D11-A744-DFF90BFD2B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95786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51BB9-B5A7-4A4E-BCC8-1B2D01A08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F139DE-402E-4979-B6F1-51154AC2A2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lick to add foot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7067458"/>
      </p:ext>
    </p:extLst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0539" cy="685800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r.›</a:t>
            </a:fld>
            <a:endParaRPr lang="en-US">
              <a:solidFill>
                <a:srgbClr val="00BC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506343" y="1949315"/>
            <a:ext cx="5604308" cy="1070976"/>
          </a:xfrm>
        </p:spPr>
        <p:txBody>
          <a:bodyPr anchor="t"/>
          <a:lstStyle>
            <a:lvl1pPr>
              <a:defRPr sz="3600" b="0" i="0">
                <a:solidFill>
                  <a:schemeClr val="bg1"/>
                </a:solidFill>
              </a:defRPr>
            </a:lvl1pPr>
          </a:lstStyle>
          <a:p>
            <a:r>
              <a:rPr lang="de-DE"/>
              <a:t>Title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set</a:t>
            </a:r>
            <a:r>
              <a:rPr lang="de-DE"/>
              <a:t> in Arial Light</a:t>
            </a:r>
            <a:br>
              <a:rPr lang="de-DE"/>
            </a:br>
            <a:r>
              <a:rPr lang="de-DE" err="1"/>
              <a:t>sentence</a:t>
            </a:r>
            <a:r>
              <a:rPr lang="de-DE"/>
              <a:t> </a:t>
            </a:r>
            <a:r>
              <a:rPr lang="de-DE" err="1"/>
              <a:t>case</a:t>
            </a:r>
            <a:r>
              <a:rPr lang="de-DE"/>
              <a:t> 36pt</a:t>
            </a:r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42062" y="3389315"/>
            <a:ext cx="3794976" cy="295994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set</a:t>
            </a:r>
            <a:r>
              <a:rPr lang="de-DE"/>
              <a:t> in Arial Regular 18pt</a:t>
            </a:r>
          </a:p>
        </p:txBody>
      </p:sp>
    </p:spTree>
    <p:extLst>
      <p:ext uri="{BB962C8B-B14F-4D97-AF65-F5344CB8AC3E}">
        <p14:creationId xmlns:p14="http://schemas.microsoft.com/office/powerpoint/2010/main" val="2990869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9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800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5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3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4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38261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505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5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1" kern="0">
                <a:solidFill>
                  <a:srgbClr val="FF3162"/>
                </a:solidFill>
                <a:latin typeface="Arial"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629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420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25874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505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5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1" kern="0">
                <a:solidFill>
                  <a:srgbClr val="00BCFF"/>
                </a:solidFill>
                <a:latin typeface="Arial"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629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419" y="0"/>
            <a:ext cx="811362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0104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505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5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1" kern="0">
                <a:solidFill>
                  <a:srgbClr val="89D329"/>
                </a:solidFill>
                <a:latin typeface="Arial"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629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10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5347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r.›</a:t>
            </a:fld>
            <a:endParaRPr lang="en-US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588293" y="1295401"/>
            <a:ext cx="11193569" cy="4991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911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irs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" y="1276589"/>
            <a:ext cx="11216640" cy="1277786"/>
          </a:xfrm>
        </p:spPr>
        <p:txBody>
          <a:bodyPr lIns="0" rIns="0"/>
          <a:lstStyle>
            <a:lvl1pPr marL="0" indent="0">
              <a:spcBef>
                <a:spcPts val="1800"/>
              </a:spcBef>
              <a:buNone/>
              <a:defRPr sz="2000" b="0"/>
            </a:lvl1pPr>
            <a:lvl2pPr marL="117472" indent="-117472">
              <a:spcBef>
                <a:spcPts val="600"/>
              </a:spcBef>
              <a:buFont typeface="Arial" panose="020B0604020202020204" pitchFamily="34" charset="0"/>
              <a:buChar char="•"/>
              <a:defRPr sz="1800" b="0"/>
            </a:lvl2pPr>
            <a:lvl3pPr marL="342891" indent="-115885">
              <a:spcBef>
                <a:spcPts val="300"/>
              </a:spcBef>
              <a:buFont typeface="Arial" panose="020B0604020202020204" pitchFamily="34" charset="0"/>
              <a:buChar char="•"/>
              <a:defRPr sz="16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5695983"/>
      </p:ext>
    </p:extLst>
  </p:cSld>
  <p:clrMapOvr>
    <a:masterClrMapping/>
  </p:clrMapOvr>
  <p:transition spd="slow"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69973" indent="-269973">
              <a:spcBef>
                <a:spcPts val="1800"/>
              </a:spcBef>
              <a:spcAft>
                <a:spcPts val="0"/>
              </a:spcAft>
              <a:buFontTx/>
              <a:buBlip>
                <a:blip r:embed="rId2"/>
              </a:buBlip>
              <a:defRPr sz="2000"/>
            </a:lvl1pPr>
            <a:lvl2pPr marL="539946" indent="-269973"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2pPr>
            <a:lvl3pPr marL="809919" indent="-269973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3pPr>
            <a:lvl4pPr marL="1079892" indent="-269973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916" y="6617933"/>
            <a:ext cx="392377" cy="108000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r.›</a:t>
            </a:fld>
            <a:endParaRPr lang="en-US">
              <a:solidFill>
                <a:srgbClr val="00BCFF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3543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47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232" y="1473912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Freeform 12"/>
            <p:cNvSpPr>
              <a:spLocks/>
            </p:cNvSpPr>
            <p:nvPr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3051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721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47" y="3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5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4074508"/>
              </p:ext>
            </p:extLst>
          </p:nvPr>
        </p:nvGraphicFramePr>
        <p:xfrm>
          <a:off x="10587213" y="6481489"/>
          <a:ext cx="1188720" cy="2743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300" spc="1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NAL</a:t>
                      </a:r>
                    </a:p>
                  </a:txBody>
                  <a:tcPr marL="18288" marR="0" marT="0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249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47" y="3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6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54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Freeform 7"/>
            <p:cNvSpPr>
              <a:spLocks/>
            </p:cNvSpPr>
            <p:nvPr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rial"/>
              </a:endParaRPr>
            </a:p>
          </p:txBody>
        </p:sp>
      </p:grp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2863734"/>
              </p:ext>
            </p:extLst>
          </p:nvPr>
        </p:nvGraphicFramePr>
        <p:xfrm>
          <a:off x="10587213" y="6481489"/>
          <a:ext cx="1188720" cy="2743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kern="300" spc="100" baseline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0" marT="0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3842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hapt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47" y="3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50000">
                <a:schemeClr val="accent1">
                  <a:lumMod val="90000"/>
                  <a:lumOff val="10000"/>
                </a:schemeClr>
              </a:gs>
              <a:gs pos="84000">
                <a:schemeClr val="accent1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6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54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Freeform 7"/>
            <p:cNvSpPr>
              <a:spLocks/>
            </p:cNvSpPr>
            <p:nvPr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1070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88293" y="1138299"/>
            <a:ext cx="11193523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r.›</a:t>
            </a:fld>
            <a:endParaRPr lang="en-US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588293" y="1732753"/>
            <a:ext cx="11193569" cy="45537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415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88293" y="1138299"/>
            <a:ext cx="11192845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r.›</a:t>
            </a:fld>
            <a:endParaRPr lang="en-US">
              <a:solidFill>
                <a:srgbClr val="00BCFF"/>
              </a:solidFill>
            </a:endParaRP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88293" y="1732750"/>
            <a:ext cx="5378393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168340" y="1732750"/>
            <a:ext cx="5378393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585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88293" y="1138299"/>
            <a:ext cx="1119300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r.›</a:t>
            </a:fld>
            <a:endParaRPr lang="en-US">
              <a:solidFill>
                <a:srgbClr val="00BCFF"/>
              </a:solidFill>
            </a:endParaRP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88293" y="3892766"/>
            <a:ext cx="5349093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168457" y="3892766"/>
            <a:ext cx="5349093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588293" y="1732750"/>
            <a:ext cx="5349093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168457" y="1732750"/>
            <a:ext cx="5349093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87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88293" y="1138299"/>
            <a:ext cx="11193523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88292" y="181938"/>
            <a:ext cx="11193524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r.›</a:t>
            </a:fld>
            <a:endParaRPr lang="en-US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66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48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34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No Firs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" y="1286750"/>
            <a:ext cx="11216640" cy="1029513"/>
          </a:xfrm>
        </p:spPr>
        <p:txBody>
          <a:bodyPr lIns="0" rIns="0"/>
          <a:lstStyle>
            <a:lvl1pPr marL="0" indent="0">
              <a:spcBef>
                <a:spcPts val="1800"/>
              </a:spcBef>
              <a:buNone/>
              <a:defRPr sz="1600" b="0"/>
            </a:lvl1pPr>
            <a:lvl2pPr marL="117472" indent="-117472">
              <a:spcBef>
                <a:spcPts val="600"/>
              </a:spcBef>
              <a:buFont typeface="Arial" panose="020B0604020202020204" pitchFamily="34" charset="0"/>
              <a:buChar char="•"/>
              <a:defRPr sz="1400" b="0"/>
            </a:lvl2pPr>
            <a:lvl3pPr marL="342891" indent="-115885">
              <a:spcBef>
                <a:spcPts val="200"/>
              </a:spcBef>
              <a:buFont typeface="Arial" panose="020B0604020202020204" pitchFamily="34" charset="0"/>
              <a:buChar char="•"/>
              <a:defRPr sz="1200" b="0"/>
            </a:lvl3pPr>
            <a:lvl4pPr>
              <a:defRPr sz="1100" b="0"/>
            </a:lvl4pPr>
            <a:lvl5pPr>
              <a:defRPr sz="11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9417090"/>
      </p:ext>
    </p:extLst>
  </p:cSld>
  <p:clrMapOvr>
    <a:masterClrMapping/>
  </p:clrMapOvr>
  <p:transition spd="slow">
    <p:wipe dir="r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48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399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5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1" kern="0">
                <a:solidFill>
                  <a:srgbClr val="FF3162"/>
                </a:solidFill>
                <a:latin typeface="Arial"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629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63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6863046" y="6591047"/>
            <a:ext cx="3504293" cy="160044"/>
          </a:xfrm>
          <a:prstGeom prst="rect">
            <a:avLst/>
          </a:prstGeom>
        </p:spPr>
        <p:txBody>
          <a:bodyPr wrap="none" lIns="36571" tIns="18286" rIns="36571" bIns="18286" anchor="ctr" anchorCtr="0">
            <a:spAutoFit/>
          </a:bodyPr>
          <a:lstStyle>
            <a:lvl1pPr algn="r">
              <a:defRPr sz="1200">
                <a:solidFill>
                  <a:srgbClr val="FFFFFF"/>
                </a:solidFill>
                <a:latin typeface="+mn-lt"/>
                <a:ea typeface="MS PGothic" pitchFamily="34" charset="-128"/>
              </a:defRPr>
            </a:lvl1pPr>
          </a:lstStyle>
          <a:p>
            <a:pPr algn="ctr">
              <a:defRPr/>
            </a:pPr>
            <a:r>
              <a:rPr lang="en-US" sz="800">
                <a:solidFill>
                  <a:schemeClr val="tx1"/>
                </a:solidFill>
                <a:ea typeface="Arial Unicode MS" panose="020B0604020202020204" pitchFamily="34" charset="-128"/>
              </a:rPr>
              <a:t>Not For Distribution. For Medical Education Only, Not For Promotional Use.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0587213" y="6481489"/>
          <a:ext cx="1188720" cy="2743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300" spc="1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NAL</a:t>
                      </a:r>
                    </a:p>
                  </a:txBody>
                  <a:tcPr marL="18288" marR="0" marT="0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Slide Number Placeholder 5"/>
          <p:cNvSpPr txBox="1">
            <a:spLocks/>
          </p:cNvSpPr>
          <p:nvPr/>
        </p:nvSpPr>
        <p:spPr>
          <a:xfrm>
            <a:off x="588292" y="6592972"/>
            <a:ext cx="3808651" cy="156197"/>
          </a:xfrm>
          <a:prstGeom prst="rect">
            <a:avLst/>
          </a:prstGeom>
        </p:spPr>
        <p:txBody>
          <a:bodyPr wrap="square" lIns="0" tIns="18286" rIns="36571" bIns="18286" anchor="ctr" anchorCtr="0">
            <a:spAutoFit/>
          </a:bodyPr>
          <a:lstStyle>
            <a:lvl1pPr algn="r">
              <a:defRPr sz="1200">
                <a:solidFill>
                  <a:srgbClr val="FFFFFF"/>
                </a:solidFill>
                <a:latin typeface="+mn-lt"/>
                <a:ea typeface="MS PGothic" pitchFamily="34" charset="-128"/>
              </a:defRPr>
            </a:lvl1pPr>
          </a:lstStyle>
          <a:p>
            <a:pPr algn="l">
              <a:defRPr/>
            </a:pPr>
            <a:r>
              <a:rPr lang="en-US" sz="775">
                <a:solidFill>
                  <a:schemeClr val="bg1"/>
                </a:solidFill>
                <a:ea typeface="Arial Unicode MS" panose="020B0604020202020204" pitchFamily="34" charset="-128"/>
              </a:rPr>
              <a:t>GLOBAL</a:t>
            </a:r>
            <a:r>
              <a:rPr lang="en-US" sz="775" baseline="0">
                <a:solidFill>
                  <a:schemeClr val="bg1"/>
                </a:solidFill>
                <a:ea typeface="Arial Unicode MS" panose="020B0604020202020204" pitchFamily="34" charset="-128"/>
              </a:rPr>
              <a:t> RADIUM-223 </a:t>
            </a:r>
            <a:r>
              <a:rPr lang="en-US" sz="775">
                <a:solidFill>
                  <a:schemeClr val="bg1"/>
                </a:solidFill>
                <a:ea typeface="Arial Unicode MS" panose="020B0604020202020204" pitchFamily="34" charset="-128"/>
              </a:rPr>
              <a:t>MDT: v1.6</a:t>
            </a:r>
          </a:p>
        </p:txBody>
      </p:sp>
    </p:spTree>
    <p:extLst>
      <p:ext uri="{BB962C8B-B14F-4D97-AF65-F5344CB8AC3E}">
        <p14:creationId xmlns:p14="http://schemas.microsoft.com/office/powerpoint/2010/main" val="229999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48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3" y="1732759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399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5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1" kern="0">
                <a:solidFill>
                  <a:srgbClr val="00BCFF"/>
                </a:solidFill>
                <a:latin typeface="Arial"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629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63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6759168" y="6591047"/>
            <a:ext cx="3504293" cy="160044"/>
          </a:xfrm>
          <a:prstGeom prst="rect">
            <a:avLst/>
          </a:prstGeom>
        </p:spPr>
        <p:txBody>
          <a:bodyPr wrap="none" lIns="36571" tIns="18286" rIns="36571" bIns="18286" anchor="ctr" anchorCtr="0">
            <a:spAutoFit/>
          </a:bodyPr>
          <a:lstStyle>
            <a:lvl1pPr algn="r">
              <a:defRPr sz="1200">
                <a:solidFill>
                  <a:srgbClr val="FFFFFF"/>
                </a:solidFill>
                <a:latin typeface="+mn-lt"/>
                <a:ea typeface="MS PGothic" pitchFamily="34" charset="-128"/>
              </a:defRPr>
            </a:lvl1pPr>
          </a:lstStyle>
          <a:p>
            <a:pPr algn="ctr">
              <a:defRPr/>
            </a:pPr>
            <a:r>
              <a:rPr lang="en-US" sz="800">
                <a:solidFill>
                  <a:schemeClr val="tx1"/>
                </a:solidFill>
                <a:ea typeface="Arial Unicode MS" panose="020B0604020202020204" pitchFamily="34" charset="-128"/>
              </a:rPr>
              <a:t>Not For Distribution. For Medical Education Only, Not For Promotional Use.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0587213" y="6481489"/>
          <a:ext cx="1188720" cy="2743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300" spc="1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NAL</a:t>
                      </a:r>
                    </a:p>
                  </a:txBody>
                  <a:tcPr marL="18288" marR="0" marT="0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Slide Number Placeholder 5"/>
          <p:cNvSpPr txBox="1">
            <a:spLocks/>
          </p:cNvSpPr>
          <p:nvPr/>
        </p:nvSpPr>
        <p:spPr>
          <a:xfrm>
            <a:off x="588292" y="6592972"/>
            <a:ext cx="3808651" cy="156197"/>
          </a:xfrm>
          <a:prstGeom prst="rect">
            <a:avLst/>
          </a:prstGeom>
        </p:spPr>
        <p:txBody>
          <a:bodyPr wrap="square" lIns="0" tIns="18286" rIns="36571" bIns="18286" anchor="ctr" anchorCtr="0">
            <a:spAutoFit/>
          </a:bodyPr>
          <a:lstStyle>
            <a:lvl1pPr algn="r">
              <a:defRPr sz="1200">
                <a:solidFill>
                  <a:srgbClr val="FFFFFF"/>
                </a:solidFill>
                <a:latin typeface="+mn-lt"/>
                <a:ea typeface="MS PGothic" pitchFamily="34" charset="-128"/>
              </a:defRPr>
            </a:lvl1pPr>
          </a:lstStyle>
          <a:p>
            <a:pPr algn="l">
              <a:defRPr/>
            </a:pPr>
            <a:r>
              <a:rPr lang="en-US" sz="775">
                <a:solidFill>
                  <a:schemeClr val="bg1"/>
                </a:solidFill>
                <a:ea typeface="Arial Unicode MS" panose="020B0604020202020204" pitchFamily="34" charset="-128"/>
              </a:rPr>
              <a:t>GLOBAL</a:t>
            </a:r>
            <a:r>
              <a:rPr lang="en-US" sz="775" baseline="0">
                <a:solidFill>
                  <a:schemeClr val="bg1"/>
                </a:solidFill>
                <a:ea typeface="Arial Unicode MS" panose="020B0604020202020204" pitchFamily="34" charset="-128"/>
              </a:rPr>
              <a:t> RADIUM-223 </a:t>
            </a:r>
            <a:r>
              <a:rPr lang="en-US" sz="775">
                <a:solidFill>
                  <a:schemeClr val="bg1"/>
                </a:solidFill>
                <a:ea typeface="Arial Unicode MS" panose="020B0604020202020204" pitchFamily="34" charset="-128"/>
              </a:rPr>
              <a:t>MDT: v1.6</a:t>
            </a:r>
          </a:p>
        </p:txBody>
      </p:sp>
    </p:spTree>
    <p:extLst>
      <p:ext uri="{BB962C8B-B14F-4D97-AF65-F5344CB8AC3E}">
        <p14:creationId xmlns:p14="http://schemas.microsoft.com/office/powerpoint/2010/main" val="352565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48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2" y="1732759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399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5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1" kern="0">
                <a:solidFill>
                  <a:srgbClr val="89D329"/>
                </a:solidFill>
                <a:latin typeface="Arial"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629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63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6863045" y="6591047"/>
            <a:ext cx="3504293" cy="160044"/>
          </a:xfrm>
          <a:prstGeom prst="rect">
            <a:avLst/>
          </a:prstGeom>
        </p:spPr>
        <p:txBody>
          <a:bodyPr wrap="none" lIns="36571" tIns="18286" rIns="36571" bIns="18286" anchor="ctr" anchorCtr="0">
            <a:spAutoFit/>
          </a:bodyPr>
          <a:lstStyle>
            <a:lvl1pPr algn="r">
              <a:defRPr sz="1200">
                <a:solidFill>
                  <a:srgbClr val="FFFFFF"/>
                </a:solidFill>
                <a:latin typeface="+mn-lt"/>
                <a:ea typeface="MS PGothic" pitchFamily="34" charset="-128"/>
              </a:defRPr>
            </a:lvl1pPr>
          </a:lstStyle>
          <a:p>
            <a:pPr algn="ctr">
              <a:defRPr/>
            </a:pPr>
            <a:r>
              <a:rPr lang="en-US" sz="800">
                <a:solidFill>
                  <a:schemeClr val="tx1"/>
                </a:solidFill>
                <a:ea typeface="Arial Unicode MS" panose="020B0604020202020204" pitchFamily="34" charset="-128"/>
              </a:rPr>
              <a:t>Not For Distribution. For Medical Education Only, Not For Promotional Use.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0587213" y="6481489"/>
          <a:ext cx="1188720" cy="2743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300" spc="1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NAL</a:t>
                      </a:r>
                    </a:p>
                  </a:txBody>
                  <a:tcPr marL="18288" marR="0" marT="0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Slide Number Placeholder 5"/>
          <p:cNvSpPr txBox="1">
            <a:spLocks/>
          </p:cNvSpPr>
          <p:nvPr/>
        </p:nvSpPr>
        <p:spPr>
          <a:xfrm>
            <a:off x="588292" y="6592972"/>
            <a:ext cx="3808651" cy="156197"/>
          </a:xfrm>
          <a:prstGeom prst="rect">
            <a:avLst/>
          </a:prstGeom>
        </p:spPr>
        <p:txBody>
          <a:bodyPr wrap="square" lIns="0" tIns="18286" rIns="36571" bIns="18286" anchor="ctr" anchorCtr="0">
            <a:spAutoFit/>
          </a:bodyPr>
          <a:lstStyle>
            <a:lvl1pPr algn="r">
              <a:defRPr sz="1200">
                <a:solidFill>
                  <a:srgbClr val="FFFFFF"/>
                </a:solidFill>
                <a:latin typeface="+mn-lt"/>
                <a:ea typeface="MS PGothic" pitchFamily="34" charset="-128"/>
              </a:defRPr>
            </a:lvl1pPr>
          </a:lstStyle>
          <a:p>
            <a:pPr algn="l">
              <a:defRPr/>
            </a:pPr>
            <a:r>
              <a:rPr lang="en-US" sz="775">
                <a:solidFill>
                  <a:schemeClr val="bg1"/>
                </a:solidFill>
                <a:ea typeface="Arial Unicode MS" panose="020B0604020202020204" pitchFamily="34" charset="-128"/>
              </a:rPr>
              <a:t>GLOBAL</a:t>
            </a:r>
            <a:r>
              <a:rPr lang="en-US" sz="775" baseline="0">
                <a:solidFill>
                  <a:schemeClr val="bg1"/>
                </a:solidFill>
                <a:ea typeface="Arial Unicode MS" panose="020B0604020202020204" pitchFamily="34" charset="-128"/>
              </a:rPr>
              <a:t> RADIUM-223 </a:t>
            </a:r>
            <a:r>
              <a:rPr lang="en-US" sz="775">
                <a:solidFill>
                  <a:schemeClr val="bg1"/>
                </a:solidFill>
                <a:ea typeface="Arial Unicode MS" panose="020B0604020202020204" pitchFamily="34" charset="-128"/>
              </a:rPr>
              <a:t>MDT: v1.6</a:t>
            </a:r>
          </a:p>
        </p:txBody>
      </p:sp>
    </p:spTree>
    <p:extLst>
      <p:ext uri="{BB962C8B-B14F-4D97-AF65-F5344CB8AC3E}">
        <p14:creationId xmlns:p14="http://schemas.microsoft.com/office/powerpoint/2010/main" val="405003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792" y="1735137"/>
            <a:ext cx="10801406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solidFill>
                  <a:srgbClr val="FFFFFF"/>
                </a:solidFill>
              </a:rPr>
              <a:t>Please restrict your content to this are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r.›</a:t>
            </a:fld>
            <a:endParaRPr lang="en-US">
              <a:solidFill>
                <a:srgbClr val="00BCFF"/>
              </a:solidFill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948" y="590935"/>
            <a:ext cx="10801406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800">
                <a:solidFill>
                  <a:srgbClr val="10384F"/>
                </a:solidFill>
              </a:rPr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8" y="0"/>
            <a:ext cx="12192000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14,20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5.59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00">
                <a:solidFill>
                  <a:srgbClr val="D30F4B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7,45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2.93</a:t>
              </a:r>
              <a:endParaRPr lang="en-US" sz="800">
                <a:solidFill>
                  <a:srgbClr val="D30F4B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6,45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2.54</a:t>
              </a:r>
              <a:endParaRPr lang="en-US" sz="800">
                <a:solidFill>
                  <a:srgbClr val="D30F4B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0,30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0.12</a:t>
              </a:r>
              <a:endParaRPr lang="en-US" sz="800">
                <a:solidFill>
                  <a:srgbClr val="D30F4B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1,30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0.51</a:t>
              </a:r>
              <a:endParaRPr lang="en-US" sz="800">
                <a:solidFill>
                  <a:srgbClr val="D30F4B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8,06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3.17</a:t>
              </a:r>
              <a:endParaRPr lang="en-US" sz="800">
                <a:solidFill>
                  <a:srgbClr val="D30F4B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9,06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3.57</a:t>
              </a:r>
              <a:endParaRPr lang="en-US" sz="800">
                <a:solidFill>
                  <a:srgbClr val="D30F4B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15,80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6.22</a:t>
              </a:r>
              <a:endParaRPr lang="en-US" sz="800">
                <a:solidFill>
                  <a:srgbClr val="D30F4B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4,70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1.85</a:t>
              </a:r>
              <a:endParaRPr lang="en-US" sz="800">
                <a:solidFill>
                  <a:srgbClr val="D30F4B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800">
                  <a:solidFill>
                    <a:srgbClr val="D30F4B"/>
                  </a:solidFill>
                </a:rPr>
                <a:t>8,49</a:t>
              </a:r>
              <a:endParaRPr lang="en-US" sz="800">
                <a:solidFill>
                  <a:srgbClr val="D30F4B"/>
                </a:solidFill>
              </a:endParaRP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2,40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0.94</a:t>
              </a:r>
              <a:endParaRPr lang="en-US" sz="800">
                <a:solidFill>
                  <a:srgbClr val="D30F4B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800">
                  <a:solidFill>
                    <a:srgbClr val="D30F4B"/>
                  </a:solidFill>
                </a:rPr>
                <a:t>1,40</a:t>
              </a:r>
              <a:endParaRPr lang="en-US" sz="800">
                <a:solidFill>
                  <a:srgbClr val="D30F4B"/>
                </a:solidFill>
              </a:endParaRP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800">
                  <a:solidFill>
                    <a:srgbClr val="D30F4B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600">
                  <a:solidFill>
                    <a:srgbClr val="FF316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600">
                  <a:solidFill>
                    <a:srgbClr val="FF3162"/>
                  </a:solidFill>
                </a:rPr>
                <a:t>0.31</a:t>
              </a:r>
              <a:endParaRPr lang="en-US" sz="600">
                <a:solidFill>
                  <a:srgbClr val="FF3162"/>
                </a:solidFill>
              </a:endParaRPr>
            </a:p>
          </p:txBody>
        </p:sp>
        <p:sp>
          <p:nvSpPr>
            <p:cNvPr id="53" name="Rectangle 37"/>
            <p:cNvSpPr/>
            <p:nvPr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600">
                  <a:solidFill>
                    <a:srgbClr val="FF316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600">
                  <a:solidFill>
                    <a:srgbClr val="FF3162"/>
                  </a:solidFill>
                </a:rPr>
                <a:t>0.75</a:t>
              </a:r>
              <a:endParaRPr lang="en-US" sz="600">
                <a:solidFill>
                  <a:srgbClr val="FF3162"/>
                </a:solidFill>
              </a:endParaRPr>
            </a:p>
          </p:txBody>
        </p:sp>
        <p:cxnSp>
          <p:nvCxnSpPr>
            <p:cNvPr id="57" name="Straight Connector 27"/>
            <p:cNvCxnSpPr/>
            <p:nvPr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792" y="1735137"/>
            <a:ext cx="10801406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solidFill>
                  <a:srgbClr val="FFFFFF"/>
                </a:solidFill>
              </a:rPr>
              <a:t>Please restrict your content to this area</a:t>
            </a:r>
          </a:p>
        </p:txBody>
      </p:sp>
    </p:spTree>
    <p:extLst>
      <p:ext uri="{BB962C8B-B14F-4D97-AF65-F5344CB8AC3E}">
        <p14:creationId xmlns:p14="http://schemas.microsoft.com/office/powerpoint/2010/main" val="2116234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fographic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3E0C4-2606-F742-8DE0-F30A3FA031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42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900"/>
            </a:lvl1pPr>
            <a:lvl2pPr marL="228577" indent="-228577">
              <a:defRPr/>
            </a:lvl2pPr>
            <a:lvl3pPr marL="515886" indent="-246038">
              <a:spcBef>
                <a:spcPts val="0"/>
              </a:spcBef>
              <a:defRPr sz="1600"/>
            </a:lvl3pPr>
            <a:lvl4pPr marL="744464" indent="-204768">
              <a:spcBef>
                <a:spcPts val="0"/>
              </a:spcBef>
              <a:defRPr sz="1400"/>
            </a:lvl4pPr>
            <a:lvl5pPr marL="1031772" indent="-222228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CA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916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r.›</a:t>
            </a:fld>
            <a:endParaRPr lang="en-US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50031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916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r.›</a:t>
            </a:fld>
            <a:endParaRPr lang="en-US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404071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5AADF22-57BE-5644-9C47-1004662BB29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79" y="6192985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4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93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1EB75A-C591-401F-AF89-9D380C47F27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79" y="6192985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4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398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BB05317-17DF-487F-B85C-CEEFDC19C55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79" y="6192985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4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304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No Firs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" y="1276588"/>
            <a:ext cx="11216640" cy="1146981"/>
          </a:xfrm>
        </p:spPr>
        <p:txBody>
          <a:bodyPr lIns="0" rIns="0"/>
          <a:lstStyle>
            <a:lvl1pPr marL="0" indent="0">
              <a:spcBef>
                <a:spcPts val="1800"/>
              </a:spcBef>
              <a:buNone/>
              <a:defRPr sz="1800" b="1"/>
            </a:lvl1pPr>
            <a:lvl2pPr marL="117472" indent="-117472">
              <a:spcBef>
                <a:spcPts val="600"/>
              </a:spcBef>
              <a:buFont typeface="Arial" panose="020B0604020202020204" pitchFamily="34" charset="0"/>
              <a:buChar char="•"/>
              <a:defRPr sz="1600" b="0"/>
            </a:lvl2pPr>
            <a:lvl3pPr marL="398453" indent="-115885">
              <a:spcBef>
                <a:spcPts val="300"/>
              </a:spcBef>
              <a:buFont typeface="Arial" panose="020B0604020202020204" pitchFamily="34" charset="0"/>
              <a:buChar char="•"/>
              <a:defRPr sz="14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6406157"/>
      </p:ext>
    </p:extLst>
  </p:cSld>
  <p:clrMapOvr>
    <a:masterClrMapping/>
  </p:clrMapOvr>
  <p:transition spd="slow">
    <p:wipe dir="r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03336" y="187690"/>
            <a:ext cx="10799866" cy="78203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0069236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490466" y="1295401"/>
            <a:ext cx="11193569" cy="4991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C54F63-F91E-4FB9-B337-0BF43F3795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39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1732752"/>
            <a:ext cx="11193569" cy="45537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7F219C-959B-4E65-808A-E0F315709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E7EEA2-1B99-4A35-8D12-1868D78F0B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anchor="b"/>
          <a:lstStyle>
            <a:lvl1pPr>
              <a:defRPr sz="1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73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188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1732750"/>
            <a:ext cx="522068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194649" y="1732750"/>
            <a:ext cx="522068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5EB31E1-976E-4835-9275-D815FFEBA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C3F6E3-995F-4A21-BA25-15B00F0F6D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98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50" y="1138299"/>
            <a:ext cx="10800843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3892750"/>
            <a:ext cx="522068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011861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531049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011861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9AB890-57F5-4495-9B80-E68FC0BA0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3AFDC-348D-4BBC-B20E-07166AC9058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421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5E8203-1FB3-486B-83D7-3614934F1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A5A31-514C-4E11-BB0E-A0DF45B8D06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4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8AA-C9B9-4C7F-BF43-A144614F50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69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47847-CC8A-4D3B-BC3C-75D1E792204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69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 useBgFill="1"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854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8000" y="1457960"/>
            <a:ext cx="11074400" cy="466344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  <a:lvl5pPr marL="1219048" indent="-22857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E075740C-AC93-44FF-B231-DAC8F765CC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6121399"/>
            <a:ext cx="8971403" cy="375196"/>
          </a:xfrm>
          <a:noFill/>
        </p:spPr>
        <p:txBody>
          <a:bodyPr wrap="square" lIns="0" tIns="0" bIns="0" rtlCol="0" anchor="b">
            <a:noAutofit/>
          </a:bodyPr>
          <a:lstStyle>
            <a:lvl1pPr marL="0" indent="0">
              <a:spcBef>
                <a:spcPts val="100"/>
              </a:spcBef>
              <a:buFontTx/>
              <a:buNone/>
              <a:defRPr lang="en-US" sz="933" dirty="0">
                <a:solidFill>
                  <a:schemeClr val="bg1"/>
                </a:solidFill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1084655"/>
      </p:ext>
    </p:extLst>
  </p:cSld>
  <p:clrMapOvr>
    <a:masterClrMapping/>
  </p:clrMapOvr>
  <p:hf sldNum="0"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88247" y="181939"/>
            <a:ext cx="11193569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BE46D8-10AA-4E6D-87AE-0429D1FE31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8245" y="6356352"/>
            <a:ext cx="11193569" cy="26158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8BD85A7-5F22-431C-8DD6-76F91EFC036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88244" y="1295404"/>
            <a:ext cx="11193571" cy="4991099"/>
          </a:xfrm>
        </p:spPr>
        <p:txBody>
          <a:bodyPr/>
          <a:lstStyle>
            <a:lvl1pPr marL="539946" indent="-269973">
              <a:defRPr/>
            </a:lvl1pPr>
            <a:lvl2pPr marL="380962" indent="-380962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908" indent="-380962">
              <a:buNone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892" indent="-269973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892" indent="-269973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69973" lvl="0" indent="-269973" algn="l" defTabSz="914309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Mastertextformat bearbeiten</a:t>
            </a:r>
          </a:p>
          <a:p>
            <a:pPr marL="269973" lvl="1" indent="-269973" algn="l" defTabSz="914309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269973" lvl="2" indent="-269973" algn="l" defTabSz="914309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Dritte Ebene</a:t>
            </a:r>
          </a:p>
          <a:p>
            <a:pPr marL="269973" lvl="3" indent="-269973" algn="l" defTabSz="914309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Vierte Ebene</a:t>
            </a:r>
          </a:p>
          <a:p>
            <a:pPr marL="269973" lvl="4" indent="-269973" algn="l" defTabSz="914309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90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6955229"/>
      </p:ext>
    </p:extLst>
  </p:cSld>
  <p:clrMapOvr>
    <a:masterClrMapping/>
  </p:clrMapOvr>
  <p:transition spd="slow">
    <p:wipe dir="r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51BB9-B5A7-4A4E-BCC8-1B2D01A08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F139DE-402E-4979-B6F1-51154AC2A2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lick to add foot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8210908"/>
      </p:ext>
    </p:extLst>
  </p:cSld>
  <p:clrMapOvr>
    <a:masterClrMapping/>
  </p:clrMapOvr>
  <p:hf sldNum="0"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9066844"/>
      </p:ext>
    </p:extLst>
  </p:cSld>
  <p:clrMapOvr>
    <a:masterClrMapping/>
  </p:clrMapOvr>
  <p:transition spd="slow">
    <p:wipe dir="r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EE41E4-B1DE-4870-B603-FB862F25B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266E3BA-4F85-4F92-8FE1-7AD9088CEF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0923AC-0A09-4D97-AB32-1479C042C6E2}" type="datetimeFigureOut">
              <a:rPr lang="de-DE" smtClean="0"/>
              <a:t>07.06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5360771-0E11-48A6-9637-EF8F816968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D6C38B-F457-457B-8E63-533B4252C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8F59E-0513-4D11-A744-DFF90BFD2B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172909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5AADF22-57BE-5644-9C47-1004662BB29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80" y="6192987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78425" y="1591196"/>
            <a:ext cx="8167324" cy="1515981"/>
          </a:xfrm>
        </p:spPr>
        <p:txBody>
          <a:bodyPr/>
          <a:lstStyle>
            <a:lvl1pPr algn="r">
              <a:defRPr sz="4000" cap="none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219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1EB75A-C591-401F-AF89-9D380C47F27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80" y="6192987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78425" y="1591196"/>
            <a:ext cx="8167324" cy="1515981"/>
          </a:xfrm>
        </p:spPr>
        <p:txBody>
          <a:bodyPr/>
          <a:lstStyle>
            <a:lvl1pPr algn="r">
              <a:defRPr sz="4000" cap="none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8985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BB05317-17DF-487F-B85C-CEEFDC19C55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80" y="6192987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78425" y="1591196"/>
            <a:ext cx="8167324" cy="1515981"/>
          </a:xfrm>
        </p:spPr>
        <p:txBody>
          <a:bodyPr/>
          <a:lstStyle>
            <a:lvl1pPr algn="r">
              <a:defRPr sz="4000" cap="none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1846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03336" y="187692"/>
            <a:ext cx="10799866" cy="78203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1414741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490467" y="1295401"/>
            <a:ext cx="11193569" cy="4991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C54F63-F91E-4FB9-B337-0BF43F3795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sz="1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39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1732753"/>
            <a:ext cx="11193569" cy="45537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7F219C-959B-4E65-808A-E0F315709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E7EEA2-1B99-4A35-8D12-1868D78F0B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803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188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1732750"/>
            <a:ext cx="522068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194649" y="1732750"/>
            <a:ext cx="522068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5EB31E1-976E-4835-9275-D815FFEBA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C3F6E3-995F-4A21-BA25-15B00F0F6D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542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0026631"/>
      </p:ext>
    </p:extLst>
  </p:cSld>
  <p:clrMapOvr>
    <a:masterClrMapping/>
  </p:clrMapOvr>
  <p:transition spd="slow">
    <p:wipe dir="r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51" y="1138299"/>
            <a:ext cx="10800843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3892752"/>
            <a:ext cx="522068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011861" y="3892752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531049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011861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9AB890-57F5-4495-9B80-E68FC0BA0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3AFDC-348D-4BBC-B20E-07166AC9058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967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5E8203-1FB3-486B-83D7-3614934F1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A5A31-514C-4E11-BB0E-A0DF45B8D06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952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8AA-C9B9-4C7F-BF43-A144614F50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436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47847-CC8A-4D3B-BC3C-75D1E792204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995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 useBgFill="1"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2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66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51BB9-B5A7-4A4E-BCC8-1B2D01A08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F139DE-402E-4979-B6F1-51154AC2A2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lick to add foot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25784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474544E1-1D09-AB48-85D9-A481C4FDF1D0}"/>
              </a:ext>
            </a:extLst>
          </p:cNvPr>
          <p:cNvGrpSpPr/>
          <p:nvPr/>
        </p:nvGrpSpPr>
        <p:grpSpPr>
          <a:xfrm>
            <a:off x="1" y="0"/>
            <a:ext cx="10113069" cy="6858000"/>
            <a:chOff x="20548" y="0"/>
            <a:chExt cx="10113069" cy="6858000"/>
          </a:xfrm>
        </p:grpSpPr>
        <p:sp>
          <p:nvSpPr>
            <p:cNvPr id="35" name="Parallelogram 34">
              <a:extLst>
                <a:ext uri="{FF2B5EF4-FFF2-40B4-BE49-F238E27FC236}">
                  <a16:creationId xmlns:a16="http://schemas.microsoft.com/office/drawing/2014/main" id="{82BFB1BB-79D2-BE49-B32E-796759290FA6}"/>
                </a:ext>
              </a:extLst>
            </p:cNvPr>
            <p:cNvSpPr/>
            <p:nvPr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AF1FF3CA-EB91-6949-9C97-5A2D57B5FF3D}"/>
                </a:ext>
              </a:extLst>
            </p:cNvPr>
            <p:cNvSpPr/>
            <p:nvPr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300" y="1122363"/>
            <a:ext cx="7217464" cy="2387600"/>
          </a:xfrm>
        </p:spPr>
        <p:txBody>
          <a:bodyPr anchor="b">
            <a:normAutofit/>
          </a:bodyPr>
          <a:lstStyle>
            <a:lvl1pPr algn="l">
              <a:defRPr sz="3600" cap="none" baseline="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3602038"/>
            <a:ext cx="7217464" cy="1655762"/>
          </a:xfrm>
        </p:spPr>
        <p:txBody>
          <a:bodyPr lIns="27432">
            <a:normAutofit/>
          </a:bodyPr>
          <a:lstStyle>
            <a:lvl1pPr marL="0" indent="0" algn="l">
              <a:spcBef>
                <a:spcPts val="600"/>
              </a:spcBef>
              <a:buNone/>
              <a:tabLst>
                <a:tab pos="1139711" algn="l"/>
              </a:tabLst>
              <a:defRPr sz="20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Date Placeholder 19">
            <a:extLst>
              <a:ext uri="{FF2B5EF4-FFF2-40B4-BE49-F238E27FC236}">
                <a16:creationId xmlns:a16="http://schemas.microsoft.com/office/drawing/2014/main" id="{BD3DC730-8A32-F84B-9876-9110A37E47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8C7C6FA7-3214-9D45-89CA-C2538FCFB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4" name="Grafik 5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ECC5CB58-A02C-A06C-050A-33DCBEEEA7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1797" y="5989343"/>
            <a:ext cx="2180759" cy="638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259150"/>
      </p:ext>
    </p:extLst>
  </p:cSld>
  <p:clrMapOvr>
    <a:masterClrMapping/>
  </p:clrMapOvr>
  <p:hf sldNum="0"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3375C0B6-51F5-4644-852C-D4408F558C71}"/>
              </a:ext>
            </a:extLst>
          </p:cNvPr>
          <p:cNvGrpSpPr/>
          <p:nvPr/>
        </p:nvGrpSpPr>
        <p:grpSpPr>
          <a:xfrm>
            <a:off x="0" y="0"/>
            <a:ext cx="7812426" cy="6858000"/>
            <a:chOff x="29765" y="0"/>
            <a:chExt cx="7812426" cy="6858000"/>
          </a:xfrm>
        </p:grpSpPr>
        <p:sp>
          <p:nvSpPr>
            <p:cNvPr id="32" name="Parallelogram 31">
              <a:extLst>
                <a:ext uri="{FF2B5EF4-FFF2-40B4-BE49-F238E27FC236}">
                  <a16:creationId xmlns:a16="http://schemas.microsoft.com/office/drawing/2014/main" id="{26ECE3BE-FA01-FA44-8A4D-A422F5F6054A}"/>
                </a:ext>
              </a:extLst>
            </p:cNvPr>
            <p:cNvSpPr/>
            <p:nvPr/>
          </p:nvSpPr>
          <p:spPr>
            <a:xfrm>
              <a:off x="4387791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D2A5B07-B3EF-B044-AC38-067826BFF065}"/>
                </a:ext>
              </a:extLst>
            </p:cNvPr>
            <p:cNvSpPr/>
            <p:nvPr/>
          </p:nvSpPr>
          <p:spPr>
            <a:xfrm>
              <a:off x="29765" y="0"/>
              <a:ext cx="7495273" cy="6858000"/>
            </a:xfrm>
            <a:custGeom>
              <a:avLst/>
              <a:gdLst>
                <a:gd name="connsiteX0" fmla="*/ 0 w 7495273"/>
                <a:gd name="connsiteY0" fmla="*/ 0 h 6858000"/>
                <a:gd name="connsiteX1" fmla="*/ 7495273 w 7495273"/>
                <a:gd name="connsiteY1" fmla="*/ 0 h 6858000"/>
                <a:gd name="connsiteX2" fmla="*/ 4400338 w 7495273"/>
                <a:gd name="connsiteY2" fmla="*/ 6858000 h 6858000"/>
                <a:gd name="connsiteX3" fmla="*/ 0 w 7495273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95273" h="6858000">
                  <a:moveTo>
                    <a:pt x="0" y="0"/>
                  </a:moveTo>
                  <a:lnTo>
                    <a:pt x="7495273" y="0"/>
                  </a:lnTo>
                  <a:lnTo>
                    <a:pt x="4400338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2BF1972-FC50-DE4D-AE22-907B3D2C4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686294"/>
            <a:ext cx="4824123" cy="2852737"/>
          </a:xfrm>
        </p:spPr>
        <p:txBody>
          <a:bodyPr anchor="b">
            <a:normAutofit/>
          </a:bodyPr>
          <a:lstStyle>
            <a:lvl1pPr>
              <a:defRPr sz="3600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DB6AB-7FF3-7B43-AE11-D083736F81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4589465"/>
            <a:ext cx="4492820" cy="1500187"/>
          </a:xfrm>
        </p:spPr>
        <p:txBody>
          <a:bodyPr lIns="27432"/>
          <a:lstStyle>
            <a:lvl1pPr marL="0" indent="0">
              <a:buNone/>
              <a:defRPr sz="2000" baseline="0">
                <a:solidFill>
                  <a:schemeClr val="tx2"/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364FE2-A2E9-EB40-B6D3-106D5067D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BA57B-D34A-7848-BBFC-D523E2CDD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5" name="Grafik 5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0ABDE0A7-5117-ABD5-BAB8-FECE37966D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1797" y="5989343"/>
            <a:ext cx="2180759" cy="638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094030"/>
      </p:ext>
    </p:extLst>
  </p:cSld>
  <p:clrMapOvr>
    <a:masterClrMapping/>
  </p:clrMapOvr>
  <p:hf sldNum="0"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CC20A954-010F-AA49-9AFF-0BA2B966F0F2}"/>
              </a:ext>
            </a:extLst>
          </p:cNvPr>
          <p:cNvGrpSpPr/>
          <p:nvPr/>
        </p:nvGrpSpPr>
        <p:grpSpPr>
          <a:xfrm>
            <a:off x="1" y="0"/>
            <a:ext cx="10113069" cy="6858000"/>
            <a:chOff x="20548" y="0"/>
            <a:chExt cx="10113069" cy="6858000"/>
          </a:xfrm>
        </p:grpSpPr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id="{94B7C9F0-E087-8549-B68F-C4C8FCB7540D}"/>
                </a:ext>
              </a:extLst>
            </p:cNvPr>
            <p:cNvSpPr/>
            <p:nvPr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948ECA4-FA5A-DC41-BEAC-1A2554ADD123}"/>
                </a:ext>
              </a:extLst>
            </p:cNvPr>
            <p:cNvSpPr/>
            <p:nvPr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9075ABD7-AC88-324D-81AC-6B45DDBB44C6}"/>
              </a:ext>
            </a:extLst>
          </p:cNvPr>
          <p:cNvSpPr/>
          <p:nvPr/>
        </p:nvSpPr>
        <p:spPr>
          <a:xfrm>
            <a:off x="1" y="1380223"/>
            <a:ext cx="12192000" cy="4210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BF1972-FC50-DE4D-AE22-907B3D2C4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38847"/>
            <a:ext cx="8930053" cy="2852737"/>
          </a:xfrm>
        </p:spPr>
        <p:txBody>
          <a:bodyPr anchor="b">
            <a:normAutofit/>
          </a:bodyPr>
          <a:lstStyle>
            <a:lvl1pPr>
              <a:defRPr sz="3600" b="1" i="0" u="none" cap="none" baseline="0">
                <a:solidFill>
                  <a:schemeClr val="tx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DB6AB-7FF3-7B43-AE11-D083736F81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3227802"/>
            <a:ext cx="3994639" cy="1500187"/>
          </a:xfrm>
        </p:spPr>
        <p:txBody>
          <a:bodyPr lIns="27432">
            <a:normAutofit/>
          </a:bodyPr>
          <a:lstStyle>
            <a:lvl1pPr marL="0" indent="0">
              <a:buNone/>
              <a:defRPr sz="2000" baseline="0">
                <a:solidFill>
                  <a:schemeClr val="tx2"/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364FE2-A2E9-EB40-B6D3-106D5067D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BA57B-D34A-7848-BBFC-D523E2CDD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C43809-A055-B74A-A1F8-7E7FC690F185}"/>
              </a:ext>
            </a:extLst>
          </p:cNvPr>
          <p:cNvCxnSpPr>
            <a:cxnSpLocks/>
          </p:cNvCxnSpPr>
          <p:nvPr/>
        </p:nvCxnSpPr>
        <p:spPr>
          <a:xfrm>
            <a:off x="485194" y="3032449"/>
            <a:ext cx="5999828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2373919"/>
      </p:ext>
    </p:extLst>
  </p:cSld>
  <p:clrMapOvr>
    <a:masterClrMapping/>
  </p:clrMapOvr>
  <p:hf sldNum="0" hdr="0" ft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ternat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78B45E58-B0F4-5E47-8F67-D17C2662770E}"/>
              </a:ext>
            </a:extLst>
          </p:cNvPr>
          <p:cNvGrpSpPr/>
          <p:nvPr/>
        </p:nvGrpSpPr>
        <p:grpSpPr>
          <a:xfrm>
            <a:off x="1" y="0"/>
            <a:ext cx="10113069" cy="6858000"/>
            <a:chOff x="20548" y="0"/>
            <a:chExt cx="10113069" cy="6858000"/>
          </a:xfrm>
        </p:grpSpPr>
        <p:sp>
          <p:nvSpPr>
            <p:cNvPr id="31" name="Parallelogram 30">
              <a:extLst>
                <a:ext uri="{FF2B5EF4-FFF2-40B4-BE49-F238E27FC236}">
                  <a16:creationId xmlns:a16="http://schemas.microsoft.com/office/drawing/2014/main" id="{6CE1899E-BD87-3449-9C88-BE99D6EA4C97}"/>
                </a:ext>
              </a:extLst>
            </p:cNvPr>
            <p:cNvSpPr/>
            <p:nvPr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AE1F52C2-F043-7D45-8779-3B2BD400235B}"/>
                </a:ext>
              </a:extLst>
            </p:cNvPr>
            <p:cNvSpPr/>
            <p:nvPr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AABFBFA5-5B77-6440-BD16-D378B6056988}"/>
              </a:ext>
            </a:extLst>
          </p:cNvPr>
          <p:cNvSpPr/>
          <p:nvPr/>
        </p:nvSpPr>
        <p:spPr>
          <a:xfrm>
            <a:off x="1" y="3509965"/>
            <a:ext cx="12192000" cy="3348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301" y="1122363"/>
            <a:ext cx="8243182" cy="2387600"/>
          </a:xfrm>
        </p:spPr>
        <p:txBody>
          <a:bodyPr anchor="b"/>
          <a:lstStyle>
            <a:lvl1pPr algn="l">
              <a:defRPr sz="4000" cap="none" baseline="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1" y="3602038"/>
            <a:ext cx="8243182" cy="1655762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4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02A96B-DA9D-C149-9E23-E0AF281C6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F856791-5DB4-F341-814C-82C3EEFCE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760539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image" Target="../media/image3.png"/><Relationship Id="rId30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3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69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image" Target="../media/image6.png"/><Relationship Id="rId10" Type="http://schemas.openxmlformats.org/officeDocument/2006/relationships/slideLayout" Target="../slideLayouts/slideLayout76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image" Target="../media/image5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theme" Target="../theme/theme7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8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image" Target="../media/image10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05.xml"/><Relationship Id="rId19" Type="http://schemas.openxmlformats.org/officeDocument/2006/relationships/image" Target="../media/image14.png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" y="5573486"/>
            <a:ext cx="6369699" cy="1284514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3080" y="553340"/>
            <a:ext cx="11245849" cy="3323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3077" y="1261830"/>
            <a:ext cx="11245851" cy="11077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295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23" r:id="rId4"/>
    <p:sldLayoutId id="2147483720" r:id="rId5"/>
    <p:sldLayoutId id="2147483721" r:id="rId6"/>
    <p:sldLayoutId id="2147483722" r:id="rId7"/>
    <p:sldLayoutId id="2147483718" r:id="rId8"/>
    <p:sldLayoutId id="2147483719" r:id="rId9"/>
  </p:sldLayoutIdLst>
  <p:transition spd="slow">
    <p:wipe dir="r"/>
  </p:transition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8869" indent="-118869" algn="l" defTabSz="685783" rtl="0" eaLnBrk="1" latinLnBrk="0" hangingPunct="1">
        <a:lnSpc>
          <a:spcPct val="85000"/>
        </a:lnSpc>
        <a:spcBef>
          <a:spcPts val="24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indent="-112711" algn="l" defTabSz="685783" rtl="0" eaLnBrk="1" latinLnBrk="0" hangingPunct="1">
        <a:lnSpc>
          <a:spcPct val="85000"/>
        </a:lnSpc>
        <a:spcBef>
          <a:spcPts val="6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0363" indent="-91438" algn="l" defTabSz="685783" rtl="0" eaLnBrk="1" latinLnBrk="0" hangingPunct="1">
        <a:lnSpc>
          <a:spcPct val="85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04824" indent="-88898" algn="l" defTabSz="685783" rtl="0" eaLnBrk="1" latinLnBrk="0" hangingPunct="1">
        <a:lnSpc>
          <a:spcPct val="85000"/>
        </a:lnSpc>
        <a:spcBef>
          <a:spcPts val="1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09605" indent="-203592" algn="l" defTabSz="685783" rtl="0" eaLnBrk="1" latinLnBrk="0" hangingPunct="1">
        <a:lnSpc>
          <a:spcPct val="85000"/>
        </a:lnSpc>
        <a:spcBef>
          <a:spcPts val="60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20" userDrawn="1">
          <p15:clr>
            <a:srgbClr val="F26B43"/>
          </p15:clr>
        </p15:guide>
        <p15:guide id="2" pos="399" userDrawn="1">
          <p15:clr>
            <a:srgbClr val="F26B43"/>
          </p15:clr>
        </p15:guide>
        <p15:guide id="3" pos="12955" userDrawn="1">
          <p15:clr>
            <a:srgbClr val="F26B43"/>
          </p15:clr>
        </p15:guide>
        <p15:guide id="4" pos="13036" userDrawn="1">
          <p15:clr>
            <a:srgbClr val="F26B43"/>
          </p15:clr>
        </p15:guide>
        <p15:guide id="5" pos="9844" userDrawn="1">
          <p15:clr>
            <a:srgbClr val="F26B43"/>
          </p15:clr>
        </p15:guide>
        <p15:guide id="6" orient="horz" pos="807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orient="horz" pos="41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" y="5573486"/>
            <a:ext cx="6369699" cy="1284514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3080" y="553340"/>
            <a:ext cx="11245849" cy="3323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3077" y="1261830"/>
            <a:ext cx="11245851" cy="11077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1793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</p:sldLayoutIdLst>
  <p:transition spd="slow">
    <p:wipe dir="r"/>
  </p:transition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8869" indent="-118869" algn="l" defTabSz="685783" rtl="0" eaLnBrk="1" latinLnBrk="0" hangingPunct="1">
        <a:lnSpc>
          <a:spcPct val="85000"/>
        </a:lnSpc>
        <a:spcBef>
          <a:spcPts val="24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indent="-112711" algn="l" defTabSz="685783" rtl="0" eaLnBrk="1" latinLnBrk="0" hangingPunct="1">
        <a:lnSpc>
          <a:spcPct val="85000"/>
        </a:lnSpc>
        <a:spcBef>
          <a:spcPts val="6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0363" indent="-91438" algn="l" defTabSz="685783" rtl="0" eaLnBrk="1" latinLnBrk="0" hangingPunct="1">
        <a:lnSpc>
          <a:spcPct val="85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04824" indent="-88898" algn="l" defTabSz="685783" rtl="0" eaLnBrk="1" latinLnBrk="0" hangingPunct="1">
        <a:lnSpc>
          <a:spcPct val="85000"/>
        </a:lnSpc>
        <a:spcBef>
          <a:spcPts val="1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09605" indent="-203592" algn="l" defTabSz="685783" rtl="0" eaLnBrk="1" latinLnBrk="0" hangingPunct="1">
        <a:lnSpc>
          <a:spcPct val="85000"/>
        </a:lnSpc>
        <a:spcBef>
          <a:spcPts val="60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20" userDrawn="1">
          <p15:clr>
            <a:srgbClr val="F26B43"/>
          </p15:clr>
        </p15:guide>
        <p15:guide id="2" pos="399" userDrawn="1">
          <p15:clr>
            <a:srgbClr val="F26B43"/>
          </p15:clr>
        </p15:guide>
        <p15:guide id="3" pos="12955" userDrawn="1">
          <p15:clr>
            <a:srgbClr val="F26B43"/>
          </p15:clr>
        </p15:guide>
        <p15:guide id="4" pos="13036" userDrawn="1">
          <p15:clr>
            <a:srgbClr val="F26B43"/>
          </p15:clr>
        </p15:guide>
        <p15:guide id="5" pos="9844" userDrawn="1">
          <p15:clr>
            <a:srgbClr val="F26B43"/>
          </p15:clr>
        </p15:guide>
        <p15:guide id="6" orient="horz" pos="807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orient="horz" pos="414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88246" y="1295401"/>
            <a:ext cx="11193569" cy="4991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88246" y="181938"/>
            <a:ext cx="11193569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Rectangle 15">
            <a:extLst>
              <a:ext uri="{FF2B5EF4-FFF2-40B4-BE49-F238E27FC236}">
                <a16:creationId xmlns:a16="http://schemas.microsoft.com/office/drawing/2014/main" id="{2642453A-5777-4B2F-81BE-E75A5C932270}"/>
              </a:ext>
            </a:extLst>
          </p:cNvPr>
          <p:cNvSpPr/>
          <p:nvPr userDrawn="1"/>
        </p:nvSpPr>
        <p:spPr>
          <a:xfrm>
            <a:off x="1" y="5573486"/>
            <a:ext cx="6369699" cy="1284514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307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5" r:id="rId19"/>
    <p:sldLayoutId id="2147483776" r:id="rId20"/>
    <p:sldLayoutId id="2147483875" r:id="rId21"/>
    <p:sldLayoutId id="2147483876" r:id="rId22"/>
    <p:sldLayoutId id="2147483877" r:id="rId23"/>
    <p:sldLayoutId id="2147483878" r:id="rId24"/>
    <p:sldLayoutId id="2147483879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6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360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3960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pos="5120" userDrawn="1">
          <p15:clr>
            <a:srgbClr val="F26B43"/>
          </p15:clr>
        </p15:guide>
        <p15:guide id="18" pos="399" userDrawn="1">
          <p15:clr>
            <a:srgbClr val="F26B43"/>
          </p15:clr>
        </p15:guide>
        <p15:guide id="19" pos="12955" userDrawn="1">
          <p15:clr>
            <a:srgbClr val="F26B43"/>
          </p15:clr>
        </p15:guide>
        <p15:guide id="20" pos="13036" userDrawn="1">
          <p15:clr>
            <a:srgbClr val="F26B43"/>
          </p15:clr>
        </p15:guide>
        <p15:guide id="21" pos="9844" userDrawn="1">
          <p15:clr>
            <a:srgbClr val="F26B43"/>
          </p15:clr>
        </p15:guide>
        <p15:guide id="22" orient="horz" pos="807" userDrawn="1">
          <p15:clr>
            <a:srgbClr val="F26B43"/>
          </p15:clr>
        </p15:guide>
        <p15:guide id="23" orient="horz" pos="2160" userDrawn="1">
          <p15:clr>
            <a:srgbClr val="F26B43"/>
          </p15:clr>
        </p15:guide>
        <p15:guide id="24" orient="horz" pos="414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7827" y="1491452"/>
            <a:ext cx="8635106" cy="28119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bullet</a:t>
            </a:r>
            <a:r>
              <a:rPr lang="de-DE"/>
              <a:t>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set</a:t>
            </a:r>
            <a:r>
              <a:rPr lang="de-DE"/>
              <a:t> in Arial Regular </a:t>
            </a:r>
            <a:r>
              <a:rPr lang="de-DE" err="1"/>
              <a:t>sentence</a:t>
            </a:r>
            <a:r>
              <a:rPr lang="de-DE"/>
              <a:t> </a:t>
            </a:r>
            <a:r>
              <a:rPr lang="de-DE" err="1"/>
              <a:t>case</a:t>
            </a:r>
            <a:r>
              <a:rPr lang="de-DE"/>
              <a:t> 18pt</a:t>
            </a:r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ctetur</a:t>
            </a:r>
            <a:r>
              <a:rPr lang="de-DE"/>
              <a:t> </a:t>
            </a:r>
            <a:r>
              <a:rPr lang="de-DE" err="1"/>
              <a:t>adipiscing</a:t>
            </a:r>
            <a:r>
              <a:rPr lang="de-DE"/>
              <a:t> </a:t>
            </a:r>
            <a:r>
              <a:rPr lang="de-DE" err="1"/>
              <a:t>elit</a:t>
            </a:r>
            <a:r>
              <a:rPr lang="de-DE"/>
              <a:t>.</a:t>
            </a:r>
          </a:p>
          <a:p>
            <a:pPr lvl="1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bullet</a:t>
            </a:r>
            <a:r>
              <a:rPr lang="de-DE"/>
              <a:t> </a:t>
            </a:r>
            <a:r>
              <a:rPr lang="de-DE" err="1"/>
              <a:t>copy</a:t>
            </a:r>
            <a:endParaRPr lang="de-DE"/>
          </a:p>
          <a:p>
            <a:pPr lvl="2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bullet</a:t>
            </a:r>
            <a:r>
              <a:rPr lang="de-DE"/>
              <a:t> </a:t>
            </a:r>
            <a:r>
              <a:rPr lang="de-DE" err="1"/>
              <a:t>copy</a:t>
            </a:r>
            <a:endParaRPr lang="de-DE"/>
          </a:p>
          <a:p>
            <a:pPr lvl="3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bullet</a:t>
            </a:r>
            <a:r>
              <a:rPr lang="de-DE"/>
              <a:t> </a:t>
            </a:r>
            <a:r>
              <a:rPr lang="de-DE" err="1"/>
              <a:t>copy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9367" y="181938"/>
            <a:ext cx="86335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Headline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set</a:t>
            </a:r>
            <a:r>
              <a:rPr lang="de-DE"/>
              <a:t> in Arial </a:t>
            </a:r>
            <a:r>
              <a:rPr lang="de-DE" err="1"/>
              <a:t>Bold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 </a:t>
            </a:r>
            <a:r>
              <a:rPr lang="de-DE" err="1"/>
              <a:t>case</a:t>
            </a:r>
            <a:r>
              <a:rPr lang="de-DE"/>
              <a:t> 28pt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solidFill>
                  <a:schemeClr val="accent1"/>
                </a:solidFill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endParaRPr lang="en-US">
              <a:solidFill>
                <a:srgbClr val="10384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27773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endParaRPr lang="en-US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r.›</a:t>
            </a:fld>
            <a:endParaRPr lang="en-US">
              <a:solidFill>
                <a:srgbClr val="00BC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773" y="6343245"/>
            <a:ext cx="1467349" cy="162366"/>
          </a:xfrm>
          <a:prstGeom prst="rect">
            <a:avLst/>
          </a:prstGeom>
        </p:spPr>
      </p:pic>
      <p:cxnSp>
        <p:nvCxnSpPr>
          <p:cNvPr id="19" name="Straight Connector 18"/>
          <p:cNvCxnSpPr/>
          <p:nvPr/>
        </p:nvCxnSpPr>
        <p:spPr bwMode="gray">
          <a:xfrm>
            <a:off x="457827" y="1169848"/>
            <a:ext cx="11326132" cy="12673"/>
          </a:xfrm>
          <a:prstGeom prst="line">
            <a:avLst/>
          </a:prstGeom>
          <a:ln w="6350">
            <a:solidFill>
              <a:srgbClr val="D1D3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0529" y="0"/>
            <a:ext cx="1001471" cy="1285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59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8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9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>
          <p15:clr>
            <a:srgbClr val="F26B43"/>
          </p15:clr>
        </p15:guide>
        <p15:guide id="2" pos="3908">
          <p15:clr>
            <a:srgbClr val="F26B43"/>
          </p15:clr>
        </p15:guide>
        <p15:guide id="3" pos="4134">
          <p15:clr>
            <a:srgbClr val="F26B43"/>
          </p15:clr>
        </p15:guide>
        <p15:guide id="4" pos="7422">
          <p15:clr>
            <a:srgbClr val="F26B43"/>
          </p15:clr>
        </p15:guide>
        <p15:guide id="5" pos="2376">
          <p15:clr>
            <a:srgbClr val="F26B43"/>
          </p15:clr>
        </p15:guide>
        <p15:guide id="6" pos="2150">
          <p15:clr>
            <a:srgbClr val="F26B43"/>
          </p15:clr>
        </p15:guide>
        <p15:guide id="7" pos="619">
          <p15:clr>
            <a:srgbClr val="F26B43"/>
          </p15:clr>
        </p15:guide>
        <p15:guide id="8" orient="horz" pos="2478">
          <p15:clr>
            <a:srgbClr val="F26B43"/>
          </p15:clr>
        </p15:guide>
        <p15:guide id="9" orient="horz" pos="2592">
          <p15:clr>
            <a:srgbClr val="F26B43"/>
          </p15:clr>
        </p15:guide>
        <p15:guide id="10" orient="horz" pos="4086">
          <p15:clr>
            <a:srgbClr val="F26B43"/>
          </p15:clr>
        </p15:guide>
        <p15:guide id="11" pos="5894">
          <p15:clr>
            <a:srgbClr val="F26B43"/>
          </p15:clr>
        </p15:guide>
        <p15:guide id="12" pos="5666">
          <p15:clr>
            <a:srgbClr val="F26B43"/>
          </p15:clr>
        </p15:guide>
        <p15:guide id="13" pos="4020">
          <p15:clr>
            <a:srgbClr val="F26B43"/>
          </p15:clr>
        </p15:guide>
        <p15:guide id="14" orient="horz" pos="270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88293" y="1295401"/>
            <a:ext cx="11193569" cy="4991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88293" y="181938"/>
            <a:ext cx="11193523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916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r.›</a:t>
            </a:fld>
            <a:endParaRPr lang="en-US">
              <a:solidFill>
                <a:srgbClr val="00BCFF"/>
              </a:solidFill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588292" y="6592972"/>
            <a:ext cx="3808651" cy="156197"/>
          </a:xfrm>
          <a:prstGeom prst="rect">
            <a:avLst/>
          </a:prstGeom>
        </p:spPr>
        <p:txBody>
          <a:bodyPr wrap="square" lIns="0" tIns="18286" rIns="36571" bIns="18286" anchor="ctr" anchorCtr="0">
            <a:spAutoFit/>
          </a:bodyPr>
          <a:lstStyle>
            <a:lvl1pPr algn="r">
              <a:defRPr sz="1200">
                <a:solidFill>
                  <a:srgbClr val="FFFFFF"/>
                </a:solidFill>
                <a:latin typeface="+mn-lt"/>
                <a:ea typeface="MS PGothic" pitchFamily="34" charset="-128"/>
              </a:defRPr>
            </a:lvl1pPr>
          </a:lstStyle>
          <a:p>
            <a:pPr algn="l">
              <a:defRPr/>
            </a:pPr>
            <a:r>
              <a:rPr lang="en-US" sz="775">
                <a:solidFill>
                  <a:schemeClr val="tx1"/>
                </a:solidFill>
                <a:ea typeface="Arial Unicode MS" panose="020B0604020202020204" pitchFamily="34" charset="-128"/>
              </a:rPr>
              <a:t>GLOBAL</a:t>
            </a:r>
            <a:r>
              <a:rPr lang="en-US" sz="775" baseline="0">
                <a:solidFill>
                  <a:schemeClr val="tx1"/>
                </a:solidFill>
                <a:ea typeface="Arial Unicode MS" panose="020B0604020202020204" pitchFamily="34" charset="-128"/>
              </a:rPr>
              <a:t> RADIUM-223 </a:t>
            </a:r>
            <a:r>
              <a:rPr lang="en-US" sz="775">
                <a:solidFill>
                  <a:schemeClr val="tx1"/>
                </a:solidFill>
                <a:ea typeface="Arial Unicode MS" panose="020B0604020202020204" pitchFamily="34" charset="-128"/>
              </a:rPr>
              <a:t>MDT: v1.6</a:t>
            </a: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4343855" y="6591047"/>
            <a:ext cx="3504293" cy="160044"/>
          </a:xfrm>
          <a:prstGeom prst="rect">
            <a:avLst/>
          </a:prstGeom>
        </p:spPr>
        <p:txBody>
          <a:bodyPr wrap="none" lIns="36571" tIns="18286" rIns="36571" bIns="18286" anchor="ctr" anchorCtr="0">
            <a:spAutoFit/>
          </a:bodyPr>
          <a:lstStyle>
            <a:lvl1pPr algn="r">
              <a:defRPr sz="1200">
                <a:solidFill>
                  <a:srgbClr val="FFFFFF"/>
                </a:solidFill>
                <a:latin typeface="+mn-lt"/>
                <a:ea typeface="MS PGothic" pitchFamily="34" charset="-128"/>
              </a:defRPr>
            </a:lvl1pPr>
          </a:lstStyle>
          <a:p>
            <a:pPr algn="ctr">
              <a:defRPr/>
            </a:pPr>
            <a:r>
              <a:rPr lang="en-US" sz="800">
                <a:solidFill>
                  <a:schemeClr val="tx1"/>
                </a:solidFill>
                <a:ea typeface="Arial Unicode MS" panose="020B0604020202020204" pitchFamily="34" charset="-128"/>
              </a:rPr>
              <a:t>Not For Distribution. For Medical Education Only, Not For Promotional Use.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0587213" y="6481489"/>
          <a:ext cx="1188720" cy="2743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300" spc="1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NAL</a:t>
                      </a:r>
                    </a:p>
                  </a:txBody>
                  <a:tcPr marL="18288" marR="0" marT="0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4897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09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09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69973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46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919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6">
          <p15:clr>
            <a:srgbClr val="F26B43"/>
          </p15:clr>
        </p15:guide>
        <p15:guide id="2" pos="7422">
          <p15:clr>
            <a:srgbClr val="F26B43"/>
          </p15:clr>
        </p15:guide>
        <p15:guide id="3" pos="2376">
          <p15:clr>
            <a:srgbClr val="F26B43"/>
          </p15:clr>
        </p15:guide>
        <p15:guide id="4" pos="360">
          <p15:clr>
            <a:srgbClr val="F26B43"/>
          </p15:clr>
        </p15:guide>
        <p15:guide id="5" pos="619">
          <p15:clr>
            <a:srgbClr val="F26B43"/>
          </p15:clr>
        </p15:guide>
        <p15:guide id="6" orient="horz" pos="2478">
          <p15:clr>
            <a:srgbClr val="F26B43"/>
          </p15:clr>
        </p15:guide>
        <p15:guide id="7" orient="horz" pos="2592">
          <p15:clr>
            <a:srgbClr val="F26B43"/>
          </p15:clr>
        </p15:guide>
        <p15:guide id="8" orient="horz" pos="3960">
          <p15:clr>
            <a:srgbClr val="F26B43"/>
          </p15:clr>
        </p15:guide>
        <p15:guide id="9" orient="horz" pos="270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1C49B4-753C-B641-9EB2-13A016D6A1DF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2299" y="1295401"/>
            <a:ext cx="11193569" cy="4991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4840" y="181939"/>
            <a:ext cx="9654396" cy="7820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lvl="0"/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069236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DBAA3-EF1F-4E1D-A7A0-1323AF4D9F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593" y="6476515"/>
            <a:ext cx="9556643" cy="3206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67280B11-E027-45CE-8135-75AA9DC34D0D}"/>
              </a:ext>
            </a:extLst>
          </p:cNvPr>
          <p:cNvSpPr/>
          <p:nvPr userDrawn="1"/>
        </p:nvSpPr>
        <p:spPr>
          <a:xfrm>
            <a:off x="1" y="5573486"/>
            <a:ext cx="6369699" cy="1284514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119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  <p:sldLayoutId id="2147483817" r:id="rId15"/>
    <p:sldLayoutId id="2147483818" r:id="rId16"/>
    <p:sldLayoutId id="2147483834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lang="en-US" sz="2400" b="1" kern="1200" cap="none" baseline="0" dirty="0">
          <a:solidFill>
            <a:schemeClr val="bg1"/>
          </a:solidFill>
          <a:latin typeface="+mn-lt"/>
          <a:ea typeface="+mn-ea"/>
          <a:cs typeface="Futura" panose="020B0602020204020303" pitchFamily="34" charset="-79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6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312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3960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pos="5120" userDrawn="1">
          <p15:clr>
            <a:srgbClr val="F26B43"/>
          </p15:clr>
        </p15:guide>
        <p15:guide id="18" pos="399" userDrawn="1">
          <p15:clr>
            <a:srgbClr val="F26B43"/>
          </p15:clr>
        </p15:guide>
        <p15:guide id="19" pos="12955" userDrawn="1">
          <p15:clr>
            <a:srgbClr val="F26B43"/>
          </p15:clr>
        </p15:guide>
        <p15:guide id="20" pos="13036" userDrawn="1">
          <p15:clr>
            <a:srgbClr val="F26B43"/>
          </p15:clr>
        </p15:guide>
        <p15:guide id="21" pos="9844" userDrawn="1">
          <p15:clr>
            <a:srgbClr val="F26B43"/>
          </p15:clr>
        </p15:guide>
        <p15:guide id="22" orient="horz" pos="807" userDrawn="1">
          <p15:clr>
            <a:srgbClr val="F26B43"/>
          </p15:clr>
        </p15:guide>
        <p15:guide id="23" orient="horz" pos="2160" userDrawn="1">
          <p15:clr>
            <a:srgbClr val="F26B43"/>
          </p15:clr>
        </p15:guide>
        <p15:guide id="24" orient="horz" pos="4148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1C49B4-753C-B641-9EB2-13A016D6A1DF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2300" y="1295401"/>
            <a:ext cx="11193569" cy="4991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4842" y="181941"/>
            <a:ext cx="9625817" cy="7820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lvl="0"/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414741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DBAA3-EF1F-4E1D-A7A0-1323AF4D9F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592" y="6476517"/>
            <a:ext cx="9028788" cy="3206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857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09" rtl="0" eaLnBrk="1" latinLnBrk="0" hangingPunct="1">
        <a:spcBef>
          <a:spcPct val="0"/>
        </a:spcBef>
        <a:buNone/>
        <a:defRPr lang="en-US" sz="2600" b="1" kern="1200" cap="none" baseline="0" dirty="0">
          <a:solidFill>
            <a:schemeClr val="bg1"/>
          </a:solidFill>
          <a:latin typeface="+mn-lt"/>
          <a:ea typeface="+mn-ea"/>
          <a:cs typeface="Futura" panose="020B0602020204020303" pitchFamily="34" charset="-79"/>
        </a:defRPr>
      </a:lvl1pPr>
    </p:titleStyle>
    <p:bodyStyle>
      <a:lvl1pPr marL="0" indent="0" algn="l" defTabSz="914309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69973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1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46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1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919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1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1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1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1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1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1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6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312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3960">
          <p15:clr>
            <a:srgbClr val="F26B43"/>
          </p15:clr>
        </p15:guide>
        <p15:guide id="16" orient="horz" pos="270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6F3D0C75-2109-0640-A7D2-A88EF70909F8}"/>
              </a:ext>
            </a:extLst>
          </p:cNvPr>
          <p:cNvSpPr/>
          <p:nvPr/>
        </p:nvSpPr>
        <p:spPr>
          <a:xfrm>
            <a:off x="9534107" y="-1"/>
            <a:ext cx="2657895" cy="1076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AAD0361F-9B2A-0648-9585-CAC83CDB472F}"/>
              </a:ext>
            </a:extLst>
          </p:cNvPr>
          <p:cNvSpPr/>
          <p:nvPr/>
        </p:nvSpPr>
        <p:spPr>
          <a:xfrm>
            <a:off x="9534107" y="-1"/>
            <a:ext cx="602527" cy="1076325"/>
          </a:xfrm>
          <a:custGeom>
            <a:avLst/>
            <a:gdLst>
              <a:gd name="connsiteX0" fmla="*/ 485733 w 602527"/>
              <a:gd name="connsiteY0" fmla="*/ 0 h 1076325"/>
              <a:gd name="connsiteX1" fmla="*/ 602527 w 602527"/>
              <a:gd name="connsiteY1" fmla="*/ 0 h 1076325"/>
              <a:gd name="connsiteX2" fmla="*/ 116794 w 602527"/>
              <a:gd name="connsiteY2" fmla="*/ 1076325 h 1076325"/>
              <a:gd name="connsiteX3" fmla="*/ 0 w 602527"/>
              <a:gd name="connsiteY3" fmla="*/ 1076325 h 1076325"/>
              <a:gd name="connsiteX4" fmla="*/ 485733 w 602527"/>
              <a:gd name="connsiteY4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2527" h="1076325">
                <a:moveTo>
                  <a:pt x="485733" y="0"/>
                </a:moveTo>
                <a:lnTo>
                  <a:pt x="602527" y="0"/>
                </a:lnTo>
                <a:lnTo>
                  <a:pt x="116794" y="1076325"/>
                </a:lnTo>
                <a:lnTo>
                  <a:pt x="0" y="1076325"/>
                </a:lnTo>
                <a:lnTo>
                  <a:pt x="485733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017D0922-3950-7D4A-8176-545FB88FCDC9}"/>
              </a:ext>
            </a:extLst>
          </p:cNvPr>
          <p:cNvSpPr/>
          <p:nvPr/>
        </p:nvSpPr>
        <p:spPr>
          <a:xfrm>
            <a:off x="0" y="-1"/>
            <a:ext cx="10019838" cy="1076325"/>
          </a:xfrm>
          <a:custGeom>
            <a:avLst/>
            <a:gdLst>
              <a:gd name="connsiteX0" fmla="*/ 0 w 10019838"/>
              <a:gd name="connsiteY0" fmla="*/ 0 h 1076325"/>
              <a:gd name="connsiteX1" fmla="*/ 10019838 w 10019838"/>
              <a:gd name="connsiteY1" fmla="*/ 0 h 1076325"/>
              <a:gd name="connsiteX2" fmla="*/ 9534105 w 10019838"/>
              <a:gd name="connsiteY2" fmla="*/ 1076325 h 1076325"/>
              <a:gd name="connsiteX3" fmla="*/ 0 w 10019838"/>
              <a:gd name="connsiteY3" fmla="*/ 1076325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19838" h="1076325">
                <a:moveTo>
                  <a:pt x="0" y="0"/>
                </a:moveTo>
                <a:lnTo>
                  <a:pt x="10019838" y="0"/>
                </a:lnTo>
                <a:lnTo>
                  <a:pt x="9534105" y="1076325"/>
                </a:lnTo>
                <a:lnTo>
                  <a:pt x="0" y="1076325"/>
                </a:lnTo>
                <a:close/>
              </a:path>
            </a:pathLst>
          </a:custGeom>
          <a:solidFill>
            <a:srgbClr val="1F42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7EB126-FE29-544B-8613-510E0ADD4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25128"/>
            <a:ext cx="8683206" cy="89087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EB39E-7124-9A44-BECF-D8CFC886AE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5462" y="1825625"/>
            <a:ext cx="10441475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61A5F-C324-9343-9A72-03C124D5E5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A00CC8-20D9-CA47-B460-D14CA09E1CFC}" type="datetime1">
              <a:rPr lang="en-US" smtClean="0"/>
              <a:pPr/>
              <a:t>6/7/2024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BDA642-3C68-9B4B-93B9-4339A7004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966" y="6397451"/>
            <a:ext cx="394643" cy="324024"/>
          </a:xfrm>
          <a:prstGeom prst="rect">
            <a:avLst/>
          </a:prstGeom>
          <a:solidFill>
            <a:srgbClr val="1F4288">
              <a:alpha val="50196"/>
            </a:srgbClr>
          </a:solidFill>
        </p:spPr>
        <p:txBody>
          <a:bodyPr vert="horz" lIns="91440" tIns="45720" rIns="91440" bIns="45720" rtlCol="0" anchor="ctr"/>
          <a:lstStyle>
            <a:lvl1pPr algn="ctr">
              <a:defRPr sz="1100" b="1" i="0" baseline="0">
                <a:solidFill>
                  <a:schemeClr val="bg1"/>
                </a:solidFill>
              </a:defRPr>
            </a:lvl1pPr>
          </a:lstStyle>
          <a:p>
            <a:fld id="{C0AFECD8-B8AF-5C4E-B306-A0438013ED6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Rectangle 15">
            <a:extLst>
              <a:ext uri="{FF2B5EF4-FFF2-40B4-BE49-F238E27FC236}">
                <a16:creationId xmlns:a16="http://schemas.microsoft.com/office/drawing/2014/main" id="{03CCAC9F-75E5-301F-1672-17BA0E127555}"/>
              </a:ext>
            </a:extLst>
          </p:cNvPr>
          <p:cNvSpPr/>
          <p:nvPr userDrawn="1"/>
        </p:nvSpPr>
        <p:spPr>
          <a:xfrm>
            <a:off x="1" y="5573486"/>
            <a:ext cx="6369699" cy="1284514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794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  <p:sldLayoutId id="2147483892" r:id="rId12"/>
    <p:sldLayoutId id="2147483893" r:id="rId13"/>
    <p:sldLayoutId id="2147483895" r:id="rId14"/>
    <p:sldLayoutId id="2147483897" r:id="rId15"/>
    <p:sldLayoutId id="2147483898" r:id="rId16"/>
    <p:sldLayoutId id="214748389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09" rtl="0" eaLnBrk="1" latinLnBrk="0" hangingPunct="1">
        <a:lnSpc>
          <a:spcPct val="85000"/>
        </a:lnSpc>
        <a:spcBef>
          <a:spcPct val="0"/>
        </a:spcBef>
        <a:buNone/>
        <a:defRPr sz="2800" b="1" i="0" kern="1200" cap="all" baseline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Helvetica" pitchFamily="2" charset="0"/>
        <a:buChar char="―"/>
        <a:defRPr sz="18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6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1147">
          <p15:clr>
            <a:srgbClr val="F26B43"/>
          </p15:clr>
        </p15:guide>
        <p15:guide id="4" orient="horz" pos="4002">
          <p15:clr>
            <a:srgbClr val="F26B43"/>
          </p15:clr>
        </p15:guide>
        <p15:guide id="6" orient="horz" pos="3408">
          <p15:clr>
            <a:srgbClr val="F26B43"/>
          </p15:clr>
        </p15:guide>
        <p15:guide id="7" pos="6178">
          <p15:clr>
            <a:srgbClr val="F26B43"/>
          </p15:clr>
        </p15:guide>
        <p15:guide id="8" pos="3840">
          <p15:clr>
            <a:srgbClr val="F26B43"/>
          </p15:clr>
        </p15:guide>
        <p15:guide id="9" pos="5120" userDrawn="1">
          <p15:clr>
            <a:srgbClr val="F26B43"/>
          </p15:clr>
        </p15:guide>
        <p15:guide id="10" pos="399" userDrawn="1">
          <p15:clr>
            <a:srgbClr val="F26B43"/>
          </p15:clr>
        </p15:guide>
        <p15:guide id="11" pos="12955" userDrawn="1">
          <p15:clr>
            <a:srgbClr val="F26B43"/>
          </p15:clr>
        </p15:guide>
        <p15:guide id="12" pos="13036" userDrawn="1">
          <p15:clr>
            <a:srgbClr val="F26B43"/>
          </p15:clr>
        </p15:guide>
        <p15:guide id="13" pos="9844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2160" userDrawn="1">
          <p15:clr>
            <a:srgbClr val="F26B43"/>
          </p15:clr>
        </p15:guide>
        <p15:guide id="16" orient="horz" pos="41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9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4.xml"/><Relationship Id="rId6" Type="http://schemas.openxmlformats.org/officeDocument/2006/relationships/hyperlink" Target="https://clinicaltrials.gov/ct2/show/NCT02200614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4.xml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2.xml"/><Relationship Id="rId4" Type="http://schemas.openxmlformats.org/officeDocument/2006/relationships/chart" Target="../charts/char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chart" Target="../charts/chart6.xml"/><Relationship Id="rId7" Type="http://schemas.openxmlformats.org/officeDocument/2006/relationships/image" Target="../media/image30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chart" Target="../charts/chart7.xml"/><Relationship Id="rId9" Type="http://schemas.openxmlformats.org/officeDocument/2006/relationships/image" Target="../media/image32.sv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wissmedicinfo/" TargetMode="External"/><Relationship Id="rId1" Type="http://schemas.openxmlformats.org/officeDocument/2006/relationships/slideLayout" Target="../slideLayouts/slideLayout1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slide" Target="slide4.xml"/><Relationship Id="rId1" Type="http://schemas.openxmlformats.org/officeDocument/2006/relationships/slideLayout" Target="../slideLayouts/slideLayout109.xml"/><Relationship Id="rId4" Type="http://schemas.openxmlformats.org/officeDocument/2006/relationships/slide" Target="slide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04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8.png"/><Relationship Id="rId7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19.png"/><Relationship Id="rId5" Type="http://schemas.openxmlformats.org/officeDocument/2006/relationships/chart" Target="../charts/chart2.xml"/><Relationship Id="rId10" Type="http://schemas.openxmlformats.org/officeDocument/2006/relationships/image" Target="../media/image6.png"/><Relationship Id="rId4" Type="http://schemas.openxmlformats.org/officeDocument/2006/relationships/chart" Target="../charts/chart1.xml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507389EB-4949-481D-B5C4-190CA04502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CH" b="1"/>
              <a:t>DAROLUTAMIDE </a:t>
            </a:r>
            <a:r>
              <a:rPr lang="de-CH" b="1" dirty="0"/>
              <a:t>in </a:t>
            </a:r>
            <a:r>
              <a:rPr lang="de-CH" b="1" dirty="0" err="1"/>
              <a:t>nmCRPC</a:t>
            </a:r>
            <a:br>
              <a:rPr lang="de-CH" b="1" dirty="0"/>
            </a:br>
            <a:r>
              <a:rPr lang="de-CH" b="1" dirty="0"/>
              <a:t>(NUBEQA</a:t>
            </a:r>
            <a:r>
              <a:rPr lang="de-CH" b="1" baseline="30000" dirty="0"/>
              <a:t>®</a:t>
            </a:r>
            <a:r>
              <a:rPr lang="de-CH" b="1" dirty="0"/>
              <a:t>)</a:t>
            </a:r>
          </a:p>
        </p:txBody>
      </p:sp>
      <p:sp>
        <p:nvSpPr>
          <p:cNvPr id="2" name="Textfeld 2">
            <a:extLst>
              <a:ext uri="{FF2B5EF4-FFF2-40B4-BE49-F238E27FC236}">
                <a16:creationId xmlns:a16="http://schemas.microsoft.com/office/drawing/2014/main" id="{F2E312DB-6AAD-A0CE-7D49-4661FE7DF8D0}"/>
              </a:ext>
            </a:extLst>
          </p:cNvPr>
          <p:cNvSpPr txBox="1"/>
          <p:nvPr/>
        </p:nvSpPr>
        <p:spPr>
          <a:xfrm>
            <a:off x="516609" y="6436352"/>
            <a:ext cx="34004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bg1"/>
                </a:solidFill>
              </a:rPr>
              <a:t>PP-NUB-CH-0245-2 / 2024.06.</a:t>
            </a:r>
            <a:endParaRPr lang="en-CH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46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A65267-876C-415D-B6E7-4D336BDAC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en-US" b="1" dirty="0"/>
              <a:t>The use of PSMA-PET in </a:t>
            </a:r>
            <a:r>
              <a:rPr lang="en-US" b="1" dirty="0" err="1"/>
              <a:t>nmCRPC</a:t>
            </a:r>
            <a:r>
              <a:rPr lang="en-US" b="1" dirty="0"/>
              <a:t> can cause stage migration and the </a:t>
            </a:r>
            <a:r>
              <a:rPr lang="en-US" b="1" i="1" dirty="0"/>
              <a:t>Will Rogers phenomenon</a:t>
            </a:r>
            <a:r>
              <a:rPr lang="en-US" i="1" baseline="30000" dirty="0"/>
              <a:t>25</a:t>
            </a:r>
            <a:endParaRPr lang="de-CH" b="1" baseline="300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8C28338-0E95-41EB-9C53-3ACE35BAE9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3543" y="1390649"/>
            <a:ext cx="7616918" cy="4543425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F25F33B6-8C82-4C74-81F8-8DD0F05A45DF}"/>
              </a:ext>
            </a:extLst>
          </p:cNvPr>
          <p:cNvSpPr txBox="1"/>
          <p:nvPr/>
        </p:nvSpPr>
        <p:spPr bwMode="gray">
          <a:xfrm>
            <a:off x="8591737" y="2136338"/>
            <a:ext cx="3376943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buFontTx/>
              <a:buBlip>
                <a:blip r:embed="rId4"/>
              </a:buBlip>
            </a:lvl1pPr>
            <a:lvl2pPr>
              <a:buFontTx/>
              <a:buBlip>
                <a:blip r:embed="rId4"/>
              </a:buBlip>
            </a:lvl2pPr>
            <a:lvl3pPr>
              <a:buFontTx/>
              <a:buBlip>
                <a:blip r:embed="rId5"/>
              </a:buBlip>
            </a:lvl3pPr>
            <a:lvl4pPr>
              <a:buFontTx/>
              <a:buBlip>
                <a:blip r:embed="rId6"/>
              </a:buBlip>
            </a:lvl4pPr>
            <a:lvl5pPr>
              <a:buFontTx/>
              <a:buBlip>
                <a:blip r:embed="rId7"/>
              </a:buBlip>
            </a:lvl5pPr>
            <a:lvl6pPr>
              <a:buFontTx/>
              <a:buBlip>
                <a:blip r:embed="rId7"/>
              </a:buBlip>
            </a:lvl6pPr>
            <a:lvl7pPr>
              <a:buFontTx/>
              <a:buBlip>
                <a:blip r:embed="rId7"/>
              </a:buBlip>
            </a:lvl7pPr>
            <a:lvl8pPr>
              <a:buFontTx/>
              <a:buBlip>
                <a:blip r:embed="rId7"/>
              </a:buBlip>
            </a:lvl8pPr>
            <a:lvl9pPr>
              <a:buFontTx/>
              <a:buBlip>
                <a:blip r:embed="rId7"/>
              </a:buBlip>
            </a:lvl9pPr>
          </a:lstStyle>
          <a:p>
            <a:pPr marL="285750" indent="-285750"/>
            <a:r>
              <a:rPr lang="en-US">
                <a:latin typeface="+mn-lt"/>
              </a:rPr>
              <a:t>use of PSMA-PET results in a migration of </a:t>
            </a:r>
            <a:r>
              <a:rPr lang="en-US" err="1">
                <a:latin typeface="+mn-lt"/>
              </a:rPr>
              <a:t>nmCRPC</a:t>
            </a:r>
            <a:r>
              <a:rPr lang="en-US">
                <a:latin typeface="+mn-lt"/>
              </a:rPr>
              <a:t> to metastatic stage</a:t>
            </a:r>
          </a:p>
          <a:p>
            <a:pPr>
              <a:buNone/>
            </a:pPr>
            <a:endParaRPr lang="en-US">
              <a:latin typeface="+mn-lt"/>
            </a:endParaRPr>
          </a:p>
          <a:p>
            <a:pPr marL="285750" indent="-285750"/>
            <a:r>
              <a:rPr lang="en-US">
                <a:latin typeface="+mn-lt"/>
              </a:rPr>
              <a:t>the prognosis of migrated patients would be worse than that of those who remained in the nonmetastatic stage</a:t>
            </a:r>
            <a:endParaRPr lang="de-CH">
              <a:latin typeface="+mn-lt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1A2763F-13FA-4A3D-81E7-40B589C85A58}"/>
              </a:ext>
            </a:extLst>
          </p:cNvPr>
          <p:cNvSpPr txBox="1"/>
          <p:nvPr/>
        </p:nvSpPr>
        <p:spPr bwMode="gray">
          <a:xfrm>
            <a:off x="414840" y="6434897"/>
            <a:ext cx="1174460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OS= </a:t>
            </a:r>
            <a:r>
              <a:rPr lang="de-CH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overall</a:t>
            </a:r>
            <a:r>
              <a:rPr lang="de-CH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</a:t>
            </a:r>
            <a:r>
              <a:rPr lang="de-CH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urvival</a:t>
            </a:r>
            <a:r>
              <a:rPr lang="de-CH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2864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327A6D4-8F64-4FF9-B03A-D009C369B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/>
              <a:t>What is </a:t>
            </a:r>
            <a:r>
              <a:rPr lang="en-US" i="1" err="1"/>
              <a:t>Darolutamide</a:t>
            </a:r>
            <a:r>
              <a:rPr lang="en-US" i="1"/>
              <a:t>?</a:t>
            </a:r>
            <a:br>
              <a:rPr lang="en-US" i="1"/>
            </a:br>
            <a:endParaRPr lang="de-CH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78F33-5ADA-D1D5-A8AD-6B1C17CFCA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251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34A33FF-2491-4ED3-9D17-8A45B4C0DA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n-US"/>
              <a:t>Darolutamide Is a Potent Androgen Receptor Inhibitor</a:t>
            </a:r>
            <a:endParaRPr lang="en-US" strike="sngStrike">
              <a:solidFill>
                <a:srgbClr val="C00000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24BCCDD-F67D-4E83-ADCB-0FBB838A49F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213475"/>
            <a:ext cx="11341100" cy="457200"/>
          </a:xfrm>
        </p:spPr>
        <p:txBody>
          <a:bodyPr/>
          <a:lstStyle/>
          <a:p>
            <a:pPr>
              <a:defRPr/>
            </a:pPr>
            <a:r>
              <a:rPr lang="en-US" sz="800" dirty="0">
                <a:latin typeface="+mn-lt"/>
              </a:rPr>
              <a:t>AR, androgen receptor; DDI, drug-drug interaction; </a:t>
            </a:r>
          </a:p>
        </p:txBody>
      </p:sp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880D8872-97CD-43BA-AC38-84A3393244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9385" y="4025495"/>
            <a:ext cx="1864760" cy="185250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3C528D2-20FD-4BC3-9031-FBB494698606}"/>
              </a:ext>
            </a:extLst>
          </p:cNvPr>
          <p:cNvSpPr/>
          <p:nvPr/>
        </p:nvSpPr>
        <p:spPr bwMode="gray">
          <a:xfrm>
            <a:off x="142089" y="1371757"/>
            <a:ext cx="2895343" cy="57875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Darolutamide </a:t>
            </a:r>
            <a:br>
              <a:rPr lang="en-US" sz="1600" b="1">
                <a:solidFill>
                  <a:schemeClr val="bg1"/>
                </a:solidFill>
              </a:rPr>
            </a:br>
            <a:r>
              <a:rPr lang="en-US" sz="1600" b="1">
                <a:solidFill>
                  <a:schemeClr val="bg1"/>
                </a:solidFill>
              </a:rPr>
              <a:t>Mechanism of Ac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F4C203-1DD2-4366-B122-DC19AC1FF27A}"/>
              </a:ext>
            </a:extLst>
          </p:cNvPr>
          <p:cNvSpPr txBox="1"/>
          <p:nvPr/>
        </p:nvSpPr>
        <p:spPr bwMode="gray">
          <a:xfrm>
            <a:off x="3994619" y="5080015"/>
            <a:ext cx="667600" cy="6143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000" b="1">
                <a:latin typeface="Calibri" panose="020F0502020204030204" pitchFamily="34" charset="0"/>
                <a:cs typeface="Calibri" panose="020F0502020204030204" pitchFamily="34" charset="0"/>
              </a:rPr>
              <a:t>Inhibits PSA</a:t>
            </a:r>
          </a:p>
          <a:p>
            <a:r>
              <a:rPr lang="en-US" sz="1000" b="1">
                <a:latin typeface="Calibri" panose="020F0502020204030204" pitchFamily="34" charset="0"/>
                <a:cs typeface="Calibri" panose="020F0502020204030204" pitchFamily="34" charset="0"/>
              </a:rPr>
              <a:t>Expression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BCC56BC-86D4-411D-B96D-BFFDE43D06C0}"/>
              </a:ext>
            </a:extLst>
          </p:cNvPr>
          <p:cNvSpPr txBox="1">
            <a:spLocks/>
          </p:cNvSpPr>
          <p:nvPr/>
        </p:nvSpPr>
        <p:spPr>
          <a:xfrm>
            <a:off x="375008" y="1937868"/>
            <a:ext cx="4597685" cy="4159768"/>
          </a:xfrm>
          <a:prstGeom prst="rect">
            <a:avLst/>
          </a:prstGeom>
          <a:ln w="28575">
            <a:solidFill>
              <a:schemeClr val="accent4"/>
            </a:solidFill>
          </a:ln>
        </p:spPr>
        <p:txBody>
          <a:bodyPr vert="horz" lIns="182880" tIns="91440" rIns="182880" bIns="4572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0000" lvl="1" indent="-270000">
              <a:spcBef>
                <a:spcPts val="300"/>
              </a:spcBef>
              <a:spcAft>
                <a:spcPts val="600"/>
              </a:spcAft>
              <a:buBlip>
                <a:blip r:embed="rId4"/>
              </a:buBlip>
            </a:pPr>
            <a:r>
              <a:rPr lang="en-US" sz="1400" dirty="0" err="1"/>
              <a:t>Darolutamide</a:t>
            </a:r>
            <a:r>
              <a:rPr lang="en-US" sz="1400" dirty="0"/>
              <a:t> is a potent androgen receptor inhibitor</a:t>
            </a:r>
            <a:r>
              <a:rPr lang="en-US" sz="1400" baseline="30000" dirty="0"/>
              <a:t>25</a:t>
            </a:r>
          </a:p>
          <a:p>
            <a:pPr marL="270000" lvl="1" indent="-270000">
              <a:spcBef>
                <a:spcPts val="300"/>
              </a:spcBef>
              <a:spcAft>
                <a:spcPts val="600"/>
              </a:spcAft>
              <a:buBlip>
                <a:blip r:embed="rId4"/>
              </a:buBlip>
            </a:pPr>
            <a:r>
              <a:rPr lang="en-US" sz="1400" dirty="0"/>
              <a:t>AR inhibition blocks nuclear translocation of the AR, preventing growth and promoting apoptosis of prostate cancer cells</a:t>
            </a:r>
            <a:r>
              <a:rPr lang="en-US" sz="1400" baseline="30000" dirty="0"/>
              <a:t>25-28</a:t>
            </a:r>
          </a:p>
          <a:p>
            <a:pPr marL="270000" lvl="1" indent="-270000">
              <a:spcBef>
                <a:spcPts val="300"/>
              </a:spcBef>
              <a:spcAft>
                <a:spcPts val="600"/>
              </a:spcAft>
              <a:buBlip>
                <a:blip r:embed="rId4"/>
              </a:buBlip>
            </a:pPr>
            <a:r>
              <a:rPr lang="en-US" sz="1400" dirty="0"/>
              <a:t>Preclinical models have demonstrated targeting the AR can enhance </a:t>
            </a:r>
            <a:r>
              <a:rPr lang="en-US" sz="1400" dirty="0" err="1"/>
              <a:t>taxane</a:t>
            </a:r>
            <a:r>
              <a:rPr lang="en-US" sz="1400" dirty="0"/>
              <a:t>-induced cellular apoptosis</a:t>
            </a:r>
            <a:r>
              <a:rPr lang="en-US" sz="1400" baseline="30000" dirty="0"/>
              <a:t>29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58A3D43-3813-4E9E-BDB7-163575DB8ADA}"/>
              </a:ext>
            </a:extLst>
          </p:cNvPr>
          <p:cNvSpPr txBox="1">
            <a:spLocks/>
          </p:cNvSpPr>
          <p:nvPr/>
        </p:nvSpPr>
        <p:spPr>
          <a:xfrm>
            <a:off x="5381927" y="1937868"/>
            <a:ext cx="6601310" cy="4159768"/>
          </a:xfrm>
          <a:prstGeom prst="rect">
            <a:avLst/>
          </a:prstGeom>
          <a:ln w="28575">
            <a:solidFill>
              <a:schemeClr val="accent4"/>
            </a:solidFill>
          </a:ln>
        </p:spPr>
        <p:txBody>
          <a:bodyPr vert="horz" lIns="182880" tIns="91440" rIns="182880" bIns="4572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0000" lvl="1" indent="-270000" fontAlgn="base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Blip>
                <a:blip r:embed="rId4"/>
              </a:buBlip>
              <a:defRPr/>
            </a:pPr>
            <a:r>
              <a:rPr lang="en-US" sz="1400" dirty="0" err="1"/>
              <a:t>Darolutamide</a:t>
            </a:r>
            <a:r>
              <a:rPr lang="en-US" sz="1400" dirty="0"/>
              <a:t> is structurally distinct from apalutamide and enzalutamide </a:t>
            </a:r>
            <a:r>
              <a:rPr lang="en-US" sz="1400" baseline="30000" dirty="0"/>
              <a:t>25,32-34</a:t>
            </a:r>
            <a:r>
              <a:rPr lang="en-US" sz="1400" dirty="0"/>
              <a:t>:</a:t>
            </a:r>
          </a:p>
          <a:p>
            <a:pPr marL="727200" lvl="2" indent="-27000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Blip>
                <a:blip r:embed="rId4"/>
              </a:buBlip>
              <a:defRPr/>
            </a:pPr>
            <a:r>
              <a:rPr lang="en-US" sz="1400" dirty="0" err="1"/>
              <a:t>Darolutamide</a:t>
            </a:r>
            <a:r>
              <a:rPr lang="en-US" sz="1400" dirty="0"/>
              <a:t> is a more polar molecule with a flexible structure*,</a:t>
            </a:r>
            <a:r>
              <a:rPr lang="en-US" sz="1400" baseline="30000" dirty="0"/>
              <a:t>32-34</a:t>
            </a:r>
          </a:p>
          <a:p>
            <a:pPr marL="270000" lvl="1" indent="-270000" fontAlgn="base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Blip>
                <a:blip r:embed="rId4"/>
              </a:buBlip>
              <a:defRPr/>
            </a:pPr>
            <a:r>
              <a:rPr lang="en-US" sz="1400" dirty="0"/>
              <a:t>A High Binding Affinity and Selectively for the AR </a:t>
            </a:r>
            <a:r>
              <a:rPr lang="en-US" sz="1400" baseline="30000" dirty="0"/>
              <a:t>25</a:t>
            </a:r>
            <a:r>
              <a:rPr lang="en-US" sz="1400" dirty="0"/>
              <a:t> </a:t>
            </a:r>
          </a:p>
          <a:p>
            <a:pPr marL="270000" lvl="1" indent="-270000" fontAlgn="base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Blip>
                <a:blip r:embed="rId4"/>
              </a:buBlip>
              <a:defRPr/>
            </a:pPr>
            <a:r>
              <a:rPr lang="en-US" sz="1400" dirty="0"/>
              <a:t>Limited Penetration of the Blood-brain Barrier in Preclinical Studies </a:t>
            </a:r>
            <a:r>
              <a:rPr lang="en-US" sz="1400" baseline="30000" dirty="0"/>
              <a:t>30</a:t>
            </a:r>
          </a:p>
          <a:p>
            <a:pPr marL="270000" lvl="1" indent="-270000" fontAlgn="base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Blip>
                <a:blip r:embed="rId4"/>
              </a:buBlip>
              <a:defRPr/>
            </a:pPr>
            <a:r>
              <a:rPr lang="en-US" sz="1400" dirty="0"/>
              <a:t>Limited potential for DDIs with medications commonly taken by patients with prostate cancer </a:t>
            </a:r>
            <a:r>
              <a:rPr lang="en-US" sz="1400" baseline="30000" dirty="0"/>
              <a:t>1,30,3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1769D0C-7CC9-457F-97CF-4271991D381A}"/>
              </a:ext>
            </a:extLst>
          </p:cNvPr>
          <p:cNvSpPr/>
          <p:nvPr/>
        </p:nvSpPr>
        <p:spPr bwMode="gray">
          <a:xfrm>
            <a:off x="5166298" y="1371757"/>
            <a:ext cx="3628768" cy="57875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/>
              <a:t>Darolutamide</a:t>
            </a:r>
            <a:r>
              <a:rPr lang="en-US" sz="1600" b="1" dirty="0"/>
              <a:t> Is a Potent Androgen Receptor Inhibitor With</a:t>
            </a:r>
            <a:r>
              <a:rPr lang="en-US" sz="1600" b="1" baseline="30000" dirty="0"/>
              <a:t>26</a:t>
            </a:r>
            <a:r>
              <a:rPr lang="en-US" sz="1600" b="1" dirty="0"/>
              <a:t>:</a:t>
            </a:r>
          </a:p>
        </p:txBody>
      </p:sp>
      <p:pic>
        <p:nvPicPr>
          <p:cNvPr id="17" name="Picture 8">
            <a:extLst>
              <a:ext uri="{FF2B5EF4-FFF2-40B4-BE49-F238E27FC236}">
                <a16:creationId xmlns:a16="http://schemas.microsoft.com/office/drawing/2014/main" id="{94093875-A3C3-4680-978A-8418608ED6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4598" y="4076885"/>
            <a:ext cx="2529840" cy="1954123"/>
          </a:xfrm>
          <a:prstGeom prst="rect">
            <a:avLst/>
          </a:prstGeom>
        </p:spPr>
      </p:pic>
      <p:pic>
        <p:nvPicPr>
          <p:cNvPr id="18" name="Picture 9">
            <a:extLst>
              <a:ext uri="{FF2B5EF4-FFF2-40B4-BE49-F238E27FC236}">
                <a16:creationId xmlns:a16="http://schemas.microsoft.com/office/drawing/2014/main" id="{737220DC-2B83-49A3-8608-6F43ED908A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54438" y="4398491"/>
            <a:ext cx="1891324" cy="1395060"/>
          </a:xfrm>
          <a:prstGeom prst="rect">
            <a:avLst/>
          </a:prstGeom>
        </p:spPr>
      </p:pic>
      <p:pic>
        <p:nvPicPr>
          <p:cNvPr id="19" name="Picture 10">
            <a:extLst>
              <a:ext uri="{FF2B5EF4-FFF2-40B4-BE49-F238E27FC236}">
                <a16:creationId xmlns:a16="http://schemas.microsoft.com/office/drawing/2014/main" id="{540929D5-BCB8-475C-9392-6B1CFF3F81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18517" y="4398491"/>
            <a:ext cx="1932047" cy="139506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D6D81724-FAFE-471C-9908-896B3D282D0B}"/>
              </a:ext>
            </a:extLst>
          </p:cNvPr>
          <p:cNvSpPr/>
          <p:nvPr/>
        </p:nvSpPr>
        <p:spPr bwMode="gray">
          <a:xfrm>
            <a:off x="6341499" y="5361039"/>
            <a:ext cx="147484" cy="1252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485D029-07A1-4E1F-9620-CB47D38B4FED}"/>
              </a:ext>
            </a:extLst>
          </p:cNvPr>
          <p:cNvSpPr/>
          <p:nvPr/>
        </p:nvSpPr>
        <p:spPr bwMode="gray">
          <a:xfrm>
            <a:off x="9714614" y="5361039"/>
            <a:ext cx="147484" cy="1252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0F8891C0-E3BF-42DA-B8D1-6A7EE0DEF1A4}"/>
              </a:ext>
            </a:extLst>
          </p:cNvPr>
          <p:cNvSpPr/>
          <p:nvPr/>
        </p:nvSpPr>
        <p:spPr bwMode="gray">
          <a:xfrm>
            <a:off x="11836609" y="5498321"/>
            <a:ext cx="113955" cy="106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2466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402416-4A17-4592-B892-B413D7BA4C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AMIS: Phase 3</a:t>
            </a:r>
            <a:br>
              <a:rPr lang="en-US"/>
            </a:br>
            <a:r>
              <a:rPr lang="en-US"/>
              <a:t>Study in </a:t>
            </a:r>
            <a:r>
              <a:rPr lang="en-US" err="1"/>
              <a:t>nmCRPC</a:t>
            </a:r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0ED34D-C75D-0744-97C4-B8366E8195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12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FADA5A-00E1-4B2B-837E-A0A454A126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de-CH" b="1" dirty="0"/>
              <a:t>ARAMIS Trial Design</a:t>
            </a:r>
            <a:r>
              <a:rPr lang="de-CH" b="1" baseline="30000" dirty="0"/>
              <a:t>8</a:t>
            </a:r>
            <a:r>
              <a:rPr lang="de-CH" baseline="30000" dirty="0"/>
              <a:t>,35,36</a:t>
            </a:r>
            <a:endParaRPr lang="de-CH" b="1" baseline="30000" dirty="0"/>
          </a:p>
        </p:txBody>
      </p:sp>
      <p:sp>
        <p:nvSpPr>
          <p:cNvPr id="3" name="Subtitle 24">
            <a:extLst>
              <a:ext uri="{FF2B5EF4-FFF2-40B4-BE49-F238E27FC236}">
                <a16:creationId xmlns:a16="http://schemas.microsoft.com/office/drawing/2014/main" id="{4A8DDA93-C34B-4A91-A5C7-523D5B9D3A39}"/>
              </a:ext>
            </a:extLst>
          </p:cNvPr>
          <p:cNvSpPr txBox="1">
            <a:spLocks/>
          </p:cNvSpPr>
          <p:nvPr/>
        </p:nvSpPr>
        <p:spPr>
          <a:xfrm>
            <a:off x="380999" y="1153103"/>
            <a:ext cx="10611256" cy="5232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en-US" sz="1400"/>
              <a:t>Global randomized double-blind, placebo-controlled Phase III trial investigating the safety and efficacy of </a:t>
            </a:r>
            <a:r>
              <a:rPr lang="en-US" sz="1400" err="1"/>
              <a:t>darolutamide</a:t>
            </a:r>
            <a:r>
              <a:rPr lang="en-US" sz="1400"/>
              <a:t> in men with </a:t>
            </a:r>
            <a:r>
              <a:rPr lang="en-US" sz="1400" err="1"/>
              <a:t>nmCRPC</a:t>
            </a:r>
            <a:r>
              <a:rPr lang="en-US" sz="1400"/>
              <a:t> (</a:t>
            </a:r>
            <a:r>
              <a:rPr lang="en-US" sz="1400">
                <a:hlinkClick r:id="rId6"/>
              </a:rPr>
              <a:t>NCT02200614</a:t>
            </a:r>
            <a:r>
              <a:rPr lang="en-US" sz="1400"/>
              <a:t>)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7619755-A924-4488-9755-BEFEDFC32088}"/>
              </a:ext>
            </a:extLst>
          </p:cNvPr>
          <p:cNvSpPr txBox="1">
            <a:spLocks/>
          </p:cNvSpPr>
          <p:nvPr/>
        </p:nvSpPr>
        <p:spPr>
          <a:xfrm>
            <a:off x="255351" y="6337507"/>
            <a:ext cx="11681298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ignificance testing does not apply to exploratory endpoints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ADT, androgen deprivation therapy; bid, twice a day;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nmCRPC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, non-metastatic castration-resistant prostate cancer; OS, overall survival; PSADT, prostate-specific antigen doubling time.</a:t>
            </a:r>
          </a:p>
        </p:txBody>
      </p:sp>
      <p:grpSp>
        <p:nvGrpSpPr>
          <p:cNvPr id="18" name="Group 18">
            <a:extLst>
              <a:ext uri="{FF2B5EF4-FFF2-40B4-BE49-F238E27FC236}">
                <a16:creationId xmlns:a16="http://schemas.microsoft.com/office/drawing/2014/main" id="{268AE18D-CAC1-4CB7-81F0-5A15F168B887}"/>
              </a:ext>
            </a:extLst>
          </p:cNvPr>
          <p:cNvGrpSpPr>
            <a:grpSpLocks/>
          </p:cNvGrpSpPr>
          <p:nvPr/>
        </p:nvGrpSpPr>
        <p:grpSpPr bwMode="auto">
          <a:xfrm>
            <a:off x="512525" y="2138264"/>
            <a:ext cx="11461514" cy="2693398"/>
            <a:chOff x="588245" y="1819543"/>
            <a:chExt cx="11221670" cy="2920420"/>
          </a:xfrm>
        </p:grpSpPr>
        <p:cxnSp>
          <p:nvCxnSpPr>
            <p:cNvPr id="19" name="Straight Connector 7">
              <a:extLst>
                <a:ext uri="{FF2B5EF4-FFF2-40B4-BE49-F238E27FC236}">
                  <a16:creationId xmlns:a16="http://schemas.microsoft.com/office/drawing/2014/main" id="{97DC9D7C-5CE3-416E-BADB-22A5B65B769A}"/>
                </a:ext>
              </a:extLst>
            </p:cNvPr>
            <p:cNvCxnSpPr/>
            <p:nvPr/>
          </p:nvCxnSpPr>
          <p:spPr bwMode="gray">
            <a:xfrm>
              <a:off x="9237812" y="3171311"/>
              <a:ext cx="1415949" cy="0"/>
            </a:xfrm>
            <a:prstGeom prst="line">
              <a:avLst/>
            </a:prstGeom>
            <a:noFill/>
            <a:ln w="28575" cap="flat" cmpd="sng" algn="ctr">
              <a:solidFill>
                <a:srgbClr val="00BCFF"/>
              </a:solidFill>
              <a:prstDash val="solid"/>
            </a:ln>
            <a:effectLst/>
          </p:spPr>
        </p:cxnSp>
        <p:sp>
          <p:nvSpPr>
            <p:cNvPr id="20" name="Left Brace 8">
              <a:extLst>
                <a:ext uri="{FF2B5EF4-FFF2-40B4-BE49-F238E27FC236}">
                  <a16:creationId xmlns:a16="http://schemas.microsoft.com/office/drawing/2014/main" id="{3DD46344-A149-4832-8A74-0BDCF0657CFB}"/>
                </a:ext>
              </a:extLst>
            </p:cNvPr>
            <p:cNvSpPr/>
            <p:nvPr/>
          </p:nvSpPr>
          <p:spPr bwMode="gray">
            <a:xfrm>
              <a:off x="3752759" y="2417378"/>
              <a:ext cx="1392635" cy="1519915"/>
            </a:xfrm>
            <a:prstGeom prst="leftBrace">
              <a:avLst>
                <a:gd name="adj1" fmla="val 0"/>
                <a:gd name="adj2" fmla="val 50000"/>
              </a:avLst>
            </a:prstGeom>
            <a:noFill/>
            <a:ln w="28575" cap="flat" cmpd="sng" algn="ctr">
              <a:solidFill>
                <a:srgbClr val="00BCFF"/>
              </a:solidFill>
              <a:prstDash val="solid"/>
              <a:headEnd type="triangle" w="lg" len="lg"/>
              <a:tailEnd type="triangle" w="lg" len="lg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</a:endParaRPr>
            </a:p>
          </p:txBody>
        </p:sp>
        <p:sp>
          <p:nvSpPr>
            <p:cNvPr id="21" name="Left Brace 9">
              <a:extLst>
                <a:ext uri="{FF2B5EF4-FFF2-40B4-BE49-F238E27FC236}">
                  <a16:creationId xmlns:a16="http://schemas.microsoft.com/office/drawing/2014/main" id="{7A19EB3F-D210-455E-9103-572FA3FBFFC7}"/>
                </a:ext>
              </a:extLst>
            </p:cNvPr>
            <p:cNvSpPr/>
            <p:nvPr/>
          </p:nvSpPr>
          <p:spPr bwMode="gray">
            <a:xfrm flipH="1">
              <a:off x="7419305" y="2412215"/>
              <a:ext cx="887494" cy="1518194"/>
            </a:xfrm>
            <a:prstGeom prst="leftBrace">
              <a:avLst>
                <a:gd name="adj1" fmla="val 0"/>
                <a:gd name="adj2" fmla="val 50000"/>
              </a:avLst>
            </a:prstGeom>
            <a:noFill/>
            <a:ln w="28575" cap="flat" cmpd="sng" algn="ctr">
              <a:solidFill>
                <a:srgbClr val="00BCFF"/>
              </a:solidFill>
              <a:prstDash val="solid"/>
              <a:headEnd type="none" w="lg" len="lg"/>
              <a:tailEnd type="none" w="lg" len="lg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/>
              </a:endParaRPr>
            </a:p>
          </p:txBody>
        </p:sp>
        <p:sp>
          <p:nvSpPr>
            <p:cNvPr id="22" name="Rounded Rectangle 6">
              <a:extLst>
                <a:ext uri="{FF2B5EF4-FFF2-40B4-BE49-F238E27FC236}">
                  <a16:creationId xmlns:a16="http://schemas.microsoft.com/office/drawing/2014/main" id="{9CF32BF8-4994-4A3D-9714-948B98127DC4}"/>
                </a:ext>
              </a:extLst>
            </p:cNvPr>
            <p:cNvSpPr/>
            <p:nvPr/>
          </p:nvSpPr>
          <p:spPr>
            <a:xfrm>
              <a:off x="588245" y="2160904"/>
              <a:ext cx="3167622" cy="2020816"/>
            </a:xfrm>
            <a:prstGeom prst="rect">
              <a:avLst/>
            </a:prstGeom>
            <a:solidFill>
              <a:srgbClr val="10384F">
                <a:lumMod val="10000"/>
                <a:lumOff val="90000"/>
              </a:srgbClr>
            </a:solidFill>
            <a:ln w="28575" cap="flat" cmpd="sng" algn="ctr">
              <a:solidFill>
                <a:srgbClr val="10384F"/>
              </a:solidFill>
              <a:prstDash val="solid"/>
            </a:ln>
            <a:effectLst/>
          </p:spPr>
          <p:txBody>
            <a:bodyPr tIns="68580" rIns="68580" bIns="68580" anchor="ctr">
              <a:spAutoFit/>
            </a:bodyPr>
            <a:lstStyle/>
            <a:p>
              <a:pPr marL="0" marR="0" lvl="0" indent="0" algn="ctr" defTabSz="514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+mn-lt"/>
                </a:rPr>
                <a:t>Patients (N=1509)</a:t>
              </a:r>
              <a:endParaRPr kumimoji="0" lang="en-US" sz="1400" b="1" i="0" u="none" strike="noStrike" kern="0" cap="none" spc="0" normalizeH="0" baseline="30000" noProof="0">
                <a:ln>
                  <a:noFill/>
                </a:ln>
                <a:solidFill>
                  <a:srgbClr val="10384F"/>
                </a:solidFill>
                <a:effectLst/>
                <a:uLnTx/>
                <a:uFillTx/>
                <a:latin typeface="+mn-lt"/>
              </a:endParaRPr>
            </a:p>
            <a:p>
              <a:pPr marL="114300" marR="0" lvl="0" indent="-114300" defTabSz="514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+mn-lt"/>
                </a:rPr>
                <a:t>Men with nmCRPC</a:t>
              </a:r>
            </a:p>
            <a:p>
              <a:pPr marL="114300" marR="0" lvl="0" indent="-114300" defTabSz="514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+mn-lt"/>
                </a:rPr>
                <a:t>PSADT of ≤10 months</a:t>
              </a:r>
            </a:p>
            <a:p>
              <a:pPr marL="0" marR="0" lvl="0" indent="0" defTabSz="514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0384F"/>
                </a:solidFill>
                <a:effectLst/>
                <a:uLnTx/>
                <a:uFillTx/>
                <a:latin typeface="+mn-lt"/>
              </a:endParaRPr>
            </a:p>
            <a:p>
              <a:pPr marL="0" marR="0" lvl="0" indent="0" defTabSz="514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+mn-lt"/>
                </a:rPr>
                <a:t>Stratification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0384F"/>
                </a:solidFill>
                <a:effectLst/>
                <a:uLnTx/>
                <a:uFillTx/>
                <a:latin typeface="+mn-lt"/>
              </a:endParaRPr>
            </a:p>
            <a:p>
              <a:pPr marL="114300" marR="0" lvl="0" indent="-114300" defTabSz="514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+mn-lt"/>
                </a:rPr>
                <a:t>PSADT (≤6 vs &gt;6 months)</a:t>
              </a:r>
            </a:p>
            <a:p>
              <a:pPr marL="114300" marR="0" lvl="0" indent="-114300" defTabSz="514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+mn-lt"/>
                </a:rPr>
                <a:t>Use of osteoclast-targeted therapy (yes vs no)</a:t>
              </a:r>
            </a:p>
          </p:txBody>
        </p:sp>
        <p:grpSp>
          <p:nvGrpSpPr>
            <p:cNvPr id="23" name="Group 30">
              <a:extLst>
                <a:ext uri="{FF2B5EF4-FFF2-40B4-BE49-F238E27FC236}">
                  <a16:creationId xmlns:a16="http://schemas.microsoft.com/office/drawing/2014/main" id="{68C92692-017C-490D-A05C-4AB2F9D0802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45308" y="1952625"/>
              <a:ext cx="2324934" cy="2232537"/>
              <a:chOff x="5561763" y="2772912"/>
              <a:chExt cx="2926080" cy="1794079"/>
            </a:xfrm>
          </p:grpSpPr>
          <p:sp>
            <p:nvSpPr>
              <p:cNvPr id="27" name="Rounded Rectangle 7">
                <a:extLst>
                  <a:ext uri="{FF2B5EF4-FFF2-40B4-BE49-F238E27FC236}">
                    <a16:creationId xmlns:a16="http://schemas.microsoft.com/office/drawing/2014/main" id="{F503967D-30DE-4B81-919E-DA2B2F0B24E3}"/>
                  </a:ext>
                </a:extLst>
              </p:cNvPr>
              <p:cNvSpPr/>
              <p:nvPr/>
            </p:nvSpPr>
            <p:spPr>
              <a:xfrm>
                <a:off x="5561870" y="2772912"/>
                <a:ext cx="2926418" cy="759406"/>
              </a:xfrm>
              <a:prstGeom prst="rect">
                <a:avLst/>
              </a:prstGeom>
              <a:solidFill>
                <a:srgbClr val="89D329"/>
              </a:solidFill>
              <a:ln w="285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</a:rPr>
                  <a:t>ADT + darolutamide 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</a:rPr>
                  <a:t>600 mg bid</a:t>
                </a:r>
              </a:p>
            </p:txBody>
          </p:sp>
          <p:sp>
            <p:nvSpPr>
              <p:cNvPr id="28" name="Rounded Rectangle 8">
                <a:extLst>
                  <a:ext uri="{FF2B5EF4-FFF2-40B4-BE49-F238E27FC236}">
                    <a16:creationId xmlns:a16="http://schemas.microsoft.com/office/drawing/2014/main" id="{BB88D989-A738-4B77-B2BB-4BE8DFFAE27F}"/>
                  </a:ext>
                </a:extLst>
              </p:cNvPr>
              <p:cNvSpPr/>
              <p:nvPr/>
            </p:nvSpPr>
            <p:spPr>
              <a:xfrm>
                <a:off x="5561870" y="4109134"/>
                <a:ext cx="2926418" cy="457857"/>
              </a:xfrm>
              <a:prstGeom prst="rect">
                <a:avLst/>
              </a:prstGeom>
              <a:solidFill>
                <a:srgbClr val="000000">
                  <a:lumMod val="50000"/>
                  <a:lumOff val="50000"/>
                </a:srgbClr>
              </a:solidFill>
              <a:ln w="285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</a:rPr>
                  <a:t>ADT + placebo</a:t>
                </a:r>
              </a:p>
            </p:txBody>
          </p:sp>
        </p:grpSp>
        <p:sp>
          <p:nvSpPr>
            <p:cNvPr id="24" name="TextBox 25">
              <a:extLst>
                <a:ext uri="{FF2B5EF4-FFF2-40B4-BE49-F238E27FC236}">
                  <a16:creationId xmlns:a16="http://schemas.microsoft.com/office/drawing/2014/main" id="{B9AA149A-ECF1-4C91-B2AF-7C0247DD8FAD}"/>
                </a:ext>
              </a:extLst>
            </p:cNvPr>
            <p:cNvSpPr txBox="1"/>
            <p:nvPr/>
          </p:nvSpPr>
          <p:spPr>
            <a:xfrm>
              <a:off x="3833581" y="3012951"/>
              <a:ext cx="1235652" cy="533605"/>
            </a:xfrm>
            <a:prstGeom prst="rect">
              <a:avLst/>
            </a:prstGeom>
            <a:solidFill>
              <a:srgbClr val="10384F"/>
            </a:solidFill>
            <a:ln w="28575">
              <a:solidFill>
                <a:srgbClr val="000000"/>
              </a:solidFill>
            </a:ln>
          </p:spPr>
          <p:txBody>
            <a:bodyPr lIns="0" anchor="ctr">
              <a:sp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2:1 </a:t>
              </a:r>
              <a:b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randomization</a:t>
              </a: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Rounded Rectangle 9">
              <a:extLst>
                <a:ext uri="{FF2B5EF4-FFF2-40B4-BE49-F238E27FC236}">
                  <a16:creationId xmlns:a16="http://schemas.microsoft.com/office/drawing/2014/main" id="{7D0F671D-2D92-4542-B388-6F1DFA5C6F61}"/>
                </a:ext>
              </a:extLst>
            </p:cNvPr>
            <p:cNvSpPr/>
            <p:nvPr/>
          </p:nvSpPr>
          <p:spPr>
            <a:xfrm>
              <a:off x="10154837" y="1819543"/>
              <a:ext cx="1655078" cy="2920420"/>
            </a:xfrm>
            <a:prstGeom prst="rect">
              <a:avLst/>
            </a:prstGeom>
            <a:solidFill>
              <a:srgbClr val="FF3162"/>
            </a:solidFill>
            <a:ln w="285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sng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Final analysis</a:t>
              </a: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:</a:t>
              </a:r>
            </a:p>
            <a:p>
              <a:pPr marL="111125" marR="0" lvl="0" indent="-111125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OS</a:t>
              </a:r>
            </a:p>
            <a:p>
              <a:pPr marL="111125" lvl="0" indent="-111125" defTabSz="514350">
                <a:buFont typeface="Arial" panose="020B0604020202020204" pitchFamily="34" charset="0"/>
                <a:buChar char="•"/>
                <a:defRPr/>
              </a:pPr>
              <a:r>
                <a:rPr lang="en-US" sz="1400" kern="0">
                  <a:solidFill>
                    <a:schemeClr val="bg1"/>
                  </a:solidFill>
                  <a:latin typeface="+mn-lt"/>
                </a:rPr>
                <a:t>Time to pain progression </a:t>
              </a:r>
            </a:p>
            <a:p>
              <a:pPr marL="111125" lvl="0" indent="-111125" defTabSz="514350">
                <a:buFont typeface="Arial" panose="020B0604020202020204" pitchFamily="34" charset="0"/>
                <a:buChar char="•"/>
                <a:defRPr/>
              </a:pPr>
              <a:r>
                <a:rPr lang="en-US" sz="1400" kern="0">
                  <a:solidFill>
                    <a:schemeClr val="bg1"/>
                  </a:solidFill>
                  <a:latin typeface="+mn-lt"/>
                </a:rPr>
                <a:t>Time to first cytotoxic chemotherapy</a:t>
              </a:r>
            </a:p>
            <a:p>
              <a:pPr marL="111125" lvl="0" indent="-111125" defTabSz="514350">
                <a:buFont typeface="Arial" panose="020B0604020202020204" pitchFamily="34" charset="0"/>
                <a:buChar char="•"/>
                <a:defRPr/>
              </a:pPr>
              <a:r>
                <a:rPr lang="en-US" sz="1400" kern="0">
                  <a:solidFill>
                    <a:schemeClr val="bg1"/>
                  </a:solidFill>
                  <a:latin typeface="+mn-lt"/>
                </a:rPr>
                <a:t>Time to first symptomatic skeletal event </a:t>
              </a:r>
            </a:p>
            <a:p>
              <a:pPr marL="111125" lvl="0" indent="-111125" defTabSz="514350">
                <a:buFont typeface="Arial" panose="020B0604020202020204" pitchFamily="34" charset="0"/>
                <a:buChar char="•"/>
                <a:defRPr/>
              </a:pPr>
              <a:r>
                <a:rPr lang="en-US" sz="1400" kern="0">
                  <a:solidFill>
                    <a:schemeClr val="bg1"/>
                  </a:solidFill>
                  <a:latin typeface="+mn-lt"/>
                </a:rPr>
                <a:t>Safety</a:t>
              </a:r>
            </a:p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Rounded Rectangle 9">
              <a:extLst>
                <a:ext uri="{FF2B5EF4-FFF2-40B4-BE49-F238E27FC236}">
                  <a16:creationId xmlns:a16="http://schemas.microsoft.com/office/drawing/2014/main" id="{D1BC3306-3AED-4245-A764-B3B17B96D450}"/>
                </a:ext>
              </a:extLst>
            </p:cNvPr>
            <p:cNvSpPr/>
            <p:nvPr/>
          </p:nvSpPr>
          <p:spPr>
            <a:xfrm>
              <a:off x="8306799" y="2529264"/>
              <a:ext cx="1392635" cy="1284096"/>
            </a:xfrm>
            <a:prstGeom prst="rect">
              <a:avLst/>
            </a:prstGeom>
            <a:solidFill>
              <a:srgbClr val="FF3162"/>
            </a:solidFill>
            <a:ln w="285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sng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Primary analysis</a:t>
              </a: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:</a:t>
              </a:r>
            </a:p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MFS</a:t>
              </a:r>
              <a:endParaRPr kumimoji="0" lang="en-US" sz="1400" b="0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9" name="Textfeld 28">
            <a:extLst>
              <a:ext uri="{FF2B5EF4-FFF2-40B4-BE49-F238E27FC236}">
                <a16:creationId xmlns:a16="http://schemas.microsoft.com/office/drawing/2014/main" id="{2A3FBF74-DF44-4336-A254-B66E603586B3}"/>
              </a:ext>
            </a:extLst>
          </p:cNvPr>
          <p:cNvSpPr txBox="1"/>
          <p:nvPr/>
        </p:nvSpPr>
        <p:spPr bwMode="gray">
          <a:xfrm>
            <a:off x="414840" y="5307257"/>
            <a:ext cx="1116413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en-US" sz="1400">
                <a:solidFill>
                  <a:srgbClr val="000000"/>
                </a:solidFill>
                <a:latin typeface="+mn-lt"/>
                <a:cs typeface="Arial"/>
              </a:rPr>
              <a:t>At the time of study unblinding (November 30, 2018), 170 patients from the placebo group crossed over to receive open-label </a:t>
            </a:r>
            <a:r>
              <a:rPr lang="en-US" altLang="en-US" sz="1400" err="1">
                <a:solidFill>
                  <a:srgbClr val="000000"/>
                </a:solidFill>
                <a:latin typeface="+mn-lt"/>
                <a:cs typeface="Arial"/>
              </a:rPr>
              <a:t>darolutamide</a:t>
            </a:r>
            <a:endParaRPr lang="en-US" altLang="en-US" sz="1400">
              <a:solidFill>
                <a:srgbClr val="000000"/>
              </a:solidFill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1860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ADE10F-D268-451A-9D81-864E2B2A9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b="1" dirty="0"/>
              <a:t>ARAMIS: Patient Criteria* and Treatment</a:t>
            </a:r>
            <a:r>
              <a:rPr lang="en-US" b="1" baseline="30000" dirty="0"/>
              <a:t>8</a:t>
            </a:r>
            <a:r>
              <a:rPr lang="en-US" baseline="30000" dirty="0"/>
              <a:t>,35</a:t>
            </a:r>
            <a:endParaRPr lang="de-CH" b="1" baseline="30000" dirty="0"/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369DC3BF-76FD-4BEE-BA82-F1F506D0AD16}"/>
              </a:ext>
            </a:extLst>
          </p:cNvPr>
          <p:cNvSpPr txBox="1">
            <a:spLocks/>
          </p:cNvSpPr>
          <p:nvPr/>
        </p:nvSpPr>
        <p:spPr>
          <a:xfrm>
            <a:off x="448282" y="1397131"/>
            <a:ext cx="11429189" cy="48519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fontAlgn="auto">
              <a:buFont typeface="Arial" panose="020B0604020202020204" pitchFamily="34" charset="0"/>
              <a:buChar char="•"/>
            </a:pPr>
            <a:r>
              <a:rPr lang="en-US"/>
              <a:t>Patients and physicians were blinded to patients’ treatment assignment but not to PSA levels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2ED5A8E3-E3CF-42A9-90CD-A998C3950BBE}"/>
              </a:ext>
            </a:extLst>
          </p:cNvPr>
          <p:cNvSpPr/>
          <p:nvPr/>
        </p:nvSpPr>
        <p:spPr>
          <a:xfrm>
            <a:off x="526913" y="6091286"/>
            <a:ext cx="10183239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*Patients with a history of seizure were not excluded from the stud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HA defined as bisphosphonate or denosumab.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I, androgen receptor axis inhibitor; BHA, bone health agent; bid, twice a day; CRPC, castration-resistant prostate cancer; CT, computed tomography; ECOG PS, Eastern Cooperative Oncology Group Performance Status; PSA, prostate-specific antigen; PSADT, prostate-specific antigen doubling time; Tx, treatment.</a:t>
            </a:r>
          </a:p>
        </p:txBody>
      </p:sp>
      <p:sp>
        <p:nvSpPr>
          <p:cNvPr id="8" name="Rounded Rectangle 6">
            <a:extLst>
              <a:ext uri="{FF2B5EF4-FFF2-40B4-BE49-F238E27FC236}">
                <a16:creationId xmlns:a16="http://schemas.microsoft.com/office/drawing/2014/main" id="{C3485920-3BEA-49DA-B827-B9970A346407}"/>
              </a:ext>
            </a:extLst>
          </p:cNvPr>
          <p:cNvSpPr/>
          <p:nvPr/>
        </p:nvSpPr>
        <p:spPr>
          <a:xfrm>
            <a:off x="982663" y="1959631"/>
            <a:ext cx="4914440" cy="3707842"/>
          </a:xfrm>
          <a:prstGeom prst="rect">
            <a:avLst/>
          </a:prstGeom>
          <a:noFill/>
          <a:ln w="38100" cap="flat" cmpd="sng" algn="ctr">
            <a:solidFill>
              <a:srgbClr val="89D329"/>
            </a:solidFill>
            <a:prstDash val="solid"/>
          </a:ln>
          <a:effectLst/>
        </p:spPr>
        <p:txBody>
          <a:bodyPr wrap="square" tIns="68580" rIns="68580" bIns="68580" rtlCol="0" anchor="t">
            <a:noAutofit/>
          </a:bodyPr>
          <a:lstStyle/>
          <a:p>
            <a:pPr marL="0" marR="0" lvl="0" indent="0" algn="ctr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Inclusion Criteria</a:t>
            </a:r>
            <a:endParaRPr kumimoji="0" lang="en-US" sz="2000" b="1" i="0" u="none" strike="noStrike" kern="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85725" marR="0" lvl="0" indent="-85725" defTabSz="68580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CRPC</a:t>
            </a:r>
          </a:p>
          <a:p>
            <a:pPr marL="85725" marR="0" lvl="0" indent="-85725" defTabSz="68580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High-risk nonmetastatic (M0)</a:t>
            </a:r>
          </a:p>
          <a:p>
            <a:pPr marL="557213" marR="0" lvl="1" indent="-214313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PSADT of ≤10 months</a:t>
            </a:r>
          </a:p>
          <a:p>
            <a:pPr marL="557213" marR="0" lvl="1" indent="-214313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PSA ≥2 ng/mL</a:t>
            </a:r>
          </a:p>
          <a:p>
            <a:pPr marL="557213" lvl="1" indent="-214313" defTabSz="685800" eaLnBrk="0" hangingPunct="0">
              <a:buFont typeface="Wingdings" panose="05000000000000000000" pitchFamily="2" charset="2"/>
              <a:buChar char="§"/>
              <a:defRPr/>
            </a:pPr>
            <a:r>
              <a:rPr lang="en-US" sz="1600" kern="0">
                <a:solidFill>
                  <a:srgbClr val="000000"/>
                </a:solidFill>
                <a:latin typeface="Arial"/>
              </a:rPr>
              <a:t>presence  of  pelvic  lymph  nodes  less  than  2  cm  in  diameter in the short axis below the aortic bifurcation  was  allowed</a:t>
            </a: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85725" marR="0" lvl="0" indent="-85725" defTabSz="68580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ECOG PS 0–1</a:t>
            </a:r>
          </a:p>
          <a:p>
            <a:pPr marL="85725" marR="0" lvl="0" indent="-85725" defTabSz="68580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At screening:</a:t>
            </a:r>
          </a:p>
          <a:p>
            <a:pPr marL="557213" marR="0" lvl="1" indent="-214313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Hb ≥ 9.0 g/dl </a:t>
            </a:r>
          </a:p>
          <a:p>
            <a:pPr marL="557213" marR="0" lvl="1" indent="-214313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abs. neutrophil count ≥ 1500/µl</a:t>
            </a:r>
          </a:p>
          <a:p>
            <a:pPr marL="557213" marR="0" lvl="1" indent="-214313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platelet count ≥ 100,000/µl</a:t>
            </a:r>
          </a:p>
          <a:p>
            <a:pPr marL="0" marR="0" lvl="0" indent="0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79B0CE1B-F199-4251-AD37-566059148A47}"/>
              </a:ext>
            </a:extLst>
          </p:cNvPr>
          <p:cNvSpPr/>
          <p:nvPr/>
        </p:nvSpPr>
        <p:spPr>
          <a:xfrm>
            <a:off x="6545377" y="1959631"/>
            <a:ext cx="4914440" cy="3707842"/>
          </a:xfrm>
          <a:prstGeom prst="rect">
            <a:avLst/>
          </a:prstGeom>
          <a:solidFill>
            <a:srgbClr val="FFFFFF"/>
          </a:solidFill>
          <a:ln w="38100" cap="flat" cmpd="sng" algn="ctr">
            <a:solidFill>
              <a:srgbClr val="1F4597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Exclusion Criteria</a:t>
            </a:r>
            <a:endParaRPr kumimoji="0" lang="en-US" sz="2000" b="1" i="0" u="none" strike="noStrike" kern="0" cap="none" spc="0" normalizeH="0" baseline="3000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85725" marR="0" lvl="0" indent="-85725" defTabSz="68580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Metastases</a:t>
            </a:r>
          </a:p>
          <a:p>
            <a:pPr marL="85725" marR="0" lvl="0" indent="-85725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Prior treatment with second-generation ARIs or CYP17i</a:t>
            </a:r>
          </a:p>
          <a:p>
            <a:pPr marL="85725" marR="0" lvl="0" indent="-85725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Prior chemotherapy or immunotherapy for prostate cancer</a:t>
            </a:r>
          </a:p>
          <a:p>
            <a:pPr marL="85725" marR="0" lvl="0" indent="-85725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Use of systemic corticosteroid</a:t>
            </a:r>
          </a:p>
          <a:p>
            <a:pPr marL="85725" marR="0" lvl="0" indent="-85725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Radiation ≤12 weeks prior to randomization</a:t>
            </a:r>
          </a:p>
          <a:p>
            <a:pPr marL="85725" marR="0" lvl="0" indent="-85725" defTabSz="6858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kern="0">
                <a:solidFill>
                  <a:srgbClr val="000000"/>
                </a:solidFill>
                <a:latin typeface="Arial"/>
                <a:cs typeface="Arial"/>
              </a:rPr>
              <a:t>Osteoclast-targeted therapy</a:t>
            </a:r>
            <a:r>
              <a:rPr kumimoji="0" lang="en-US" sz="16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†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 use to prevent skeletal-related events ≤12 weeks prior to randomization</a:t>
            </a:r>
          </a:p>
        </p:txBody>
      </p:sp>
    </p:spTree>
    <p:extLst>
      <p:ext uri="{BB962C8B-B14F-4D97-AF65-F5344CB8AC3E}">
        <p14:creationId xmlns:p14="http://schemas.microsoft.com/office/powerpoint/2010/main" val="3538479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18586C-6F29-47EE-9FEE-4980CB4AEA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de-CH" b="1" dirty="0"/>
              <a:t>ARAMIS: Patient </a:t>
            </a:r>
            <a:r>
              <a:rPr lang="de-CH" b="1" dirty="0" err="1"/>
              <a:t>Demographics</a:t>
            </a:r>
            <a:r>
              <a:rPr lang="de-CH" b="1" dirty="0"/>
              <a:t> and Baseline Characteristics</a:t>
            </a:r>
            <a:r>
              <a:rPr lang="de-CH" baseline="30000" dirty="0"/>
              <a:t>8</a:t>
            </a:r>
            <a:endParaRPr lang="de-CH" b="1" baseline="30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2DA849-9292-4BA9-8A35-6CB2989505D0}"/>
              </a:ext>
            </a:extLst>
          </p:cNvPr>
          <p:cNvSpPr txBox="1">
            <a:spLocks/>
          </p:cNvSpPr>
          <p:nvPr/>
        </p:nvSpPr>
        <p:spPr>
          <a:xfrm>
            <a:off x="497731" y="6238775"/>
            <a:ext cx="11087911" cy="46166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*This category predominantly includes European countries (15% of these patients came from non-European countries). 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</a:rPr>
              <a:t>†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Testosterone values from screening or Day 1 could be used for eligibility and all patients met the inclusion criterion of having a testosterone value lower than 1.7 nmol/L. 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</a:rPr>
              <a:t>‡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Common prior hormonal therapies for prostate cancer (received by ≥10% of all patients) included leuprorelin (52%),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goserelin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 (32%), triptorelin (29%), bicalutamide (66%), flutamide (13%), and cyproterone (11%). 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</a:rPr>
              <a:t>¶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Patients who underwent surgical castration are not required to have been/being treated with hormonal drug therapy.</a:t>
            </a: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FDF5980F-52CD-4997-865E-8B081752F22A}"/>
              </a:ext>
            </a:extLst>
          </p:cNvPr>
          <p:cNvGraphicFramePr>
            <a:graphicFrameLocks/>
          </p:cNvGraphicFramePr>
          <p:nvPr/>
        </p:nvGraphicFramePr>
        <p:xfrm>
          <a:off x="811161" y="1296715"/>
          <a:ext cx="10602094" cy="4680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28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79618">
                  <a:extLst>
                    <a:ext uri="{9D8B030D-6E8A-4147-A177-3AD203B41FA5}">
                      <a16:colId xmlns:a16="http://schemas.microsoft.com/office/drawing/2014/main" val="2807223619"/>
                    </a:ext>
                  </a:extLst>
                </a:gridCol>
                <a:gridCol w="22796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883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 b="1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arolutamide + ADT (N=955)</a:t>
                      </a:r>
                      <a:endParaRPr lang="en-US" sz="1100" b="1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lacebo + ADT (N=554)</a:t>
                      </a:r>
                      <a:endParaRPr lang="en-US" sz="1100" b="1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edian age, years (range)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74 (48-95)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74 (50-92)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Geographical region, n (%)</a:t>
                      </a:r>
                      <a:endParaRPr lang="en-US" sz="1100" b="1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North America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8 (11)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76 (14)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Asia Pacific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19 (13)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67 (12)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st of world*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728 (76)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411 (74)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edian time from initial diagnosis (range), months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86.2 (2.6-337.5)</a:t>
                      </a:r>
                      <a:endParaRPr lang="en-US" sz="11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84.2 (0.5-344.7)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8836">
                <a:tc gridSpan="3">
                  <a:txBody>
                    <a:bodyPr/>
                    <a:lstStyle/>
                    <a:p>
                      <a:pPr marL="0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Baseline presence of regional pathological lymph nodes by central imaging review, n (%)</a:t>
                      </a:r>
                      <a:endParaRPr lang="en-US" sz="1100" b="1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endParaRPr lang="en-US" sz="16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3298" marR="43298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00 (10.5)</a:t>
                      </a:r>
                      <a:endParaRPr lang="en-US" sz="11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6 (11.9)</a:t>
                      </a:r>
                      <a:endParaRPr lang="en-US" sz="11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No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855 (89.5)</a:t>
                      </a:r>
                      <a:endParaRPr lang="en-US" sz="11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488 (88.1)</a:t>
                      </a:r>
                      <a:endParaRPr lang="en-US" sz="11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9997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PSA doubling time </a:t>
                      </a:r>
                      <a:endParaRPr lang="en-US" sz="1100" b="1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latin typeface="+mn-lt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latin typeface="+mn-lt"/>
                      </a:endParaRPr>
                    </a:p>
                  </a:txBody>
                  <a:tcPr marT="9144" marB="914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658922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Median (range), months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4.4 (0.7-11.0)</a:t>
                      </a:r>
                      <a:endParaRPr lang="en-US" sz="11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4.7 (0.7-13.2)</a:t>
                      </a:r>
                      <a:endParaRPr lang="en-US" sz="11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883173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≤6 months, n (%)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667 (70)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371 (67)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633207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&gt;6 months, n (%)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288 (30)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83 (33)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7464084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edian serum testosterone (range), nmol/L</a:t>
                      </a:r>
                      <a:r>
                        <a:rPr lang="en-US" sz="1100" baseline="30000">
                          <a:effectLst/>
                        </a:rPr>
                        <a:t>†</a:t>
                      </a:r>
                      <a:endParaRPr lang="en-US" sz="1100" baseline="300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0.6 (0.2-25.9)</a:t>
                      </a:r>
                      <a:endParaRPr lang="en-US" sz="11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0.6 (0.2-7.3)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9865544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ECOG performance status, n (%)</a:t>
                      </a:r>
                      <a:endParaRPr lang="en-US" sz="1100" b="1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424676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0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50 (68)</a:t>
                      </a:r>
                      <a:endParaRPr lang="en-US" sz="11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391 (71)</a:t>
                      </a:r>
                      <a:endParaRPr lang="en-US" sz="11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8242779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</a:t>
                      </a:r>
                      <a:endParaRPr lang="en-US" sz="110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305 (32)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163 (29)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045223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Use of bone-sparing agent, n (%)</a:t>
                      </a:r>
                      <a:endParaRPr lang="en-US" sz="1100" b="1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3373718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Yes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31 (3)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32 (6)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072914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No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924 (97)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522 (94)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4112721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Prior hormonal therapy</a:t>
                      </a:r>
                      <a:r>
                        <a:rPr lang="en-US" sz="1100" b="1" kern="1200" baseline="30000">
                          <a:effectLst/>
                        </a:rPr>
                        <a:t>‡</a:t>
                      </a:r>
                      <a:r>
                        <a:rPr lang="en-US" sz="1100" b="1">
                          <a:effectLst/>
                        </a:rPr>
                        <a:t>, n (%)</a:t>
                      </a:r>
                      <a:endParaRPr lang="en-US" sz="1100" b="1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985339"/>
                  </a:ext>
                </a:extLst>
              </a:tr>
              <a:tr h="168836">
                <a:tc>
                  <a:txBody>
                    <a:bodyPr/>
                    <a:lstStyle/>
                    <a:p>
                      <a:pPr marL="117475" marR="0" indent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177 (19)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103 (19)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3890753"/>
                  </a:ext>
                </a:extLst>
              </a:tr>
              <a:tr h="190955">
                <a:tc>
                  <a:txBody>
                    <a:bodyPr/>
                    <a:lstStyle/>
                    <a:p>
                      <a:pPr marL="117475" marR="0" indent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≥2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727 (76)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420 (76)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5296946"/>
                  </a:ext>
                </a:extLst>
              </a:tr>
              <a:tr h="241329">
                <a:tc>
                  <a:txBody>
                    <a:bodyPr/>
                    <a:lstStyle/>
                    <a:p>
                      <a:pPr marL="117475" marR="0" indent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Not applicable</a:t>
                      </a:r>
                      <a:r>
                        <a:rPr lang="en-US" sz="1100" kern="1200" baseline="30000">
                          <a:effectLst/>
                        </a:rPr>
                        <a:t>¶</a:t>
                      </a:r>
                      <a:endParaRPr lang="en-US" sz="1100" kern="1200" baseline="300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51 (5)</a:t>
                      </a:r>
                      <a:endParaRPr lang="en-US" sz="11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31 (5)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57240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575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5852D4-8D84-4C1A-8903-941BCE351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b="1" dirty="0"/>
              <a:t>ARAMIS: Metastasis-free Survival (MFS) </a:t>
            </a:r>
            <a:r>
              <a:rPr lang="en-US" baseline="30000" dirty="0"/>
              <a:t>8</a:t>
            </a:r>
            <a:endParaRPr lang="de-CH" b="1" baseline="300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ED5CDED-125D-41C6-AC0D-101B653F6B99}"/>
              </a:ext>
            </a:extLst>
          </p:cNvPr>
          <p:cNvSpPr txBox="1">
            <a:spLocks/>
          </p:cNvSpPr>
          <p:nvPr/>
        </p:nvSpPr>
        <p:spPr>
          <a:xfrm>
            <a:off x="425448" y="6522581"/>
            <a:ext cx="933693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1" dirty="0">
                <a:solidFill>
                  <a:schemeClr val="bg1">
                    <a:lumMod val="50000"/>
                  </a:schemeClr>
                </a:solidFill>
              </a:rPr>
              <a:t>ADT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, androgen deprivation therapy;</a:t>
            </a:r>
            <a:r>
              <a:rPr lang="en-US" sz="800" b="1" dirty="0">
                <a:solidFill>
                  <a:schemeClr val="bg1">
                    <a:lumMod val="50000"/>
                  </a:schemeClr>
                </a:solidFill>
              </a:rPr>
              <a:t> CI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, confidence interval; </a:t>
            </a:r>
            <a:r>
              <a:rPr lang="en-US" sz="800" b="1" dirty="0">
                <a:solidFill>
                  <a:schemeClr val="bg1">
                    <a:lumMod val="50000"/>
                  </a:schemeClr>
                </a:solidFill>
              </a:rPr>
              <a:t>HR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, hazard ratio; </a:t>
            </a:r>
            <a:r>
              <a:rPr lang="en-US" sz="800" b="1" dirty="0" err="1">
                <a:solidFill>
                  <a:schemeClr val="bg1">
                    <a:lumMod val="50000"/>
                  </a:schemeClr>
                </a:solidFill>
              </a:rPr>
              <a:t>mets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, metastases; </a:t>
            </a:r>
            <a:r>
              <a:rPr lang="en-US" sz="800" b="1" dirty="0">
                <a:solidFill>
                  <a:schemeClr val="bg1">
                    <a:lumMod val="50000"/>
                  </a:schemeClr>
                </a:solidFill>
              </a:rPr>
              <a:t>MFS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, metastasis-free survival.</a:t>
            </a:r>
          </a:p>
        </p:txBody>
      </p:sp>
      <p:grpSp>
        <p:nvGrpSpPr>
          <p:cNvPr id="5" name="Group 178">
            <a:extLst>
              <a:ext uri="{FF2B5EF4-FFF2-40B4-BE49-F238E27FC236}">
                <a16:creationId xmlns:a16="http://schemas.microsoft.com/office/drawing/2014/main" id="{F50F6384-5116-4F6E-A64F-20B0592C913D}"/>
              </a:ext>
            </a:extLst>
          </p:cNvPr>
          <p:cNvGrpSpPr/>
          <p:nvPr/>
        </p:nvGrpSpPr>
        <p:grpSpPr>
          <a:xfrm>
            <a:off x="1391089" y="1955524"/>
            <a:ext cx="9838427" cy="3910258"/>
            <a:chOff x="1156105" y="1391523"/>
            <a:chExt cx="12757176" cy="4787653"/>
          </a:xfrm>
        </p:grpSpPr>
        <p:grpSp>
          <p:nvGrpSpPr>
            <p:cNvPr id="6" name="Group 179">
              <a:extLst>
                <a:ext uri="{FF2B5EF4-FFF2-40B4-BE49-F238E27FC236}">
                  <a16:creationId xmlns:a16="http://schemas.microsoft.com/office/drawing/2014/main" id="{988F92BB-4FC5-4F18-89C2-8405F4DF60C8}"/>
                </a:ext>
              </a:extLst>
            </p:cNvPr>
            <p:cNvGrpSpPr/>
            <p:nvPr/>
          </p:nvGrpSpPr>
          <p:grpSpPr>
            <a:xfrm>
              <a:off x="1156105" y="1391523"/>
              <a:ext cx="9878203" cy="4787653"/>
              <a:chOff x="180197" y="1149791"/>
              <a:chExt cx="4716268" cy="3259040"/>
            </a:xfrm>
          </p:grpSpPr>
          <p:sp>
            <p:nvSpPr>
              <p:cNvPr id="15" name="Freeform 283">
                <a:extLst>
                  <a:ext uri="{FF2B5EF4-FFF2-40B4-BE49-F238E27FC236}">
                    <a16:creationId xmlns:a16="http://schemas.microsoft.com/office/drawing/2014/main" id="{0F48DB95-2287-4900-8C3C-EEE9EA5C31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275" y="1201196"/>
                <a:ext cx="3582422" cy="1323249"/>
              </a:xfrm>
              <a:custGeom>
                <a:avLst/>
                <a:gdLst>
                  <a:gd name="T0" fmla="*/ 0 w 2191"/>
                  <a:gd name="T1" fmla="*/ 77 h 798"/>
                  <a:gd name="T2" fmla="*/ 60 w 2191"/>
                  <a:gd name="T3" fmla="*/ 77 h 798"/>
                  <a:gd name="T4" fmla="*/ 93 w 2191"/>
                  <a:gd name="T5" fmla="*/ 81 h 798"/>
                  <a:gd name="T6" fmla="*/ 124 w 2191"/>
                  <a:gd name="T7" fmla="*/ 81 h 798"/>
                  <a:gd name="T8" fmla="*/ 173 w 2191"/>
                  <a:gd name="T9" fmla="*/ 90 h 798"/>
                  <a:gd name="T10" fmla="*/ 189 w 2191"/>
                  <a:gd name="T11" fmla="*/ 107 h 798"/>
                  <a:gd name="T12" fmla="*/ 240 w 2191"/>
                  <a:gd name="T13" fmla="*/ 126 h 798"/>
                  <a:gd name="T14" fmla="*/ 271 w 2191"/>
                  <a:gd name="T15" fmla="*/ 129 h 798"/>
                  <a:gd name="T16" fmla="*/ 287 w 2191"/>
                  <a:gd name="T17" fmla="*/ 134 h 798"/>
                  <a:gd name="T18" fmla="*/ 304 w 2191"/>
                  <a:gd name="T19" fmla="*/ 134 h 798"/>
                  <a:gd name="T20" fmla="*/ 340 w 2191"/>
                  <a:gd name="T21" fmla="*/ 137 h 798"/>
                  <a:gd name="T22" fmla="*/ 354 w 2191"/>
                  <a:gd name="T23" fmla="*/ 148 h 798"/>
                  <a:gd name="T24" fmla="*/ 370 w 2191"/>
                  <a:gd name="T25" fmla="*/ 158 h 798"/>
                  <a:gd name="T26" fmla="*/ 388 w 2191"/>
                  <a:gd name="T27" fmla="*/ 170 h 798"/>
                  <a:gd name="T28" fmla="*/ 416 w 2191"/>
                  <a:gd name="T29" fmla="*/ 176 h 798"/>
                  <a:gd name="T30" fmla="*/ 441 w 2191"/>
                  <a:gd name="T31" fmla="*/ 177 h 798"/>
                  <a:gd name="T32" fmla="*/ 444 w 2191"/>
                  <a:gd name="T33" fmla="*/ 182 h 798"/>
                  <a:gd name="T34" fmla="*/ 461 w 2191"/>
                  <a:gd name="T35" fmla="*/ 183 h 798"/>
                  <a:gd name="T36" fmla="*/ 489 w 2191"/>
                  <a:gd name="T37" fmla="*/ 187 h 798"/>
                  <a:gd name="T38" fmla="*/ 534 w 2191"/>
                  <a:gd name="T39" fmla="*/ 190 h 798"/>
                  <a:gd name="T40" fmla="*/ 538 w 2191"/>
                  <a:gd name="T41" fmla="*/ 219 h 798"/>
                  <a:gd name="T42" fmla="*/ 563 w 2191"/>
                  <a:gd name="T43" fmla="*/ 240 h 798"/>
                  <a:gd name="T44" fmla="*/ 572 w 2191"/>
                  <a:gd name="T45" fmla="*/ 246 h 798"/>
                  <a:gd name="T46" fmla="*/ 608 w 2191"/>
                  <a:gd name="T47" fmla="*/ 250 h 798"/>
                  <a:gd name="T48" fmla="*/ 711 w 2191"/>
                  <a:gd name="T49" fmla="*/ 253 h 798"/>
                  <a:gd name="T50" fmla="*/ 722 w 2191"/>
                  <a:gd name="T51" fmla="*/ 270 h 798"/>
                  <a:gd name="T52" fmla="*/ 727 w 2191"/>
                  <a:gd name="T53" fmla="*/ 275 h 798"/>
                  <a:gd name="T54" fmla="*/ 730 w 2191"/>
                  <a:gd name="T55" fmla="*/ 294 h 798"/>
                  <a:gd name="T56" fmla="*/ 743 w 2191"/>
                  <a:gd name="T57" fmla="*/ 298 h 798"/>
                  <a:gd name="T58" fmla="*/ 754 w 2191"/>
                  <a:gd name="T59" fmla="*/ 304 h 798"/>
                  <a:gd name="T60" fmla="*/ 770 w 2191"/>
                  <a:gd name="T61" fmla="*/ 307 h 798"/>
                  <a:gd name="T62" fmla="*/ 783 w 2191"/>
                  <a:gd name="T63" fmla="*/ 312 h 798"/>
                  <a:gd name="T64" fmla="*/ 850 w 2191"/>
                  <a:gd name="T65" fmla="*/ 315 h 798"/>
                  <a:gd name="T66" fmla="*/ 887 w 2191"/>
                  <a:gd name="T67" fmla="*/ 324 h 798"/>
                  <a:gd name="T68" fmla="*/ 909 w 2191"/>
                  <a:gd name="T69" fmla="*/ 342 h 798"/>
                  <a:gd name="T70" fmla="*/ 914 w 2191"/>
                  <a:gd name="T71" fmla="*/ 344 h 798"/>
                  <a:gd name="T72" fmla="*/ 934 w 2191"/>
                  <a:gd name="T73" fmla="*/ 346 h 798"/>
                  <a:gd name="T74" fmla="*/ 941 w 2191"/>
                  <a:gd name="T75" fmla="*/ 353 h 798"/>
                  <a:gd name="T76" fmla="*/ 988 w 2191"/>
                  <a:gd name="T77" fmla="*/ 358 h 798"/>
                  <a:gd name="T78" fmla="*/ 1023 w 2191"/>
                  <a:gd name="T79" fmla="*/ 365 h 798"/>
                  <a:gd name="T80" fmla="*/ 1091 w 2191"/>
                  <a:gd name="T81" fmla="*/ 382 h 798"/>
                  <a:gd name="T82" fmla="*/ 1095 w 2191"/>
                  <a:gd name="T83" fmla="*/ 395 h 798"/>
                  <a:gd name="T84" fmla="*/ 1107 w 2191"/>
                  <a:gd name="T85" fmla="*/ 403 h 798"/>
                  <a:gd name="T86" fmla="*/ 1122 w 2191"/>
                  <a:gd name="T87" fmla="*/ 417 h 798"/>
                  <a:gd name="T88" fmla="*/ 1132 w 2191"/>
                  <a:gd name="T89" fmla="*/ 420 h 798"/>
                  <a:gd name="T90" fmla="*/ 1138 w 2191"/>
                  <a:gd name="T91" fmla="*/ 427 h 798"/>
                  <a:gd name="T92" fmla="*/ 1257 w 2191"/>
                  <a:gd name="T93" fmla="*/ 433 h 798"/>
                  <a:gd name="T94" fmla="*/ 1276 w 2191"/>
                  <a:gd name="T95" fmla="*/ 443 h 798"/>
                  <a:gd name="T96" fmla="*/ 1279 w 2191"/>
                  <a:gd name="T97" fmla="*/ 467 h 798"/>
                  <a:gd name="T98" fmla="*/ 1444 w 2191"/>
                  <a:gd name="T99" fmla="*/ 477 h 798"/>
                  <a:gd name="T100" fmla="*/ 1458 w 2191"/>
                  <a:gd name="T101" fmla="*/ 506 h 798"/>
                  <a:gd name="T102" fmla="*/ 1482 w 2191"/>
                  <a:gd name="T103" fmla="*/ 526 h 798"/>
                  <a:gd name="T104" fmla="*/ 1629 w 2191"/>
                  <a:gd name="T105" fmla="*/ 539 h 798"/>
                  <a:gd name="T106" fmla="*/ 1648 w 2191"/>
                  <a:gd name="T107" fmla="*/ 589 h 798"/>
                  <a:gd name="T108" fmla="*/ 1698 w 2191"/>
                  <a:gd name="T109" fmla="*/ 612 h 798"/>
                  <a:gd name="T110" fmla="*/ 1770 w 2191"/>
                  <a:gd name="T111" fmla="*/ 654 h 798"/>
                  <a:gd name="T112" fmla="*/ 2006 w 2191"/>
                  <a:gd name="T113" fmla="*/ 720 h 7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191" h="798">
                    <a:moveTo>
                      <a:pt x="0" y="0"/>
                    </a:moveTo>
                    <a:lnTo>
                      <a:pt x="0" y="74"/>
                    </a:lnTo>
                    <a:lnTo>
                      <a:pt x="0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60" y="77"/>
                    </a:lnTo>
                    <a:lnTo>
                      <a:pt x="60" y="80"/>
                    </a:lnTo>
                    <a:lnTo>
                      <a:pt x="93" y="80"/>
                    </a:lnTo>
                    <a:lnTo>
                      <a:pt x="93" y="81"/>
                    </a:lnTo>
                    <a:lnTo>
                      <a:pt x="111" y="81"/>
                    </a:lnTo>
                    <a:lnTo>
                      <a:pt x="111" y="81"/>
                    </a:lnTo>
                    <a:lnTo>
                      <a:pt x="124" y="81"/>
                    </a:lnTo>
                    <a:lnTo>
                      <a:pt x="124" y="84"/>
                    </a:lnTo>
                    <a:lnTo>
                      <a:pt x="173" y="84"/>
                    </a:lnTo>
                    <a:lnTo>
                      <a:pt x="173" y="90"/>
                    </a:lnTo>
                    <a:lnTo>
                      <a:pt x="178" y="90"/>
                    </a:lnTo>
                    <a:lnTo>
                      <a:pt x="178" y="107"/>
                    </a:lnTo>
                    <a:lnTo>
                      <a:pt x="189" y="107"/>
                    </a:lnTo>
                    <a:lnTo>
                      <a:pt x="189" y="122"/>
                    </a:lnTo>
                    <a:lnTo>
                      <a:pt x="240" y="122"/>
                    </a:lnTo>
                    <a:lnTo>
                      <a:pt x="240" y="126"/>
                    </a:lnTo>
                    <a:lnTo>
                      <a:pt x="249" y="126"/>
                    </a:lnTo>
                    <a:lnTo>
                      <a:pt x="249" y="129"/>
                    </a:lnTo>
                    <a:lnTo>
                      <a:pt x="271" y="129"/>
                    </a:lnTo>
                    <a:lnTo>
                      <a:pt x="271" y="131"/>
                    </a:lnTo>
                    <a:lnTo>
                      <a:pt x="287" y="131"/>
                    </a:lnTo>
                    <a:lnTo>
                      <a:pt x="287" y="134"/>
                    </a:lnTo>
                    <a:lnTo>
                      <a:pt x="297" y="134"/>
                    </a:lnTo>
                    <a:lnTo>
                      <a:pt x="297" y="134"/>
                    </a:lnTo>
                    <a:lnTo>
                      <a:pt x="304" y="134"/>
                    </a:lnTo>
                    <a:lnTo>
                      <a:pt x="304" y="137"/>
                    </a:lnTo>
                    <a:lnTo>
                      <a:pt x="338" y="137"/>
                    </a:lnTo>
                    <a:lnTo>
                      <a:pt x="340" y="137"/>
                    </a:lnTo>
                    <a:lnTo>
                      <a:pt x="340" y="142"/>
                    </a:lnTo>
                    <a:lnTo>
                      <a:pt x="354" y="142"/>
                    </a:lnTo>
                    <a:lnTo>
                      <a:pt x="354" y="148"/>
                    </a:lnTo>
                    <a:lnTo>
                      <a:pt x="359" y="148"/>
                    </a:lnTo>
                    <a:lnTo>
                      <a:pt x="359" y="158"/>
                    </a:lnTo>
                    <a:lnTo>
                      <a:pt x="370" y="158"/>
                    </a:lnTo>
                    <a:lnTo>
                      <a:pt x="370" y="163"/>
                    </a:lnTo>
                    <a:lnTo>
                      <a:pt x="370" y="170"/>
                    </a:lnTo>
                    <a:lnTo>
                      <a:pt x="388" y="170"/>
                    </a:lnTo>
                    <a:lnTo>
                      <a:pt x="388" y="173"/>
                    </a:lnTo>
                    <a:lnTo>
                      <a:pt x="416" y="173"/>
                    </a:lnTo>
                    <a:lnTo>
                      <a:pt x="416" y="176"/>
                    </a:lnTo>
                    <a:lnTo>
                      <a:pt x="439" y="176"/>
                    </a:lnTo>
                    <a:lnTo>
                      <a:pt x="439" y="177"/>
                    </a:lnTo>
                    <a:lnTo>
                      <a:pt x="441" y="177"/>
                    </a:lnTo>
                    <a:lnTo>
                      <a:pt x="441" y="180"/>
                    </a:lnTo>
                    <a:lnTo>
                      <a:pt x="444" y="180"/>
                    </a:lnTo>
                    <a:lnTo>
                      <a:pt x="444" y="182"/>
                    </a:lnTo>
                    <a:lnTo>
                      <a:pt x="447" y="182"/>
                    </a:lnTo>
                    <a:lnTo>
                      <a:pt x="447" y="183"/>
                    </a:lnTo>
                    <a:lnTo>
                      <a:pt x="461" y="183"/>
                    </a:lnTo>
                    <a:lnTo>
                      <a:pt x="461" y="185"/>
                    </a:lnTo>
                    <a:lnTo>
                      <a:pt x="489" y="185"/>
                    </a:lnTo>
                    <a:lnTo>
                      <a:pt x="489" y="187"/>
                    </a:lnTo>
                    <a:lnTo>
                      <a:pt x="506" y="187"/>
                    </a:lnTo>
                    <a:lnTo>
                      <a:pt x="506" y="190"/>
                    </a:lnTo>
                    <a:lnTo>
                      <a:pt x="534" y="190"/>
                    </a:lnTo>
                    <a:lnTo>
                      <a:pt x="534" y="202"/>
                    </a:lnTo>
                    <a:lnTo>
                      <a:pt x="538" y="202"/>
                    </a:lnTo>
                    <a:lnTo>
                      <a:pt x="538" y="219"/>
                    </a:lnTo>
                    <a:lnTo>
                      <a:pt x="544" y="219"/>
                    </a:lnTo>
                    <a:lnTo>
                      <a:pt x="544" y="240"/>
                    </a:lnTo>
                    <a:lnTo>
                      <a:pt x="563" y="240"/>
                    </a:lnTo>
                    <a:lnTo>
                      <a:pt x="563" y="243"/>
                    </a:lnTo>
                    <a:lnTo>
                      <a:pt x="572" y="243"/>
                    </a:lnTo>
                    <a:lnTo>
                      <a:pt x="572" y="246"/>
                    </a:lnTo>
                    <a:lnTo>
                      <a:pt x="578" y="246"/>
                    </a:lnTo>
                    <a:lnTo>
                      <a:pt x="578" y="250"/>
                    </a:lnTo>
                    <a:lnTo>
                      <a:pt x="608" y="250"/>
                    </a:lnTo>
                    <a:lnTo>
                      <a:pt x="685" y="250"/>
                    </a:lnTo>
                    <a:lnTo>
                      <a:pt x="685" y="253"/>
                    </a:lnTo>
                    <a:lnTo>
                      <a:pt x="711" y="253"/>
                    </a:lnTo>
                    <a:lnTo>
                      <a:pt x="711" y="256"/>
                    </a:lnTo>
                    <a:lnTo>
                      <a:pt x="722" y="256"/>
                    </a:lnTo>
                    <a:lnTo>
                      <a:pt x="722" y="270"/>
                    </a:lnTo>
                    <a:lnTo>
                      <a:pt x="724" y="270"/>
                    </a:lnTo>
                    <a:lnTo>
                      <a:pt x="724" y="275"/>
                    </a:lnTo>
                    <a:lnTo>
                      <a:pt x="727" y="275"/>
                    </a:lnTo>
                    <a:lnTo>
                      <a:pt x="727" y="279"/>
                    </a:lnTo>
                    <a:lnTo>
                      <a:pt x="730" y="279"/>
                    </a:lnTo>
                    <a:lnTo>
                      <a:pt x="730" y="294"/>
                    </a:lnTo>
                    <a:lnTo>
                      <a:pt x="736" y="294"/>
                    </a:lnTo>
                    <a:lnTo>
                      <a:pt x="736" y="298"/>
                    </a:lnTo>
                    <a:lnTo>
                      <a:pt x="743" y="298"/>
                    </a:lnTo>
                    <a:lnTo>
                      <a:pt x="743" y="302"/>
                    </a:lnTo>
                    <a:lnTo>
                      <a:pt x="754" y="302"/>
                    </a:lnTo>
                    <a:lnTo>
                      <a:pt x="754" y="304"/>
                    </a:lnTo>
                    <a:lnTo>
                      <a:pt x="758" y="304"/>
                    </a:lnTo>
                    <a:lnTo>
                      <a:pt x="758" y="307"/>
                    </a:lnTo>
                    <a:lnTo>
                      <a:pt x="770" y="307"/>
                    </a:lnTo>
                    <a:lnTo>
                      <a:pt x="770" y="310"/>
                    </a:lnTo>
                    <a:lnTo>
                      <a:pt x="783" y="310"/>
                    </a:lnTo>
                    <a:lnTo>
                      <a:pt x="783" y="312"/>
                    </a:lnTo>
                    <a:lnTo>
                      <a:pt x="799" y="312"/>
                    </a:lnTo>
                    <a:lnTo>
                      <a:pt x="799" y="315"/>
                    </a:lnTo>
                    <a:lnTo>
                      <a:pt x="850" y="315"/>
                    </a:lnTo>
                    <a:lnTo>
                      <a:pt x="850" y="318"/>
                    </a:lnTo>
                    <a:lnTo>
                      <a:pt x="887" y="318"/>
                    </a:lnTo>
                    <a:lnTo>
                      <a:pt x="887" y="324"/>
                    </a:lnTo>
                    <a:lnTo>
                      <a:pt x="903" y="324"/>
                    </a:lnTo>
                    <a:lnTo>
                      <a:pt x="903" y="342"/>
                    </a:lnTo>
                    <a:lnTo>
                      <a:pt x="909" y="342"/>
                    </a:lnTo>
                    <a:lnTo>
                      <a:pt x="909" y="343"/>
                    </a:lnTo>
                    <a:lnTo>
                      <a:pt x="914" y="343"/>
                    </a:lnTo>
                    <a:lnTo>
                      <a:pt x="914" y="344"/>
                    </a:lnTo>
                    <a:lnTo>
                      <a:pt x="924" y="344"/>
                    </a:lnTo>
                    <a:lnTo>
                      <a:pt x="924" y="346"/>
                    </a:lnTo>
                    <a:lnTo>
                      <a:pt x="934" y="346"/>
                    </a:lnTo>
                    <a:lnTo>
                      <a:pt x="934" y="349"/>
                    </a:lnTo>
                    <a:lnTo>
                      <a:pt x="941" y="349"/>
                    </a:lnTo>
                    <a:lnTo>
                      <a:pt x="941" y="353"/>
                    </a:lnTo>
                    <a:lnTo>
                      <a:pt x="947" y="353"/>
                    </a:lnTo>
                    <a:lnTo>
                      <a:pt x="947" y="358"/>
                    </a:lnTo>
                    <a:lnTo>
                      <a:pt x="988" y="358"/>
                    </a:lnTo>
                    <a:lnTo>
                      <a:pt x="988" y="360"/>
                    </a:lnTo>
                    <a:lnTo>
                      <a:pt x="1023" y="360"/>
                    </a:lnTo>
                    <a:lnTo>
                      <a:pt x="1023" y="365"/>
                    </a:lnTo>
                    <a:lnTo>
                      <a:pt x="1088" y="365"/>
                    </a:lnTo>
                    <a:lnTo>
                      <a:pt x="1088" y="382"/>
                    </a:lnTo>
                    <a:lnTo>
                      <a:pt x="1091" y="382"/>
                    </a:lnTo>
                    <a:lnTo>
                      <a:pt x="1091" y="391"/>
                    </a:lnTo>
                    <a:lnTo>
                      <a:pt x="1095" y="391"/>
                    </a:lnTo>
                    <a:lnTo>
                      <a:pt x="1095" y="395"/>
                    </a:lnTo>
                    <a:lnTo>
                      <a:pt x="1101" y="395"/>
                    </a:lnTo>
                    <a:lnTo>
                      <a:pt x="1101" y="403"/>
                    </a:lnTo>
                    <a:lnTo>
                      <a:pt x="1107" y="403"/>
                    </a:lnTo>
                    <a:lnTo>
                      <a:pt x="1107" y="411"/>
                    </a:lnTo>
                    <a:lnTo>
                      <a:pt x="1122" y="411"/>
                    </a:lnTo>
                    <a:lnTo>
                      <a:pt x="1122" y="417"/>
                    </a:lnTo>
                    <a:lnTo>
                      <a:pt x="1129" y="417"/>
                    </a:lnTo>
                    <a:lnTo>
                      <a:pt x="1129" y="420"/>
                    </a:lnTo>
                    <a:lnTo>
                      <a:pt x="1132" y="420"/>
                    </a:lnTo>
                    <a:lnTo>
                      <a:pt x="1132" y="421"/>
                    </a:lnTo>
                    <a:lnTo>
                      <a:pt x="1138" y="421"/>
                    </a:lnTo>
                    <a:lnTo>
                      <a:pt x="1138" y="427"/>
                    </a:lnTo>
                    <a:lnTo>
                      <a:pt x="1149" y="427"/>
                    </a:lnTo>
                    <a:lnTo>
                      <a:pt x="1149" y="433"/>
                    </a:lnTo>
                    <a:lnTo>
                      <a:pt x="1257" y="433"/>
                    </a:lnTo>
                    <a:lnTo>
                      <a:pt x="1268" y="433"/>
                    </a:lnTo>
                    <a:lnTo>
                      <a:pt x="1268" y="443"/>
                    </a:lnTo>
                    <a:lnTo>
                      <a:pt x="1276" y="443"/>
                    </a:lnTo>
                    <a:lnTo>
                      <a:pt x="1276" y="458"/>
                    </a:lnTo>
                    <a:lnTo>
                      <a:pt x="1279" y="458"/>
                    </a:lnTo>
                    <a:lnTo>
                      <a:pt x="1279" y="467"/>
                    </a:lnTo>
                    <a:lnTo>
                      <a:pt x="1287" y="467"/>
                    </a:lnTo>
                    <a:lnTo>
                      <a:pt x="1287" y="477"/>
                    </a:lnTo>
                    <a:lnTo>
                      <a:pt x="1444" y="477"/>
                    </a:lnTo>
                    <a:lnTo>
                      <a:pt x="1444" y="487"/>
                    </a:lnTo>
                    <a:lnTo>
                      <a:pt x="1444" y="506"/>
                    </a:lnTo>
                    <a:lnTo>
                      <a:pt x="1458" y="506"/>
                    </a:lnTo>
                    <a:lnTo>
                      <a:pt x="1458" y="510"/>
                    </a:lnTo>
                    <a:lnTo>
                      <a:pt x="1482" y="510"/>
                    </a:lnTo>
                    <a:lnTo>
                      <a:pt x="1482" y="526"/>
                    </a:lnTo>
                    <a:lnTo>
                      <a:pt x="1524" y="526"/>
                    </a:lnTo>
                    <a:lnTo>
                      <a:pt x="1524" y="539"/>
                    </a:lnTo>
                    <a:lnTo>
                      <a:pt x="1629" y="539"/>
                    </a:lnTo>
                    <a:lnTo>
                      <a:pt x="1629" y="568"/>
                    </a:lnTo>
                    <a:lnTo>
                      <a:pt x="1648" y="568"/>
                    </a:lnTo>
                    <a:lnTo>
                      <a:pt x="1648" y="589"/>
                    </a:lnTo>
                    <a:lnTo>
                      <a:pt x="1650" y="589"/>
                    </a:lnTo>
                    <a:lnTo>
                      <a:pt x="1650" y="612"/>
                    </a:lnTo>
                    <a:lnTo>
                      <a:pt x="1698" y="612"/>
                    </a:lnTo>
                    <a:lnTo>
                      <a:pt x="1698" y="632"/>
                    </a:lnTo>
                    <a:lnTo>
                      <a:pt x="1770" y="632"/>
                    </a:lnTo>
                    <a:lnTo>
                      <a:pt x="1770" y="654"/>
                    </a:lnTo>
                    <a:lnTo>
                      <a:pt x="1999" y="654"/>
                    </a:lnTo>
                    <a:lnTo>
                      <a:pt x="1999" y="720"/>
                    </a:lnTo>
                    <a:lnTo>
                      <a:pt x="2006" y="720"/>
                    </a:lnTo>
                    <a:lnTo>
                      <a:pt x="2006" y="798"/>
                    </a:lnTo>
                    <a:lnTo>
                      <a:pt x="2191" y="798"/>
                    </a:lnTo>
                  </a:path>
                </a:pathLst>
              </a:custGeom>
              <a:noFill/>
              <a:ln w="28575" cap="flat">
                <a:solidFill>
                  <a:srgbClr val="63BC4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Freeform 284">
                <a:extLst>
                  <a:ext uri="{FF2B5EF4-FFF2-40B4-BE49-F238E27FC236}">
                    <a16:creationId xmlns:a16="http://schemas.microsoft.com/office/drawing/2014/main" id="{9B9A88D2-C4BA-4440-A020-EBF2BAAE03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275" y="1201196"/>
                <a:ext cx="2985624" cy="2371236"/>
              </a:xfrm>
              <a:custGeom>
                <a:avLst/>
                <a:gdLst>
                  <a:gd name="T0" fmla="*/ 57 w 1826"/>
                  <a:gd name="T1" fmla="*/ 102 h 1430"/>
                  <a:gd name="T2" fmla="*/ 132 w 1826"/>
                  <a:gd name="T3" fmla="*/ 112 h 1430"/>
                  <a:gd name="T4" fmla="*/ 170 w 1826"/>
                  <a:gd name="T5" fmla="*/ 118 h 1430"/>
                  <a:gd name="T6" fmla="*/ 178 w 1826"/>
                  <a:gd name="T7" fmla="*/ 153 h 1430"/>
                  <a:gd name="T8" fmla="*/ 182 w 1826"/>
                  <a:gd name="T9" fmla="*/ 183 h 1430"/>
                  <a:gd name="T10" fmla="*/ 188 w 1826"/>
                  <a:gd name="T11" fmla="*/ 244 h 1430"/>
                  <a:gd name="T12" fmla="*/ 191 w 1826"/>
                  <a:gd name="T13" fmla="*/ 264 h 1430"/>
                  <a:gd name="T14" fmla="*/ 227 w 1826"/>
                  <a:gd name="T15" fmla="*/ 267 h 1430"/>
                  <a:gd name="T16" fmla="*/ 255 w 1826"/>
                  <a:gd name="T17" fmla="*/ 275 h 1430"/>
                  <a:gd name="T18" fmla="*/ 319 w 1826"/>
                  <a:gd name="T19" fmla="*/ 278 h 1430"/>
                  <a:gd name="T20" fmla="*/ 343 w 1826"/>
                  <a:gd name="T21" fmla="*/ 286 h 1430"/>
                  <a:gd name="T22" fmla="*/ 356 w 1826"/>
                  <a:gd name="T23" fmla="*/ 324 h 1430"/>
                  <a:gd name="T24" fmla="*/ 358 w 1826"/>
                  <a:gd name="T25" fmla="*/ 331 h 1430"/>
                  <a:gd name="T26" fmla="*/ 364 w 1826"/>
                  <a:gd name="T27" fmla="*/ 352 h 1430"/>
                  <a:gd name="T28" fmla="*/ 367 w 1826"/>
                  <a:gd name="T29" fmla="*/ 369 h 1430"/>
                  <a:gd name="T30" fmla="*/ 371 w 1826"/>
                  <a:gd name="T31" fmla="*/ 388 h 1430"/>
                  <a:gd name="T32" fmla="*/ 375 w 1826"/>
                  <a:gd name="T33" fmla="*/ 401 h 1430"/>
                  <a:gd name="T34" fmla="*/ 466 w 1826"/>
                  <a:gd name="T35" fmla="*/ 406 h 1430"/>
                  <a:gd name="T36" fmla="*/ 482 w 1826"/>
                  <a:gd name="T37" fmla="*/ 417 h 1430"/>
                  <a:gd name="T38" fmla="*/ 538 w 1826"/>
                  <a:gd name="T39" fmla="*/ 429 h 1430"/>
                  <a:gd name="T40" fmla="*/ 544 w 1826"/>
                  <a:gd name="T41" fmla="*/ 474 h 1430"/>
                  <a:gd name="T42" fmla="*/ 556 w 1826"/>
                  <a:gd name="T43" fmla="*/ 501 h 1430"/>
                  <a:gd name="T44" fmla="*/ 567 w 1826"/>
                  <a:gd name="T45" fmla="*/ 519 h 1430"/>
                  <a:gd name="T46" fmla="*/ 612 w 1826"/>
                  <a:gd name="T47" fmla="*/ 523 h 1430"/>
                  <a:gd name="T48" fmla="*/ 666 w 1826"/>
                  <a:gd name="T49" fmla="*/ 539 h 1430"/>
                  <a:gd name="T50" fmla="*/ 717 w 1826"/>
                  <a:gd name="T51" fmla="*/ 544 h 1430"/>
                  <a:gd name="T52" fmla="*/ 720 w 1826"/>
                  <a:gd name="T53" fmla="*/ 579 h 1430"/>
                  <a:gd name="T54" fmla="*/ 735 w 1826"/>
                  <a:gd name="T55" fmla="*/ 602 h 1430"/>
                  <a:gd name="T56" fmla="*/ 751 w 1826"/>
                  <a:gd name="T57" fmla="*/ 637 h 1430"/>
                  <a:gd name="T58" fmla="*/ 841 w 1826"/>
                  <a:gd name="T59" fmla="*/ 645 h 1430"/>
                  <a:gd name="T60" fmla="*/ 854 w 1826"/>
                  <a:gd name="T61" fmla="*/ 657 h 1430"/>
                  <a:gd name="T62" fmla="*/ 906 w 1826"/>
                  <a:gd name="T63" fmla="*/ 673 h 1430"/>
                  <a:gd name="T64" fmla="*/ 912 w 1826"/>
                  <a:gd name="T65" fmla="*/ 715 h 1430"/>
                  <a:gd name="T66" fmla="*/ 946 w 1826"/>
                  <a:gd name="T67" fmla="*/ 734 h 1430"/>
                  <a:gd name="T68" fmla="*/ 1092 w 1826"/>
                  <a:gd name="T69" fmla="*/ 794 h 1430"/>
                  <a:gd name="T70" fmla="*/ 1113 w 1826"/>
                  <a:gd name="T71" fmla="*/ 824 h 1430"/>
                  <a:gd name="T72" fmla="*/ 1251 w 1826"/>
                  <a:gd name="T73" fmla="*/ 847 h 1430"/>
                  <a:gd name="T74" fmla="*/ 1276 w 1826"/>
                  <a:gd name="T75" fmla="*/ 858 h 1430"/>
                  <a:gd name="T76" fmla="*/ 1444 w 1826"/>
                  <a:gd name="T77" fmla="*/ 887 h 1430"/>
                  <a:gd name="T78" fmla="*/ 1519 w 1826"/>
                  <a:gd name="T79" fmla="*/ 917 h 1430"/>
                  <a:gd name="T80" fmla="*/ 1625 w 1826"/>
                  <a:gd name="T81" fmla="*/ 1000 h 1430"/>
                  <a:gd name="T82" fmla="*/ 1817 w 1826"/>
                  <a:gd name="T83" fmla="*/ 1047 h 1430"/>
                  <a:gd name="T84" fmla="*/ 1826 w 1826"/>
                  <a:gd name="T85" fmla="*/ 1430 h 1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26" h="1430">
                    <a:moveTo>
                      <a:pt x="0" y="0"/>
                    </a:moveTo>
                    <a:lnTo>
                      <a:pt x="0" y="102"/>
                    </a:lnTo>
                    <a:lnTo>
                      <a:pt x="57" y="102"/>
                    </a:lnTo>
                    <a:lnTo>
                      <a:pt x="57" y="105"/>
                    </a:lnTo>
                    <a:lnTo>
                      <a:pt x="132" y="105"/>
                    </a:lnTo>
                    <a:lnTo>
                      <a:pt x="132" y="112"/>
                    </a:lnTo>
                    <a:lnTo>
                      <a:pt x="157" y="112"/>
                    </a:lnTo>
                    <a:lnTo>
                      <a:pt x="157" y="118"/>
                    </a:lnTo>
                    <a:lnTo>
                      <a:pt x="170" y="118"/>
                    </a:lnTo>
                    <a:lnTo>
                      <a:pt x="170" y="150"/>
                    </a:lnTo>
                    <a:lnTo>
                      <a:pt x="178" y="150"/>
                    </a:lnTo>
                    <a:lnTo>
                      <a:pt x="178" y="153"/>
                    </a:lnTo>
                    <a:lnTo>
                      <a:pt x="180" y="153"/>
                    </a:lnTo>
                    <a:lnTo>
                      <a:pt x="180" y="183"/>
                    </a:lnTo>
                    <a:lnTo>
                      <a:pt x="182" y="183"/>
                    </a:lnTo>
                    <a:lnTo>
                      <a:pt x="182" y="238"/>
                    </a:lnTo>
                    <a:lnTo>
                      <a:pt x="182" y="244"/>
                    </a:lnTo>
                    <a:lnTo>
                      <a:pt x="188" y="244"/>
                    </a:lnTo>
                    <a:lnTo>
                      <a:pt x="188" y="256"/>
                    </a:lnTo>
                    <a:lnTo>
                      <a:pt x="191" y="256"/>
                    </a:lnTo>
                    <a:lnTo>
                      <a:pt x="191" y="264"/>
                    </a:lnTo>
                    <a:lnTo>
                      <a:pt x="211" y="264"/>
                    </a:lnTo>
                    <a:lnTo>
                      <a:pt x="211" y="267"/>
                    </a:lnTo>
                    <a:lnTo>
                      <a:pt x="227" y="267"/>
                    </a:lnTo>
                    <a:lnTo>
                      <a:pt x="227" y="272"/>
                    </a:lnTo>
                    <a:lnTo>
                      <a:pt x="255" y="272"/>
                    </a:lnTo>
                    <a:lnTo>
                      <a:pt x="255" y="275"/>
                    </a:lnTo>
                    <a:lnTo>
                      <a:pt x="284" y="275"/>
                    </a:lnTo>
                    <a:lnTo>
                      <a:pt x="284" y="278"/>
                    </a:lnTo>
                    <a:lnTo>
                      <a:pt x="319" y="278"/>
                    </a:lnTo>
                    <a:lnTo>
                      <a:pt x="319" y="282"/>
                    </a:lnTo>
                    <a:lnTo>
                      <a:pt x="343" y="282"/>
                    </a:lnTo>
                    <a:lnTo>
                      <a:pt x="343" y="286"/>
                    </a:lnTo>
                    <a:lnTo>
                      <a:pt x="355" y="286"/>
                    </a:lnTo>
                    <a:lnTo>
                      <a:pt x="355" y="324"/>
                    </a:lnTo>
                    <a:lnTo>
                      <a:pt x="356" y="324"/>
                    </a:lnTo>
                    <a:lnTo>
                      <a:pt x="356" y="330"/>
                    </a:lnTo>
                    <a:lnTo>
                      <a:pt x="358" y="330"/>
                    </a:lnTo>
                    <a:lnTo>
                      <a:pt x="358" y="331"/>
                    </a:lnTo>
                    <a:lnTo>
                      <a:pt x="361" y="331"/>
                    </a:lnTo>
                    <a:lnTo>
                      <a:pt x="361" y="352"/>
                    </a:lnTo>
                    <a:lnTo>
                      <a:pt x="364" y="352"/>
                    </a:lnTo>
                    <a:lnTo>
                      <a:pt x="364" y="356"/>
                    </a:lnTo>
                    <a:lnTo>
                      <a:pt x="367" y="356"/>
                    </a:lnTo>
                    <a:lnTo>
                      <a:pt x="367" y="369"/>
                    </a:lnTo>
                    <a:lnTo>
                      <a:pt x="368" y="369"/>
                    </a:lnTo>
                    <a:lnTo>
                      <a:pt x="368" y="388"/>
                    </a:lnTo>
                    <a:lnTo>
                      <a:pt x="371" y="388"/>
                    </a:lnTo>
                    <a:lnTo>
                      <a:pt x="371" y="392"/>
                    </a:lnTo>
                    <a:lnTo>
                      <a:pt x="375" y="392"/>
                    </a:lnTo>
                    <a:lnTo>
                      <a:pt x="375" y="401"/>
                    </a:lnTo>
                    <a:lnTo>
                      <a:pt x="409" y="401"/>
                    </a:lnTo>
                    <a:lnTo>
                      <a:pt x="409" y="406"/>
                    </a:lnTo>
                    <a:lnTo>
                      <a:pt x="466" y="406"/>
                    </a:lnTo>
                    <a:lnTo>
                      <a:pt x="466" y="410"/>
                    </a:lnTo>
                    <a:lnTo>
                      <a:pt x="482" y="410"/>
                    </a:lnTo>
                    <a:lnTo>
                      <a:pt x="482" y="417"/>
                    </a:lnTo>
                    <a:lnTo>
                      <a:pt x="532" y="417"/>
                    </a:lnTo>
                    <a:lnTo>
                      <a:pt x="532" y="429"/>
                    </a:lnTo>
                    <a:lnTo>
                      <a:pt x="538" y="429"/>
                    </a:lnTo>
                    <a:lnTo>
                      <a:pt x="538" y="468"/>
                    </a:lnTo>
                    <a:lnTo>
                      <a:pt x="544" y="468"/>
                    </a:lnTo>
                    <a:lnTo>
                      <a:pt x="544" y="474"/>
                    </a:lnTo>
                    <a:lnTo>
                      <a:pt x="547" y="474"/>
                    </a:lnTo>
                    <a:lnTo>
                      <a:pt x="547" y="501"/>
                    </a:lnTo>
                    <a:lnTo>
                      <a:pt x="556" y="501"/>
                    </a:lnTo>
                    <a:lnTo>
                      <a:pt x="556" y="510"/>
                    </a:lnTo>
                    <a:lnTo>
                      <a:pt x="567" y="510"/>
                    </a:lnTo>
                    <a:lnTo>
                      <a:pt x="567" y="519"/>
                    </a:lnTo>
                    <a:lnTo>
                      <a:pt x="594" y="519"/>
                    </a:lnTo>
                    <a:lnTo>
                      <a:pt x="594" y="523"/>
                    </a:lnTo>
                    <a:lnTo>
                      <a:pt x="612" y="523"/>
                    </a:lnTo>
                    <a:lnTo>
                      <a:pt x="612" y="533"/>
                    </a:lnTo>
                    <a:lnTo>
                      <a:pt x="666" y="533"/>
                    </a:lnTo>
                    <a:lnTo>
                      <a:pt x="666" y="539"/>
                    </a:lnTo>
                    <a:lnTo>
                      <a:pt x="682" y="539"/>
                    </a:lnTo>
                    <a:lnTo>
                      <a:pt x="682" y="544"/>
                    </a:lnTo>
                    <a:lnTo>
                      <a:pt x="717" y="544"/>
                    </a:lnTo>
                    <a:lnTo>
                      <a:pt x="717" y="557"/>
                    </a:lnTo>
                    <a:lnTo>
                      <a:pt x="720" y="557"/>
                    </a:lnTo>
                    <a:lnTo>
                      <a:pt x="720" y="579"/>
                    </a:lnTo>
                    <a:lnTo>
                      <a:pt x="727" y="579"/>
                    </a:lnTo>
                    <a:lnTo>
                      <a:pt x="727" y="602"/>
                    </a:lnTo>
                    <a:lnTo>
                      <a:pt x="735" y="602"/>
                    </a:lnTo>
                    <a:lnTo>
                      <a:pt x="735" y="631"/>
                    </a:lnTo>
                    <a:lnTo>
                      <a:pt x="751" y="631"/>
                    </a:lnTo>
                    <a:lnTo>
                      <a:pt x="751" y="637"/>
                    </a:lnTo>
                    <a:lnTo>
                      <a:pt x="772" y="637"/>
                    </a:lnTo>
                    <a:lnTo>
                      <a:pt x="772" y="645"/>
                    </a:lnTo>
                    <a:lnTo>
                      <a:pt x="841" y="645"/>
                    </a:lnTo>
                    <a:lnTo>
                      <a:pt x="841" y="650"/>
                    </a:lnTo>
                    <a:lnTo>
                      <a:pt x="854" y="650"/>
                    </a:lnTo>
                    <a:lnTo>
                      <a:pt x="854" y="657"/>
                    </a:lnTo>
                    <a:lnTo>
                      <a:pt x="900" y="657"/>
                    </a:lnTo>
                    <a:lnTo>
                      <a:pt x="900" y="673"/>
                    </a:lnTo>
                    <a:lnTo>
                      <a:pt x="906" y="673"/>
                    </a:lnTo>
                    <a:lnTo>
                      <a:pt x="906" y="701"/>
                    </a:lnTo>
                    <a:lnTo>
                      <a:pt x="912" y="701"/>
                    </a:lnTo>
                    <a:lnTo>
                      <a:pt x="912" y="715"/>
                    </a:lnTo>
                    <a:lnTo>
                      <a:pt x="928" y="715"/>
                    </a:lnTo>
                    <a:lnTo>
                      <a:pt x="928" y="734"/>
                    </a:lnTo>
                    <a:lnTo>
                      <a:pt x="946" y="734"/>
                    </a:lnTo>
                    <a:lnTo>
                      <a:pt x="946" y="752"/>
                    </a:lnTo>
                    <a:lnTo>
                      <a:pt x="1092" y="752"/>
                    </a:lnTo>
                    <a:lnTo>
                      <a:pt x="1092" y="794"/>
                    </a:lnTo>
                    <a:lnTo>
                      <a:pt x="1106" y="794"/>
                    </a:lnTo>
                    <a:lnTo>
                      <a:pt x="1106" y="824"/>
                    </a:lnTo>
                    <a:lnTo>
                      <a:pt x="1113" y="824"/>
                    </a:lnTo>
                    <a:lnTo>
                      <a:pt x="1113" y="836"/>
                    </a:lnTo>
                    <a:lnTo>
                      <a:pt x="1251" y="836"/>
                    </a:lnTo>
                    <a:lnTo>
                      <a:pt x="1251" y="847"/>
                    </a:lnTo>
                    <a:lnTo>
                      <a:pt x="1264" y="847"/>
                    </a:lnTo>
                    <a:lnTo>
                      <a:pt x="1264" y="858"/>
                    </a:lnTo>
                    <a:lnTo>
                      <a:pt x="1276" y="858"/>
                    </a:lnTo>
                    <a:lnTo>
                      <a:pt x="1276" y="862"/>
                    </a:lnTo>
                    <a:lnTo>
                      <a:pt x="1444" y="862"/>
                    </a:lnTo>
                    <a:lnTo>
                      <a:pt x="1444" y="887"/>
                    </a:lnTo>
                    <a:lnTo>
                      <a:pt x="1459" y="887"/>
                    </a:lnTo>
                    <a:lnTo>
                      <a:pt x="1459" y="917"/>
                    </a:lnTo>
                    <a:lnTo>
                      <a:pt x="1519" y="917"/>
                    </a:lnTo>
                    <a:lnTo>
                      <a:pt x="1519" y="958"/>
                    </a:lnTo>
                    <a:lnTo>
                      <a:pt x="1625" y="958"/>
                    </a:lnTo>
                    <a:lnTo>
                      <a:pt x="1625" y="1000"/>
                    </a:lnTo>
                    <a:lnTo>
                      <a:pt x="1641" y="1000"/>
                    </a:lnTo>
                    <a:lnTo>
                      <a:pt x="1641" y="1047"/>
                    </a:lnTo>
                    <a:lnTo>
                      <a:pt x="1817" y="1047"/>
                    </a:lnTo>
                    <a:lnTo>
                      <a:pt x="1817" y="1175"/>
                    </a:lnTo>
                    <a:lnTo>
                      <a:pt x="1826" y="1175"/>
                    </a:lnTo>
                    <a:lnTo>
                      <a:pt x="1826" y="1430"/>
                    </a:lnTo>
                  </a:path>
                </a:pathLst>
              </a:custGeom>
              <a:noFill/>
              <a:ln w="28575" cap="flat">
                <a:solidFill>
                  <a:srgbClr val="797D8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id="{DEB510D7-2622-4BB8-A3B1-8839783FE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722" y="1196221"/>
                <a:ext cx="4122743" cy="2420981"/>
              </a:xfrm>
              <a:custGeom>
                <a:avLst/>
                <a:gdLst>
                  <a:gd name="T0" fmla="*/ 0 w 2470"/>
                  <a:gd name="T1" fmla="*/ 0 h 1460"/>
                  <a:gd name="T2" fmla="*/ 0 w 2470"/>
                  <a:gd name="T3" fmla="*/ 1460 h 1460"/>
                  <a:gd name="T4" fmla="*/ 2470 w 2470"/>
                  <a:gd name="T5" fmla="*/ 1460 h 1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70" h="1460">
                    <a:moveTo>
                      <a:pt x="0" y="0"/>
                    </a:moveTo>
                    <a:lnTo>
                      <a:pt x="0" y="1460"/>
                    </a:lnTo>
                    <a:lnTo>
                      <a:pt x="2470" y="1460"/>
                    </a:lnTo>
                  </a:path>
                </a:pathLst>
              </a:cu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Line 6">
                <a:extLst>
                  <a:ext uri="{FF2B5EF4-FFF2-40B4-BE49-F238E27FC236}">
                    <a16:creationId xmlns:a16="http://schemas.microsoft.com/office/drawing/2014/main" id="{169E125E-A7B3-4AFC-8356-734CD0F444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31214" y="1201196"/>
                <a:ext cx="42512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Line 7">
                <a:extLst>
                  <a:ext uri="{FF2B5EF4-FFF2-40B4-BE49-F238E27FC236}">
                    <a16:creationId xmlns:a16="http://schemas.microsoft.com/office/drawing/2014/main" id="{7BDB4215-F8C2-446C-BB61-BEE9BEF726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31214" y="1439978"/>
                <a:ext cx="42512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Line 8">
                <a:extLst>
                  <a:ext uri="{FF2B5EF4-FFF2-40B4-BE49-F238E27FC236}">
                    <a16:creationId xmlns:a16="http://schemas.microsoft.com/office/drawing/2014/main" id="{AE8D2075-6EE0-4296-A43D-A22C7B01D2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31214" y="1675443"/>
                <a:ext cx="42512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Line 9">
                <a:extLst>
                  <a:ext uri="{FF2B5EF4-FFF2-40B4-BE49-F238E27FC236}">
                    <a16:creationId xmlns:a16="http://schemas.microsoft.com/office/drawing/2014/main" id="{226DBB71-335C-44BA-9973-2C8B8B1CFB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31214" y="1912566"/>
                <a:ext cx="42512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Line 10">
                <a:extLst>
                  <a:ext uri="{FF2B5EF4-FFF2-40B4-BE49-F238E27FC236}">
                    <a16:creationId xmlns:a16="http://schemas.microsoft.com/office/drawing/2014/main" id="{3C5076EB-93B8-4FA2-B720-DCE9C4F0E6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31214" y="2148031"/>
                <a:ext cx="42512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Line 11">
                <a:extLst>
                  <a:ext uri="{FF2B5EF4-FFF2-40B4-BE49-F238E27FC236}">
                    <a16:creationId xmlns:a16="http://schemas.microsoft.com/office/drawing/2014/main" id="{39F38321-6890-446A-B1C5-0A61F03B5F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31214" y="2386813"/>
                <a:ext cx="42512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Line 12">
                <a:extLst>
                  <a:ext uri="{FF2B5EF4-FFF2-40B4-BE49-F238E27FC236}">
                    <a16:creationId xmlns:a16="http://schemas.microsoft.com/office/drawing/2014/main" id="{8646A936-74CE-4217-95FC-EC02C57E52A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31214" y="2623938"/>
                <a:ext cx="42512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Line 13">
                <a:extLst>
                  <a:ext uri="{FF2B5EF4-FFF2-40B4-BE49-F238E27FC236}">
                    <a16:creationId xmlns:a16="http://schemas.microsoft.com/office/drawing/2014/main" id="{AE007DAF-927E-44DF-B571-4DC358D720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31214" y="2859402"/>
                <a:ext cx="42512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Line 14">
                <a:extLst>
                  <a:ext uri="{FF2B5EF4-FFF2-40B4-BE49-F238E27FC236}">
                    <a16:creationId xmlns:a16="http://schemas.microsoft.com/office/drawing/2014/main" id="{532755FE-81BB-48B3-AC8A-3202D687C6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31214" y="3098184"/>
                <a:ext cx="42512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Line 15">
                <a:extLst>
                  <a:ext uri="{FF2B5EF4-FFF2-40B4-BE49-F238E27FC236}">
                    <a16:creationId xmlns:a16="http://schemas.microsoft.com/office/drawing/2014/main" id="{FDF042B5-BB8A-44CC-9F1B-630ADD65D2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31214" y="3333650"/>
                <a:ext cx="42512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Line 16">
                <a:extLst>
                  <a:ext uri="{FF2B5EF4-FFF2-40B4-BE49-F238E27FC236}">
                    <a16:creationId xmlns:a16="http://schemas.microsoft.com/office/drawing/2014/main" id="{5F567A5A-3605-4CE3-B76C-F71985C767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31214" y="3570772"/>
                <a:ext cx="42512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Line 17">
                <a:extLst>
                  <a:ext uri="{FF2B5EF4-FFF2-40B4-BE49-F238E27FC236}">
                    <a16:creationId xmlns:a16="http://schemas.microsoft.com/office/drawing/2014/main" id="{AB9166A0-12E7-4F23-8E25-72D1081A3E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78369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Line 18">
                <a:extLst>
                  <a:ext uri="{FF2B5EF4-FFF2-40B4-BE49-F238E27FC236}">
                    <a16:creationId xmlns:a16="http://schemas.microsoft.com/office/drawing/2014/main" id="{41AB0077-52E2-498E-BEE3-F636411585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97207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Line 19">
                <a:extLst>
                  <a:ext uri="{FF2B5EF4-FFF2-40B4-BE49-F238E27FC236}">
                    <a16:creationId xmlns:a16="http://schemas.microsoft.com/office/drawing/2014/main" id="{4EB8C544-7C9B-4292-86D5-4E8758DB338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516044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Line 20">
                <a:extLst>
                  <a:ext uri="{FF2B5EF4-FFF2-40B4-BE49-F238E27FC236}">
                    <a16:creationId xmlns:a16="http://schemas.microsoft.com/office/drawing/2014/main" id="{E863C05C-F1EE-406E-9F0E-789F7D1C16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834881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Line 21">
                <a:extLst>
                  <a:ext uri="{FF2B5EF4-FFF2-40B4-BE49-F238E27FC236}">
                    <a16:creationId xmlns:a16="http://schemas.microsoft.com/office/drawing/2014/main" id="{83B0ED0A-F7F2-4EF3-ABB7-4ED1AD9195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53718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Line 22">
                <a:extLst>
                  <a:ext uri="{FF2B5EF4-FFF2-40B4-BE49-F238E27FC236}">
                    <a16:creationId xmlns:a16="http://schemas.microsoft.com/office/drawing/2014/main" id="{790A1C31-4F3C-4FF4-9B14-59AFA3FAC1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72556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Line 23">
                <a:extLst>
                  <a:ext uri="{FF2B5EF4-FFF2-40B4-BE49-F238E27FC236}">
                    <a16:creationId xmlns:a16="http://schemas.microsoft.com/office/drawing/2014/main" id="{65D2CE2F-4C11-4DB5-BC3A-12809A39D0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791392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Line 24">
                <a:extLst>
                  <a:ext uri="{FF2B5EF4-FFF2-40B4-BE49-F238E27FC236}">
                    <a16:creationId xmlns:a16="http://schemas.microsoft.com/office/drawing/2014/main" id="{B8493411-89FB-4EF1-9B54-61DE724F68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111865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Line 25">
                <a:extLst>
                  <a:ext uri="{FF2B5EF4-FFF2-40B4-BE49-F238E27FC236}">
                    <a16:creationId xmlns:a16="http://schemas.microsoft.com/office/drawing/2014/main" id="{BB3EAE7E-539C-45FC-93DC-9CEB858EE3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30702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Line 26">
                <a:extLst>
                  <a:ext uri="{FF2B5EF4-FFF2-40B4-BE49-F238E27FC236}">
                    <a16:creationId xmlns:a16="http://schemas.microsoft.com/office/drawing/2014/main" id="{0FBE0958-6586-4B7C-BA14-08B7D61C6E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749539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Line 27">
                <a:extLst>
                  <a:ext uri="{FF2B5EF4-FFF2-40B4-BE49-F238E27FC236}">
                    <a16:creationId xmlns:a16="http://schemas.microsoft.com/office/drawing/2014/main" id="{ACCEAC25-BF3E-4434-8862-FD793C380A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068377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Line 28">
                <a:extLst>
                  <a:ext uri="{FF2B5EF4-FFF2-40B4-BE49-F238E27FC236}">
                    <a16:creationId xmlns:a16="http://schemas.microsoft.com/office/drawing/2014/main" id="{6B1C5380-7E46-4201-A012-584795BFC9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87213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Line 29">
                <a:extLst>
                  <a:ext uri="{FF2B5EF4-FFF2-40B4-BE49-F238E27FC236}">
                    <a16:creationId xmlns:a16="http://schemas.microsoft.com/office/drawing/2014/main" id="{1A6552C5-EBF9-4762-A69C-FD88CC4560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06051" y="3618862"/>
                <a:ext cx="0" cy="41456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TextBox 215">
                <a:extLst>
                  <a:ext uri="{FF2B5EF4-FFF2-40B4-BE49-F238E27FC236}">
                    <a16:creationId xmlns:a16="http://schemas.microsoft.com/office/drawing/2014/main" id="{12857245-7F4A-4478-986E-83B3ABC5171F}"/>
                  </a:ext>
                </a:extLst>
              </p:cNvPr>
              <p:cNvSpPr txBox="1"/>
              <p:nvPr/>
            </p:nvSpPr>
            <p:spPr>
              <a:xfrm>
                <a:off x="453253" y="1149791"/>
                <a:ext cx="219431" cy="11394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.0</a:t>
                </a:r>
              </a:p>
            </p:txBody>
          </p:sp>
          <p:sp>
            <p:nvSpPr>
              <p:cNvPr id="43" name="TextBox 216">
                <a:extLst>
                  <a:ext uri="{FF2B5EF4-FFF2-40B4-BE49-F238E27FC236}">
                    <a16:creationId xmlns:a16="http://schemas.microsoft.com/office/drawing/2014/main" id="{DD01E8FC-B03F-4357-A088-16A126E1A98B}"/>
                  </a:ext>
                </a:extLst>
              </p:cNvPr>
              <p:cNvSpPr txBox="1"/>
              <p:nvPr/>
            </p:nvSpPr>
            <p:spPr>
              <a:xfrm>
                <a:off x="453253" y="1386549"/>
                <a:ext cx="219431" cy="11394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.9</a:t>
                </a:r>
              </a:p>
            </p:txBody>
          </p:sp>
          <p:sp>
            <p:nvSpPr>
              <p:cNvPr id="44" name="TextBox 217">
                <a:extLst>
                  <a:ext uri="{FF2B5EF4-FFF2-40B4-BE49-F238E27FC236}">
                    <a16:creationId xmlns:a16="http://schemas.microsoft.com/office/drawing/2014/main" id="{EF8BF1B4-142E-4157-81F4-8363DBB1CF95}"/>
                  </a:ext>
                </a:extLst>
              </p:cNvPr>
              <p:cNvSpPr txBox="1"/>
              <p:nvPr/>
            </p:nvSpPr>
            <p:spPr>
              <a:xfrm>
                <a:off x="453253" y="1623306"/>
                <a:ext cx="219431" cy="11394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.8</a:t>
                </a:r>
              </a:p>
            </p:txBody>
          </p:sp>
          <p:sp>
            <p:nvSpPr>
              <p:cNvPr id="45" name="TextBox 218">
                <a:extLst>
                  <a:ext uri="{FF2B5EF4-FFF2-40B4-BE49-F238E27FC236}">
                    <a16:creationId xmlns:a16="http://schemas.microsoft.com/office/drawing/2014/main" id="{306844C2-6DBB-4CFE-AE8C-F83B39C1315E}"/>
                  </a:ext>
                </a:extLst>
              </p:cNvPr>
              <p:cNvSpPr txBox="1"/>
              <p:nvPr/>
            </p:nvSpPr>
            <p:spPr>
              <a:xfrm>
                <a:off x="453253" y="1860064"/>
                <a:ext cx="219431" cy="11394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.7</a:t>
                </a:r>
              </a:p>
            </p:txBody>
          </p:sp>
          <p:sp>
            <p:nvSpPr>
              <p:cNvPr id="46" name="TextBox 219">
                <a:extLst>
                  <a:ext uri="{FF2B5EF4-FFF2-40B4-BE49-F238E27FC236}">
                    <a16:creationId xmlns:a16="http://schemas.microsoft.com/office/drawing/2014/main" id="{BF549E65-D395-449C-8676-AD14824D8FFF}"/>
                  </a:ext>
                </a:extLst>
              </p:cNvPr>
              <p:cNvSpPr txBox="1"/>
              <p:nvPr/>
            </p:nvSpPr>
            <p:spPr>
              <a:xfrm>
                <a:off x="453253" y="2096820"/>
                <a:ext cx="219431" cy="11394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.6</a:t>
                </a:r>
              </a:p>
            </p:txBody>
          </p:sp>
          <p:sp>
            <p:nvSpPr>
              <p:cNvPr id="47" name="TextBox 220">
                <a:extLst>
                  <a:ext uri="{FF2B5EF4-FFF2-40B4-BE49-F238E27FC236}">
                    <a16:creationId xmlns:a16="http://schemas.microsoft.com/office/drawing/2014/main" id="{71C26DEC-64D3-4838-B6A5-507974C768FE}"/>
                  </a:ext>
                </a:extLst>
              </p:cNvPr>
              <p:cNvSpPr txBox="1"/>
              <p:nvPr/>
            </p:nvSpPr>
            <p:spPr>
              <a:xfrm>
                <a:off x="453253" y="2333578"/>
                <a:ext cx="219431" cy="11394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.5</a:t>
                </a:r>
              </a:p>
            </p:txBody>
          </p:sp>
          <p:sp>
            <p:nvSpPr>
              <p:cNvPr id="48" name="TextBox 221">
                <a:extLst>
                  <a:ext uri="{FF2B5EF4-FFF2-40B4-BE49-F238E27FC236}">
                    <a16:creationId xmlns:a16="http://schemas.microsoft.com/office/drawing/2014/main" id="{3351892A-3487-47F1-84B5-5FAAE4C06D72}"/>
                  </a:ext>
                </a:extLst>
              </p:cNvPr>
              <p:cNvSpPr txBox="1"/>
              <p:nvPr/>
            </p:nvSpPr>
            <p:spPr>
              <a:xfrm>
                <a:off x="453253" y="2570336"/>
                <a:ext cx="219431" cy="11394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.4</a:t>
                </a:r>
              </a:p>
            </p:txBody>
          </p:sp>
          <p:sp>
            <p:nvSpPr>
              <p:cNvPr id="49" name="TextBox 222">
                <a:extLst>
                  <a:ext uri="{FF2B5EF4-FFF2-40B4-BE49-F238E27FC236}">
                    <a16:creationId xmlns:a16="http://schemas.microsoft.com/office/drawing/2014/main" id="{13DB12CD-08BC-4487-9295-AB38F1D6DFD6}"/>
                  </a:ext>
                </a:extLst>
              </p:cNvPr>
              <p:cNvSpPr txBox="1"/>
              <p:nvPr/>
            </p:nvSpPr>
            <p:spPr>
              <a:xfrm>
                <a:off x="453253" y="2807093"/>
                <a:ext cx="219431" cy="11394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.3</a:t>
                </a:r>
              </a:p>
            </p:txBody>
          </p:sp>
          <p:sp>
            <p:nvSpPr>
              <p:cNvPr id="50" name="TextBox 223">
                <a:extLst>
                  <a:ext uri="{FF2B5EF4-FFF2-40B4-BE49-F238E27FC236}">
                    <a16:creationId xmlns:a16="http://schemas.microsoft.com/office/drawing/2014/main" id="{CB4E4E03-B58A-481B-B0C4-B3B11A5D939D}"/>
                  </a:ext>
                </a:extLst>
              </p:cNvPr>
              <p:cNvSpPr txBox="1"/>
              <p:nvPr/>
            </p:nvSpPr>
            <p:spPr>
              <a:xfrm>
                <a:off x="453253" y="3043851"/>
                <a:ext cx="219431" cy="11394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.2</a:t>
                </a:r>
              </a:p>
            </p:txBody>
          </p:sp>
          <p:sp>
            <p:nvSpPr>
              <p:cNvPr id="51" name="TextBox 224">
                <a:extLst>
                  <a:ext uri="{FF2B5EF4-FFF2-40B4-BE49-F238E27FC236}">
                    <a16:creationId xmlns:a16="http://schemas.microsoft.com/office/drawing/2014/main" id="{44EEB98E-028F-435F-85C7-E66220D71DE2}"/>
                  </a:ext>
                </a:extLst>
              </p:cNvPr>
              <p:cNvSpPr txBox="1"/>
              <p:nvPr/>
            </p:nvSpPr>
            <p:spPr>
              <a:xfrm>
                <a:off x="453253" y="3280609"/>
                <a:ext cx="219431" cy="11394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.1</a:t>
                </a:r>
              </a:p>
            </p:txBody>
          </p:sp>
          <p:sp>
            <p:nvSpPr>
              <p:cNvPr id="52" name="TextBox 225">
                <a:extLst>
                  <a:ext uri="{FF2B5EF4-FFF2-40B4-BE49-F238E27FC236}">
                    <a16:creationId xmlns:a16="http://schemas.microsoft.com/office/drawing/2014/main" id="{BED5525C-6226-4D9B-BFB4-77EF7457979D}"/>
                  </a:ext>
                </a:extLst>
              </p:cNvPr>
              <p:cNvSpPr txBox="1"/>
              <p:nvPr/>
            </p:nvSpPr>
            <p:spPr>
              <a:xfrm>
                <a:off x="453253" y="3517363"/>
                <a:ext cx="219431" cy="11394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.0</a:t>
                </a:r>
              </a:p>
            </p:txBody>
          </p:sp>
          <p:grpSp>
            <p:nvGrpSpPr>
              <p:cNvPr id="53" name="Group 226">
                <a:extLst>
                  <a:ext uri="{FF2B5EF4-FFF2-40B4-BE49-F238E27FC236}">
                    <a16:creationId xmlns:a16="http://schemas.microsoft.com/office/drawing/2014/main" id="{7B78B0E5-CF88-40AD-994A-60FF45F98196}"/>
                  </a:ext>
                </a:extLst>
              </p:cNvPr>
              <p:cNvGrpSpPr/>
              <p:nvPr/>
            </p:nvGrpSpPr>
            <p:grpSpPr>
              <a:xfrm>
                <a:off x="767185" y="3691474"/>
                <a:ext cx="4050384" cy="273128"/>
                <a:chOff x="2625725" y="3417555"/>
                <a:chExt cx="3932562" cy="261482"/>
              </a:xfrm>
            </p:grpSpPr>
            <p:sp>
              <p:nvSpPr>
                <p:cNvPr id="74" name="TextBox 247">
                  <a:extLst>
                    <a:ext uri="{FF2B5EF4-FFF2-40B4-BE49-F238E27FC236}">
                      <a16:creationId xmlns:a16="http://schemas.microsoft.com/office/drawing/2014/main" id="{C0228198-2AAD-4E6B-AC92-6F9A070CB621}"/>
                    </a:ext>
                  </a:extLst>
                </p:cNvPr>
                <p:cNvSpPr txBox="1"/>
                <p:nvPr/>
              </p:nvSpPr>
              <p:spPr>
                <a:xfrm>
                  <a:off x="2625725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</a:t>
                  </a:r>
                </a:p>
              </p:txBody>
            </p:sp>
            <p:sp>
              <p:nvSpPr>
                <p:cNvPr id="75" name="TextBox 248">
                  <a:extLst>
                    <a:ext uri="{FF2B5EF4-FFF2-40B4-BE49-F238E27FC236}">
                      <a16:creationId xmlns:a16="http://schemas.microsoft.com/office/drawing/2014/main" id="{2F71C68C-03B6-4EF0-BEFB-C1859DB4E8C9}"/>
                    </a:ext>
                  </a:extLst>
                </p:cNvPr>
                <p:cNvSpPr txBox="1"/>
                <p:nvPr/>
              </p:nvSpPr>
              <p:spPr>
                <a:xfrm>
                  <a:off x="2935684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</a:t>
                  </a:r>
                </a:p>
              </p:txBody>
            </p:sp>
            <p:sp>
              <p:nvSpPr>
                <p:cNvPr id="76" name="TextBox 249">
                  <a:extLst>
                    <a:ext uri="{FF2B5EF4-FFF2-40B4-BE49-F238E27FC236}">
                      <a16:creationId xmlns:a16="http://schemas.microsoft.com/office/drawing/2014/main" id="{1187A171-E5E7-4870-B921-F59313FA3CAA}"/>
                    </a:ext>
                  </a:extLst>
                </p:cNvPr>
                <p:cNvSpPr txBox="1"/>
                <p:nvPr/>
              </p:nvSpPr>
              <p:spPr>
                <a:xfrm>
                  <a:off x="3245643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8</a:t>
                  </a:r>
                </a:p>
              </p:txBody>
            </p:sp>
            <p:sp>
              <p:nvSpPr>
                <p:cNvPr id="77" name="TextBox 250">
                  <a:extLst>
                    <a:ext uri="{FF2B5EF4-FFF2-40B4-BE49-F238E27FC236}">
                      <a16:creationId xmlns:a16="http://schemas.microsoft.com/office/drawing/2014/main" id="{7EB9B352-410A-4F6C-9D3B-6C20633C0A47}"/>
                    </a:ext>
                  </a:extLst>
                </p:cNvPr>
                <p:cNvSpPr txBox="1"/>
                <p:nvPr/>
              </p:nvSpPr>
              <p:spPr>
                <a:xfrm>
                  <a:off x="3555603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2</a:t>
                  </a:r>
                </a:p>
              </p:txBody>
            </p:sp>
            <p:sp>
              <p:nvSpPr>
                <p:cNvPr id="78" name="TextBox 251">
                  <a:extLst>
                    <a:ext uri="{FF2B5EF4-FFF2-40B4-BE49-F238E27FC236}">
                      <a16:creationId xmlns:a16="http://schemas.microsoft.com/office/drawing/2014/main" id="{E37A95D7-F5AD-4FD9-A5A1-93E67F654217}"/>
                    </a:ext>
                  </a:extLst>
                </p:cNvPr>
                <p:cNvSpPr txBox="1"/>
                <p:nvPr/>
              </p:nvSpPr>
              <p:spPr>
                <a:xfrm>
                  <a:off x="3865563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6</a:t>
                  </a:r>
                </a:p>
              </p:txBody>
            </p:sp>
            <p:sp>
              <p:nvSpPr>
                <p:cNvPr id="79" name="TextBox 252">
                  <a:extLst>
                    <a:ext uri="{FF2B5EF4-FFF2-40B4-BE49-F238E27FC236}">
                      <a16:creationId xmlns:a16="http://schemas.microsoft.com/office/drawing/2014/main" id="{044F3D0D-F76E-4256-A835-B5344C8B40E5}"/>
                    </a:ext>
                  </a:extLst>
                </p:cNvPr>
                <p:cNvSpPr txBox="1"/>
                <p:nvPr/>
              </p:nvSpPr>
              <p:spPr>
                <a:xfrm>
                  <a:off x="4175522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0</a:t>
                  </a:r>
                </a:p>
              </p:txBody>
            </p:sp>
            <p:sp>
              <p:nvSpPr>
                <p:cNvPr id="80" name="TextBox 253">
                  <a:extLst>
                    <a:ext uri="{FF2B5EF4-FFF2-40B4-BE49-F238E27FC236}">
                      <a16:creationId xmlns:a16="http://schemas.microsoft.com/office/drawing/2014/main" id="{EB9964A9-F6D5-4049-B84C-A838A917D930}"/>
                    </a:ext>
                  </a:extLst>
                </p:cNvPr>
                <p:cNvSpPr txBox="1"/>
                <p:nvPr/>
              </p:nvSpPr>
              <p:spPr>
                <a:xfrm>
                  <a:off x="4485481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4</a:t>
                  </a:r>
                </a:p>
              </p:txBody>
            </p:sp>
            <p:sp>
              <p:nvSpPr>
                <p:cNvPr id="81" name="TextBox 254">
                  <a:extLst>
                    <a:ext uri="{FF2B5EF4-FFF2-40B4-BE49-F238E27FC236}">
                      <a16:creationId xmlns:a16="http://schemas.microsoft.com/office/drawing/2014/main" id="{175C15AB-AA72-4C85-B15F-F7EDDB3CC8E5}"/>
                    </a:ext>
                  </a:extLst>
                </p:cNvPr>
                <p:cNvSpPr txBox="1"/>
                <p:nvPr/>
              </p:nvSpPr>
              <p:spPr>
                <a:xfrm>
                  <a:off x="4795441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8</a:t>
                  </a:r>
                </a:p>
              </p:txBody>
            </p:sp>
            <p:sp>
              <p:nvSpPr>
                <p:cNvPr id="82" name="TextBox 255">
                  <a:extLst>
                    <a:ext uri="{FF2B5EF4-FFF2-40B4-BE49-F238E27FC236}">
                      <a16:creationId xmlns:a16="http://schemas.microsoft.com/office/drawing/2014/main" id="{4A1F3F49-409D-4F44-B5C4-8493B6314434}"/>
                    </a:ext>
                  </a:extLst>
                </p:cNvPr>
                <p:cNvSpPr txBox="1"/>
                <p:nvPr/>
              </p:nvSpPr>
              <p:spPr>
                <a:xfrm>
                  <a:off x="5105401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2</a:t>
                  </a:r>
                </a:p>
              </p:txBody>
            </p:sp>
            <p:sp>
              <p:nvSpPr>
                <p:cNvPr id="83" name="TextBox 256">
                  <a:extLst>
                    <a:ext uri="{FF2B5EF4-FFF2-40B4-BE49-F238E27FC236}">
                      <a16:creationId xmlns:a16="http://schemas.microsoft.com/office/drawing/2014/main" id="{C807C503-6AE4-4696-AAEE-5A8E3D51FD09}"/>
                    </a:ext>
                  </a:extLst>
                </p:cNvPr>
                <p:cNvSpPr txBox="1"/>
                <p:nvPr/>
              </p:nvSpPr>
              <p:spPr>
                <a:xfrm>
                  <a:off x="5415361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6</a:t>
                  </a:r>
                </a:p>
              </p:txBody>
            </p:sp>
            <p:sp>
              <p:nvSpPr>
                <p:cNvPr id="84" name="TextBox 257">
                  <a:extLst>
                    <a:ext uri="{FF2B5EF4-FFF2-40B4-BE49-F238E27FC236}">
                      <a16:creationId xmlns:a16="http://schemas.microsoft.com/office/drawing/2014/main" id="{1F649BB3-CE90-4968-AC01-7096F9DE0EBB}"/>
                    </a:ext>
                  </a:extLst>
                </p:cNvPr>
                <p:cNvSpPr txBox="1"/>
                <p:nvPr/>
              </p:nvSpPr>
              <p:spPr>
                <a:xfrm>
                  <a:off x="5725320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0</a:t>
                  </a:r>
                </a:p>
              </p:txBody>
            </p:sp>
            <p:sp>
              <p:nvSpPr>
                <p:cNvPr id="85" name="TextBox 258">
                  <a:extLst>
                    <a:ext uri="{FF2B5EF4-FFF2-40B4-BE49-F238E27FC236}">
                      <a16:creationId xmlns:a16="http://schemas.microsoft.com/office/drawing/2014/main" id="{16545B4C-4A65-4B22-8B78-D92F852CBCDC}"/>
                    </a:ext>
                  </a:extLst>
                </p:cNvPr>
                <p:cNvSpPr txBox="1"/>
                <p:nvPr/>
              </p:nvSpPr>
              <p:spPr>
                <a:xfrm>
                  <a:off x="6035280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4</a:t>
                  </a:r>
                </a:p>
              </p:txBody>
            </p:sp>
            <p:sp>
              <p:nvSpPr>
                <p:cNvPr id="86" name="TextBox 259">
                  <a:extLst>
                    <a:ext uri="{FF2B5EF4-FFF2-40B4-BE49-F238E27FC236}">
                      <a16:creationId xmlns:a16="http://schemas.microsoft.com/office/drawing/2014/main" id="{B8E559F8-009B-4FBA-B21A-8868CBEBF47E}"/>
                    </a:ext>
                  </a:extLst>
                </p:cNvPr>
                <p:cNvSpPr txBox="1"/>
                <p:nvPr/>
              </p:nvSpPr>
              <p:spPr>
                <a:xfrm>
                  <a:off x="6345239" y="3417555"/>
                  <a:ext cx="213048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8</a:t>
                  </a:r>
                </a:p>
              </p:txBody>
            </p:sp>
            <p:sp>
              <p:nvSpPr>
                <p:cNvPr id="87" name="TextBox 260">
                  <a:extLst>
                    <a:ext uri="{FF2B5EF4-FFF2-40B4-BE49-F238E27FC236}">
                      <a16:creationId xmlns:a16="http://schemas.microsoft.com/office/drawing/2014/main" id="{EBB4AAF7-EFB7-40BB-AAB3-F3170575C851}"/>
                    </a:ext>
                  </a:extLst>
                </p:cNvPr>
                <p:cNvSpPr txBox="1"/>
                <p:nvPr/>
              </p:nvSpPr>
              <p:spPr>
                <a:xfrm>
                  <a:off x="2632076" y="3569955"/>
                  <a:ext cx="3921124" cy="1090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Months</a:t>
                  </a:r>
                </a:p>
              </p:txBody>
            </p:sp>
          </p:grpSp>
          <p:grpSp>
            <p:nvGrpSpPr>
              <p:cNvPr id="54" name="Group 227">
                <a:extLst>
                  <a:ext uri="{FF2B5EF4-FFF2-40B4-BE49-F238E27FC236}">
                    <a16:creationId xmlns:a16="http://schemas.microsoft.com/office/drawing/2014/main" id="{ED3D9ABD-0C22-4EEC-82F2-81787F59E364}"/>
                  </a:ext>
                </a:extLst>
              </p:cNvPr>
              <p:cNvGrpSpPr/>
              <p:nvPr/>
            </p:nvGrpSpPr>
            <p:grpSpPr>
              <a:xfrm>
                <a:off x="409106" y="4084485"/>
                <a:ext cx="4408463" cy="324346"/>
                <a:chOff x="2278062" y="3678238"/>
                <a:chExt cx="4280225" cy="310515"/>
              </a:xfrm>
            </p:grpSpPr>
            <p:sp>
              <p:nvSpPr>
                <p:cNvPr id="57" name="Line 30">
                  <a:extLst>
                    <a:ext uri="{FF2B5EF4-FFF2-40B4-BE49-F238E27FC236}">
                      <a16:creationId xmlns:a16="http://schemas.microsoft.com/office/drawing/2014/main" id="{9DF848D7-B0F2-4586-B75F-15D5C90C50B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632075" y="3678238"/>
                  <a:ext cx="3922713" cy="0"/>
                </a:xfrm>
                <a:prstGeom prst="line">
                  <a:avLst/>
                </a:prstGeom>
                <a:noFill/>
                <a:ln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2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Line 31">
                  <a:extLst>
                    <a:ext uri="{FF2B5EF4-FFF2-40B4-BE49-F238E27FC236}">
                      <a16:creationId xmlns:a16="http://schemas.microsoft.com/office/drawing/2014/main" id="{EA25D9DB-77B1-4274-9205-A7A1B4618C2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632075" y="3988753"/>
                  <a:ext cx="3922713" cy="0"/>
                </a:xfrm>
                <a:prstGeom prst="line">
                  <a:avLst/>
                </a:prstGeom>
                <a:noFill/>
                <a:ln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2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59" name="Group 232">
                  <a:extLst>
                    <a:ext uri="{FF2B5EF4-FFF2-40B4-BE49-F238E27FC236}">
                      <a16:creationId xmlns:a16="http://schemas.microsoft.com/office/drawing/2014/main" id="{143EEA2B-C36A-446E-A495-B675B1E4D287}"/>
                    </a:ext>
                  </a:extLst>
                </p:cNvPr>
                <p:cNvGrpSpPr/>
                <p:nvPr/>
              </p:nvGrpSpPr>
              <p:grpSpPr>
                <a:xfrm>
                  <a:off x="2278062" y="3717593"/>
                  <a:ext cx="4280225" cy="109082"/>
                  <a:chOff x="2278062" y="3417555"/>
                  <a:chExt cx="4280225" cy="109082"/>
                </a:xfrm>
              </p:grpSpPr>
              <p:sp>
                <p:nvSpPr>
                  <p:cNvPr id="60" name="TextBox 233">
                    <a:extLst>
                      <a:ext uri="{FF2B5EF4-FFF2-40B4-BE49-F238E27FC236}">
                        <a16:creationId xmlns:a16="http://schemas.microsoft.com/office/drawing/2014/main" id="{B7B8AA2B-DC92-41F5-A8D1-8D60DEBDB52F}"/>
                      </a:ext>
                    </a:extLst>
                  </p:cNvPr>
                  <p:cNvSpPr txBox="1"/>
                  <p:nvPr/>
                </p:nvSpPr>
                <p:spPr>
                  <a:xfrm>
                    <a:off x="2625725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955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554</a:t>
                    </a:r>
                  </a:p>
                </p:txBody>
              </p:sp>
              <p:sp>
                <p:nvSpPr>
                  <p:cNvPr id="61" name="TextBox 234">
                    <a:extLst>
                      <a:ext uri="{FF2B5EF4-FFF2-40B4-BE49-F238E27FC236}">
                        <a16:creationId xmlns:a16="http://schemas.microsoft.com/office/drawing/2014/main" id="{6F5F2281-9A0D-4D18-9A6A-8BE4D11C9205}"/>
                      </a:ext>
                    </a:extLst>
                  </p:cNvPr>
                  <p:cNvSpPr txBox="1"/>
                  <p:nvPr/>
                </p:nvSpPr>
                <p:spPr>
                  <a:xfrm>
                    <a:off x="2935684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817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368</a:t>
                    </a:r>
                  </a:p>
                </p:txBody>
              </p:sp>
              <p:sp>
                <p:nvSpPr>
                  <p:cNvPr id="62" name="TextBox 235">
                    <a:extLst>
                      <a:ext uri="{FF2B5EF4-FFF2-40B4-BE49-F238E27FC236}">
                        <a16:creationId xmlns:a16="http://schemas.microsoft.com/office/drawing/2014/main" id="{2A295E72-8A7A-4079-8CD4-0FA4EAA04923}"/>
                      </a:ext>
                    </a:extLst>
                  </p:cNvPr>
                  <p:cNvSpPr txBox="1"/>
                  <p:nvPr/>
                </p:nvSpPr>
                <p:spPr>
                  <a:xfrm>
                    <a:off x="3245643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675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275</a:t>
                    </a:r>
                  </a:p>
                </p:txBody>
              </p:sp>
              <p:sp>
                <p:nvSpPr>
                  <p:cNvPr id="63" name="TextBox 236">
                    <a:extLst>
                      <a:ext uri="{FF2B5EF4-FFF2-40B4-BE49-F238E27FC236}">
                        <a16:creationId xmlns:a16="http://schemas.microsoft.com/office/drawing/2014/main" id="{CBB2B45A-CFB9-4B15-94C1-6D88C4CF55D2}"/>
                      </a:ext>
                    </a:extLst>
                  </p:cNvPr>
                  <p:cNvSpPr txBox="1"/>
                  <p:nvPr/>
                </p:nvSpPr>
                <p:spPr>
                  <a:xfrm>
                    <a:off x="3555603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506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180</a:t>
                    </a:r>
                  </a:p>
                </p:txBody>
              </p:sp>
              <p:sp>
                <p:nvSpPr>
                  <p:cNvPr id="64" name="TextBox 237">
                    <a:extLst>
                      <a:ext uri="{FF2B5EF4-FFF2-40B4-BE49-F238E27FC236}">
                        <a16:creationId xmlns:a16="http://schemas.microsoft.com/office/drawing/2014/main" id="{57E0BB01-0CFC-444C-8A38-FC14B33036B5}"/>
                      </a:ext>
                    </a:extLst>
                  </p:cNvPr>
                  <p:cNvSpPr txBox="1"/>
                  <p:nvPr/>
                </p:nvSpPr>
                <p:spPr>
                  <a:xfrm>
                    <a:off x="3865563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377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117</a:t>
                    </a:r>
                  </a:p>
                </p:txBody>
              </p:sp>
              <p:sp>
                <p:nvSpPr>
                  <p:cNvPr id="65" name="TextBox 238">
                    <a:extLst>
                      <a:ext uri="{FF2B5EF4-FFF2-40B4-BE49-F238E27FC236}">
                        <a16:creationId xmlns:a16="http://schemas.microsoft.com/office/drawing/2014/main" id="{9D5B4D67-DE98-45EE-9EFB-5AFE22ED93AB}"/>
                      </a:ext>
                    </a:extLst>
                  </p:cNvPr>
                  <p:cNvSpPr txBox="1"/>
                  <p:nvPr/>
                </p:nvSpPr>
                <p:spPr>
                  <a:xfrm>
                    <a:off x="4175522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262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75</a:t>
                    </a:r>
                  </a:p>
                </p:txBody>
              </p:sp>
              <p:sp>
                <p:nvSpPr>
                  <p:cNvPr id="66" name="TextBox 239">
                    <a:extLst>
                      <a:ext uri="{FF2B5EF4-FFF2-40B4-BE49-F238E27FC236}">
                        <a16:creationId xmlns:a16="http://schemas.microsoft.com/office/drawing/2014/main" id="{752BA4FA-6F11-48C3-9D6C-1ADF19D1B4B0}"/>
                      </a:ext>
                    </a:extLst>
                  </p:cNvPr>
                  <p:cNvSpPr txBox="1"/>
                  <p:nvPr/>
                </p:nvSpPr>
                <p:spPr>
                  <a:xfrm>
                    <a:off x="4485481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189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50</a:t>
                    </a:r>
                  </a:p>
                </p:txBody>
              </p:sp>
              <p:sp>
                <p:nvSpPr>
                  <p:cNvPr id="67" name="TextBox 240">
                    <a:extLst>
                      <a:ext uri="{FF2B5EF4-FFF2-40B4-BE49-F238E27FC236}">
                        <a16:creationId xmlns:a16="http://schemas.microsoft.com/office/drawing/2014/main" id="{2765C12C-71CC-40FB-89C7-F6C368DBD933}"/>
                      </a:ext>
                    </a:extLst>
                  </p:cNvPr>
                  <p:cNvSpPr txBox="1"/>
                  <p:nvPr/>
                </p:nvSpPr>
                <p:spPr>
                  <a:xfrm>
                    <a:off x="4795441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116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29</a:t>
                    </a:r>
                  </a:p>
                </p:txBody>
              </p:sp>
              <p:sp>
                <p:nvSpPr>
                  <p:cNvPr id="68" name="TextBox 241">
                    <a:extLst>
                      <a:ext uri="{FF2B5EF4-FFF2-40B4-BE49-F238E27FC236}">
                        <a16:creationId xmlns:a16="http://schemas.microsoft.com/office/drawing/2014/main" id="{CFA57E99-0CCF-4F1F-B073-7F22F0B9828D}"/>
                      </a:ext>
                    </a:extLst>
                  </p:cNvPr>
                  <p:cNvSpPr txBox="1"/>
                  <p:nvPr/>
                </p:nvSpPr>
                <p:spPr>
                  <a:xfrm>
                    <a:off x="5105401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68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12</a:t>
                    </a:r>
                  </a:p>
                </p:txBody>
              </p:sp>
              <p:sp>
                <p:nvSpPr>
                  <p:cNvPr id="69" name="TextBox 242">
                    <a:extLst>
                      <a:ext uri="{FF2B5EF4-FFF2-40B4-BE49-F238E27FC236}">
                        <a16:creationId xmlns:a16="http://schemas.microsoft.com/office/drawing/2014/main" id="{4241D441-9F9A-4055-9F18-8559EB6EED93}"/>
                      </a:ext>
                    </a:extLst>
                  </p:cNvPr>
                  <p:cNvSpPr txBox="1"/>
                  <p:nvPr/>
                </p:nvSpPr>
                <p:spPr>
                  <a:xfrm>
                    <a:off x="5415361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37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4</a:t>
                    </a:r>
                  </a:p>
                </p:txBody>
              </p:sp>
              <p:sp>
                <p:nvSpPr>
                  <p:cNvPr id="70" name="TextBox 243">
                    <a:extLst>
                      <a:ext uri="{FF2B5EF4-FFF2-40B4-BE49-F238E27FC236}">
                        <a16:creationId xmlns:a16="http://schemas.microsoft.com/office/drawing/2014/main" id="{D48EC913-7B12-4075-9C79-CDF420AD07BE}"/>
                      </a:ext>
                    </a:extLst>
                  </p:cNvPr>
                  <p:cNvSpPr txBox="1"/>
                  <p:nvPr/>
                </p:nvSpPr>
                <p:spPr>
                  <a:xfrm>
                    <a:off x="5725320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18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0</a:t>
                    </a:r>
                  </a:p>
                </p:txBody>
              </p:sp>
              <p:sp>
                <p:nvSpPr>
                  <p:cNvPr id="71" name="TextBox 244">
                    <a:extLst>
                      <a:ext uri="{FF2B5EF4-FFF2-40B4-BE49-F238E27FC236}">
                        <a16:creationId xmlns:a16="http://schemas.microsoft.com/office/drawing/2014/main" id="{6C0C2CCC-50A0-4B8E-9725-04630FA8FD7E}"/>
                      </a:ext>
                    </a:extLst>
                  </p:cNvPr>
                  <p:cNvSpPr txBox="1"/>
                  <p:nvPr/>
                </p:nvSpPr>
                <p:spPr>
                  <a:xfrm>
                    <a:off x="6035280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2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0</a:t>
                    </a:r>
                  </a:p>
                </p:txBody>
              </p:sp>
              <p:sp>
                <p:nvSpPr>
                  <p:cNvPr id="72" name="TextBox 245">
                    <a:extLst>
                      <a:ext uri="{FF2B5EF4-FFF2-40B4-BE49-F238E27FC236}">
                        <a16:creationId xmlns:a16="http://schemas.microsoft.com/office/drawing/2014/main" id="{E48B3DD1-DDC7-4627-889A-9DD48FA368AE}"/>
                      </a:ext>
                    </a:extLst>
                  </p:cNvPr>
                  <p:cNvSpPr txBox="1"/>
                  <p:nvPr/>
                </p:nvSpPr>
                <p:spPr>
                  <a:xfrm>
                    <a:off x="6345239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0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0</a:t>
                    </a:r>
                  </a:p>
                </p:txBody>
              </p:sp>
              <p:sp>
                <p:nvSpPr>
                  <p:cNvPr id="73" name="TextBox 246">
                    <a:extLst>
                      <a:ext uri="{FF2B5EF4-FFF2-40B4-BE49-F238E27FC236}">
                        <a16:creationId xmlns:a16="http://schemas.microsoft.com/office/drawing/2014/main" id="{7EB2D526-A619-4349-A8A2-E9F3DBDA82B2}"/>
                      </a:ext>
                    </a:extLst>
                  </p:cNvPr>
                  <p:cNvSpPr txBox="1"/>
                  <p:nvPr/>
                </p:nvSpPr>
                <p:spPr>
                  <a:xfrm>
                    <a:off x="2278062" y="3417555"/>
                    <a:ext cx="213048" cy="10908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t">
                    <a:noAutofit/>
                  </a:bodyPr>
                  <a:lstStyle/>
                  <a:p>
                    <a:pPr marL="0" marR="0" lvl="0" indent="0" algn="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arolutamide</a:t>
                    </a:r>
                  </a:p>
                  <a:p>
                    <a:pPr marL="0" marR="0" lvl="0" indent="0" algn="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Placebo</a:t>
                    </a:r>
                  </a:p>
                </p:txBody>
              </p:sp>
            </p:grpSp>
          </p:grpSp>
          <p:sp>
            <p:nvSpPr>
              <p:cNvPr id="55" name="TextBox 228">
                <a:extLst>
                  <a:ext uri="{FF2B5EF4-FFF2-40B4-BE49-F238E27FC236}">
                    <a16:creationId xmlns:a16="http://schemas.microsoft.com/office/drawing/2014/main" id="{87504E0A-7B0E-4A28-BF8A-E4DBA44E156F}"/>
                  </a:ext>
                </a:extLst>
              </p:cNvPr>
              <p:cNvSpPr txBox="1"/>
              <p:nvPr/>
            </p:nvSpPr>
            <p:spPr>
              <a:xfrm rot="16200000">
                <a:off x="-841431" y="2372094"/>
                <a:ext cx="2464095" cy="11235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urvival Probability</a:t>
                </a:r>
              </a:p>
            </p:txBody>
          </p:sp>
          <p:sp>
            <p:nvSpPr>
              <p:cNvPr id="56" name="TextBox 229">
                <a:extLst>
                  <a:ext uri="{FF2B5EF4-FFF2-40B4-BE49-F238E27FC236}">
                    <a16:creationId xmlns:a16="http://schemas.microsoft.com/office/drawing/2014/main" id="{DC8F4505-E73A-4957-9F25-9A61004CFE69}"/>
                  </a:ext>
                </a:extLst>
              </p:cNvPr>
              <p:cNvSpPr txBox="1"/>
              <p:nvPr/>
            </p:nvSpPr>
            <p:spPr>
              <a:xfrm>
                <a:off x="180197" y="3905421"/>
                <a:ext cx="765542" cy="11394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umber of patients at risk</a:t>
                </a:r>
              </a:p>
            </p:txBody>
          </p:sp>
        </p:grpSp>
        <p:sp>
          <p:nvSpPr>
            <p:cNvPr id="7" name="TextBox 180">
              <a:extLst>
                <a:ext uri="{FF2B5EF4-FFF2-40B4-BE49-F238E27FC236}">
                  <a16:creationId xmlns:a16="http://schemas.microsoft.com/office/drawing/2014/main" id="{0BDAC5A4-EBB0-4194-B6E1-43D8546FDFBA}"/>
                </a:ext>
              </a:extLst>
            </p:cNvPr>
            <p:cNvSpPr txBox="1"/>
            <p:nvPr/>
          </p:nvSpPr>
          <p:spPr>
            <a:xfrm flipH="1">
              <a:off x="7998522" y="1479641"/>
              <a:ext cx="3547501" cy="993424"/>
            </a:xfrm>
            <a:prstGeom prst="rect">
              <a:avLst/>
            </a:prstGeom>
            <a:noFill/>
            <a:ln>
              <a:solidFill>
                <a:srgbClr val="77C45E"/>
              </a:solidFill>
            </a:ln>
          </p:spPr>
          <p:txBody>
            <a:bodyPr wrap="none" lIns="72000" tIns="36000" rIns="72000" bIns="3600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R</a:t>
              </a:r>
              <a:r>
                <a:rPr kumimoji="0" lang="en-US" sz="16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6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41</a:t>
              </a:r>
              <a:r>
                <a:rPr kumimoji="0" lang="en-US" sz="16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(95% CI 0.34–0.50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1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</a:t>
              </a:r>
              <a:r>
                <a:rPr kumimoji="0" lang="en-US" sz="16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lt;0.001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9% risk reduction </a:t>
              </a:r>
            </a:p>
          </p:txBody>
        </p:sp>
        <p:sp>
          <p:nvSpPr>
            <p:cNvPr id="8" name="Rectangle 181">
              <a:extLst>
                <a:ext uri="{FF2B5EF4-FFF2-40B4-BE49-F238E27FC236}">
                  <a16:creationId xmlns:a16="http://schemas.microsoft.com/office/drawing/2014/main" id="{F465CC87-2744-4CFB-9BB2-1D4E600D87B8}"/>
                </a:ext>
              </a:extLst>
            </p:cNvPr>
            <p:cNvSpPr/>
            <p:nvPr/>
          </p:nvSpPr>
          <p:spPr>
            <a:xfrm>
              <a:off x="9007788" y="2691919"/>
              <a:ext cx="4905493" cy="3768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rolutamide +</a:t>
              </a:r>
              <a:r>
                <a:rPr kumimoji="0" lang="en-US" sz="1400" b="1" i="0" u="none" strike="noStrike" kern="1200" cap="none" spc="0" normalizeH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DT</a:t>
              </a:r>
              <a:r>
                <a:rPr kumimoji="0" lang="en-US" sz="14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 40.4 months (median) </a:t>
              </a:r>
            </a:p>
          </p:txBody>
        </p:sp>
        <p:sp>
          <p:nvSpPr>
            <p:cNvPr id="9" name="Rectangle 182">
              <a:extLst>
                <a:ext uri="{FF2B5EF4-FFF2-40B4-BE49-F238E27FC236}">
                  <a16:creationId xmlns:a16="http://schemas.microsoft.com/office/drawing/2014/main" id="{2ED3B6A4-D4B0-426D-9AB2-B6665677362C}"/>
                </a:ext>
              </a:extLst>
            </p:cNvPr>
            <p:cNvSpPr/>
            <p:nvPr/>
          </p:nvSpPr>
          <p:spPr>
            <a:xfrm>
              <a:off x="8936208" y="3964010"/>
              <a:ext cx="4246587" cy="3768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lacebo + ADT</a:t>
              </a:r>
              <a:r>
                <a:rPr kumimoji="0" lang="en-US" sz="14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 18.4 months (median)</a:t>
              </a:r>
            </a:p>
          </p:txBody>
        </p:sp>
        <p:cxnSp>
          <p:nvCxnSpPr>
            <p:cNvPr id="10" name="Straight Connector 183">
              <a:extLst>
                <a:ext uri="{FF2B5EF4-FFF2-40B4-BE49-F238E27FC236}">
                  <a16:creationId xmlns:a16="http://schemas.microsoft.com/office/drawing/2014/main" id="{3B017163-97A3-4815-87B3-4F5019B57BB8}"/>
                </a:ext>
              </a:extLst>
            </p:cNvPr>
            <p:cNvCxnSpPr>
              <a:cxnSpLocks/>
            </p:cNvCxnSpPr>
            <p:nvPr/>
          </p:nvCxnSpPr>
          <p:spPr>
            <a:xfrm>
              <a:off x="2404140" y="3206472"/>
              <a:ext cx="7727926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184">
              <a:extLst>
                <a:ext uri="{FF2B5EF4-FFF2-40B4-BE49-F238E27FC236}">
                  <a16:creationId xmlns:a16="http://schemas.microsoft.com/office/drawing/2014/main" id="{E67BBF95-228A-4EE9-BDDD-767F166F4981}"/>
                </a:ext>
              </a:extLst>
            </p:cNvPr>
            <p:cNvGrpSpPr/>
            <p:nvPr/>
          </p:nvGrpSpPr>
          <p:grpSpPr>
            <a:xfrm>
              <a:off x="2616728" y="4423688"/>
              <a:ext cx="1649087" cy="565255"/>
              <a:chOff x="843197" y="3157042"/>
              <a:chExt cx="1649087" cy="565255"/>
            </a:xfrm>
          </p:grpSpPr>
          <p:sp>
            <p:nvSpPr>
              <p:cNvPr id="12" name="TextBox 185">
                <a:extLst>
                  <a:ext uri="{FF2B5EF4-FFF2-40B4-BE49-F238E27FC236}">
                    <a16:creationId xmlns:a16="http://schemas.microsoft.com/office/drawing/2014/main" id="{63F48221-D288-4DB0-AA8B-7373A1762B66}"/>
                  </a:ext>
                </a:extLst>
              </p:cNvPr>
              <p:cNvSpPr txBox="1"/>
              <p:nvPr/>
            </p:nvSpPr>
            <p:spPr>
              <a:xfrm>
                <a:off x="985998" y="3157042"/>
                <a:ext cx="1506286" cy="565255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arolutamid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lacebo</a:t>
                </a:r>
              </a:p>
            </p:txBody>
          </p:sp>
          <p:cxnSp>
            <p:nvCxnSpPr>
              <p:cNvPr id="13" name="Straight Connector 186">
                <a:extLst>
                  <a:ext uri="{FF2B5EF4-FFF2-40B4-BE49-F238E27FC236}">
                    <a16:creationId xmlns:a16="http://schemas.microsoft.com/office/drawing/2014/main" id="{D3DB6BFC-BF2D-488A-8B67-A8E62FC5741D}"/>
                  </a:ext>
                </a:extLst>
              </p:cNvPr>
              <p:cNvCxnSpPr/>
              <p:nvPr/>
            </p:nvCxnSpPr>
            <p:spPr>
              <a:xfrm>
                <a:off x="843197" y="3333048"/>
                <a:ext cx="201210" cy="0"/>
              </a:xfrm>
              <a:prstGeom prst="line">
                <a:avLst/>
              </a:prstGeom>
              <a:noFill/>
              <a:ln w="25400" cap="flat" cmpd="sng" algn="ctr">
                <a:solidFill>
                  <a:srgbClr val="63BC47"/>
                </a:solidFill>
                <a:prstDash val="solid"/>
              </a:ln>
              <a:effectLst/>
            </p:spPr>
          </p:cxnSp>
          <p:cxnSp>
            <p:nvCxnSpPr>
              <p:cNvPr id="14" name="Straight Connector 187">
                <a:extLst>
                  <a:ext uri="{FF2B5EF4-FFF2-40B4-BE49-F238E27FC236}">
                    <a16:creationId xmlns:a16="http://schemas.microsoft.com/office/drawing/2014/main" id="{BF998F82-F2E2-40D5-AEBB-20EE08D77663}"/>
                  </a:ext>
                </a:extLst>
              </p:cNvPr>
              <p:cNvCxnSpPr/>
              <p:nvPr/>
            </p:nvCxnSpPr>
            <p:spPr>
              <a:xfrm>
                <a:off x="843197" y="3526104"/>
                <a:ext cx="201210" cy="0"/>
              </a:xfrm>
              <a:prstGeom prst="line">
                <a:avLst/>
              </a:prstGeom>
              <a:noFill/>
              <a:ln w="25400" cap="flat" cmpd="sng" algn="ctr">
                <a:solidFill>
                  <a:srgbClr val="797D83"/>
                </a:solidFill>
                <a:prstDash val="solid"/>
              </a:ln>
              <a:effectLst/>
            </p:spPr>
          </p:cxnSp>
        </p:grpSp>
      </p:grpSp>
      <p:sp>
        <p:nvSpPr>
          <p:cNvPr id="88" name="TextBox 90">
            <a:extLst>
              <a:ext uri="{FF2B5EF4-FFF2-40B4-BE49-F238E27FC236}">
                <a16:creationId xmlns:a16="http://schemas.microsoft.com/office/drawing/2014/main" id="{1BA3ABE1-B5B4-4DA4-8DDB-6E1FBFBCDD66}"/>
              </a:ext>
            </a:extLst>
          </p:cNvPr>
          <p:cNvSpPr txBox="1"/>
          <p:nvPr/>
        </p:nvSpPr>
        <p:spPr bwMode="gray">
          <a:xfrm>
            <a:off x="0" y="1468438"/>
            <a:ext cx="2589213" cy="366712"/>
          </a:xfrm>
          <a:prstGeom prst="rect">
            <a:avLst/>
          </a:prstGeom>
          <a:solidFill>
            <a:schemeClr val="accent1"/>
          </a:solidFill>
        </p:spPr>
        <p:txBody>
          <a:bodyPr lIns="0" tIns="121920" rIns="0" bIns="121920" anchor="ctr"/>
          <a:lstStyle/>
          <a:p>
            <a:pPr marL="0" marR="0" lvl="0" indent="0" algn="ctr" defTabSz="16285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rimary endpoint</a:t>
            </a:r>
          </a:p>
        </p:txBody>
      </p:sp>
    </p:spTree>
    <p:extLst>
      <p:ext uri="{BB962C8B-B14F-4D97-AF65-F5344CB8AC3E}">
        <p14:creationId xmlns:p14="http://schemas.microsoft.com/office/powerpoint/2010/main" val="77551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54B793-7D49-496E-8D76-86A6CD8D0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b="1" dirty="0"/>
              <a:t>ARAMIS: Overall Survival </a:t>
            </a:r>
            <a:r>
              <a:rPr lang="en-US" b="1" baseline="30000" dirty="0"/>
              <a:t>36</a:t>
            </a:r>
            <a:endParaRPr lang="de-CH" b="1" baseline="30000" dirty="0"/>
          </a:p>
        </p:txBody>
      </p:sp>
      <p:sp>
        <p:nvSpPr>
          <p:cNvPr id="92" name="Footer Placeholder 4">
            <a:extLst>
              <a:ext uri="{FF2B5EF4-FFF2-40B4-BE49-F238E27FC236}">
                <a16:creationId xmlns:a16="http://schemas.microsoft.com/office/drawing/2014/main" id="{1BF5F25B-99AB-44D6-B71A-8DFB755C2AE1}"/>
              </a:ext>
            </a:extLst>
          </p:cNvPr>
          <p:cNvSpPr txBox="1">
            <a:spLocks/>
          </p:cNvSpPr>
          <p:nvPr/>
        </p:nvSpPr>
        <p:spPr>
          <a:xfrm>
            <a:off x="512526" y="6476514"/>
            <a:ext cx="9555399" cy="32067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r>
              <a:rPr lang="it-IT" alt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DT, </a:t>
            </a:r>
            <a:r>
              <a:rPr lang="it-IT" alt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androgen</a:t>
            </a:r>
            <a:r>
              <a:rPr lang="it-IT" alt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it-IT" alt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deprivation</a:t>
            </a:r>
            <a:r>
              <a:rPr lang="it-IT" alt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therapy; CI, confidence </a:t>
            </a:r>
            <a:r>
              <a:rPr lang="it-IT" alt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interval</a:t>
            </a:r>
            <a:r>
              <a:rPr lang="it-IT" alt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; HR, hazard ratio; NE, </a:t>
            </a:r>
            <a:r>
              <a:rPr lang="it-IT" alt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not</a:t>
            </a:r>
            <a:r>
              <a:rPr lang="it-IT" alt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it-IT" alt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estimable</a:t>
            </a:r>
            <a:r>
              <a:rPr lang="it-IT" alt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; OS, overall survival</a:t>
            </a:r>
            <a:r>
              <a:rPr lang="da-DK" alt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. </a:t>
            </a:r>
            <a:endParaRPr lang="en-US" altLang="en-US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93" name="TextBox 6">
            <a:extLst>
              <a:ext uri="{FF2B5EF4-FFF2-40B4-BE49-F238E27FC236}">
                <a16:creationId xmlns:a16="http://schemas.microsoft.com/office/drawing/2014/main" id="{0AB80085-B671-4463-8717-03573B0721A2}"/>
              </a:ext>
            </a:extLst>
          </p:cNvPr>
          <p:cNvSpPr txBox="1"/>
          <p:nvPr/>
        </p:nvSpPr>
        <p:spPr bwMode="gray">
          <a:xfrm>
            <a:off x="0" y="1468437"/>
            <a:ext cx="2589213" cy="540889"/>
          </a:xfrm>
          <a:prstGeom prst="rect">
            <a:avLst/>
          </a:prstGeom>
          <a:solidFill>
            <a:srgbClr val="FF3162"/>
          </a:solidFill>
        </p:spPr>
        <p:txBody>
          <a:bodyPr lIns="0" tIns="121920" rIns="0" bIns="121920" anchor="ctr"/>
          <a:lstStyle/>
          <a:p>
            <a:pPr marL="0" marR="0" lvl="0" indent="0" algn="ctr" defTabSz="16285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Secondary endpoint -</a:t>
            </a:r>
          </a:p>
          <a:p>
            <a:pPr marL="0" marR="0" lvl="0" indent="0" algn="ctr" defTabSz="16285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Final Analysis</a:t>
            </a:r>
          </a:p>
        </p:txBody>
      </p:sp>
      <p:grpSp>
        <p:nvGrpSpPr>
          <p:cNvPr id="94" name="Group 9">
            <a:extLst>
              <a:ext uri="{FF2B5EF4-FFF2-40B4-BE49-F238E27FC236}">
                <a16:creationId xmlns:a16="http://schemas.microsoft.com/office/drawing/2014/main" id="{C754B2AB-08B8-4DDD-B587-CCFE5A921D76}"/>
              </a:ext>
            </a:extLst>
          </p:cNvPr>
          <p:cNvGrpSpPr/>
          <p:nvPr/>
        </p:nvGrpSpPr>
        <p:grpSpPr>
          <a:xfrm>
            <a:off x="9883725" y="4894901"/>
            <a:ext cx="2505170" cy="501676"/>
            <a:chOff x="2568274" y="4656601"/>
            <a:chExt cx="1428202" cy="760930"/>
          </a:xfrm>
        </p:grpSpPr>
        <p:sp>
          <p:nvSpPr>
            <p:cNvPr id="95" name="TextBox 11">
              <a:extLst>
                <a:ext uri="{FF2B5EF4-FFF2-40B4-BE49-F238E27FC236}">
                  <a16:creationId xmlns:a16="http://schemas.microsoft.com/office/drawing/2014/main" id="{A5B3512B-B4B9-4EF3-A7C1-C0A3D2E4F3F3}"/>
                </a:ext>
              </a:extLst>
            </p:cNvPr>
            <p:cNvSpPr txBox="1"/>
            <p:nvPr/>
          </p:nvSpPr>
          <p:spPr bwMode="auto">
            <a:xfrm>
              <a:off x="2716951" y="4656601"/>
              <a:ext cx="1279525" cy="76093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30" b="1" kern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Darolutamide + ADT</a:t>
              </a:r>
            </a:p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30" b="1" kern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Placebo +ADT</a:t>
              </a:r>
            </a:p>
          </p:txBody>
        </p:sp>
        <p:cxnSp>
          <p:nvCxnSpPr>
            <p:cNvPr id="96" name="Straight Connector 12">
              <a:extLst>
                <a:ext uri="{FF2B5EF4-FFF2-40B4-BE49-F238E27FC236}">
                  <a16:creationId xmlns:a16="http://schemas.microsoft.com/office/drawing/2014/main" id="{2763EAE3-89AE-42C1-9DD5-C9EF2E9169E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568274" y="4881474"/>
              <a:ext cx="170818" cy="0"/>
            </a:xfrm>
            <a:prstGeom prst="line">
              <a:avLst/>
            </a:prstGeom>
            <a:noFill/>
            <a:ln w="25400" algn="ctr">
              <a:solidFill>
                <a:srgbClr val="89D32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7" name="Straight Connector 13">
              <a:extLst>
                <a:ext uri="{FF2B5EF4-FFF2-40B4-BE49-F238E27FC236}">
                  <a16:creationId xmlns:a16="http://schemas.microsoft.com/office/drawing/2014/main" id="{13D2B7CF-66FA-45B8-A56A-672AB63B73A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568274" y="5202759"/>
              <a:ext cx="170818" cy="0"/>
            </a:xfrm>
            <a:prstGeom prst="line">
              <a:avLst/>
            </a:prstGeom>
            <a:noFill/>
            <a:ln w="25400" algn="ctr">
              <a:solidFill>
                <a:srgbClr val="BDBDB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8" name="TextBox 10">
            <a:extLst>
              <a:ext uri="{FF2B5EF4-FFF2-40B4-BE49-F238E27FC236}">
                <a16:creationId xmlns:a16="http://schemas.microsoft.com/office/drawing/2014/main" id="{6ABCDC6F-F56A-4E62-AF23-C5ACD8694349}"/>
              </a:ext>
            </a:extLst>
          </p:cNvPr>
          <p:cNvSpPr txBox="1"/>
          <p:nvPr/>
        </p:nvSpPr>
        <p:spPr>
          <a:xfrm>
            <a:off x="3395572" y="4056898"/>
            <a:ext cx="2970177" cy="738664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>
                <a:latin typeface="+mn-lt"/>
                <a:cs typeface="Arial" panose="020B0604020202020204" pitchFamily="34" charset="0"/>
              </a:rPr>
              <a:t>HR 0.69 </a:t>
            </a:r>
            <a:r>
              <a:rPr lang="en-US" sz="1400">
                <a:latin typeface="+mn-lt"/>
                <a:cs typeface="Arial" panose="020B0604020202020204" pitchFamily="34" charset="0"/>
              </a:rPr>
              <a:t>(95% CI 0.53-0.88)</a:t>
            </a:r>
            <a:br>
              <a:rPr lang="en-US" sz="1400">
                <a:latin typeface="+mn-lt"/>
                <a:cs typeface="Arial" panose="020B0604020202020204" pitchFamily="34" charset="0"/>
              </a:rPr>
            </a:br>
            <a:r>
              <a:rPr lang="en-US" sz="1400" i="1">
                <a:latin typeface="+mn-lt"/>
                <a:cs typeface="Arial" panose="020B0604020202020204" pitchFamily="34" charset="0"/>
              </a:rPr>
              <a:t>P</a:t>
            </a:r>
            <a:r>
              <a:rPr lang="en-US" sz="1400">
                <a:latin typeface="+mn-lt"/>
                <a:cs typeface="Arial" panose="020B0604020202020204" pitchFamily="34" charset="0"/>
              </a:rPr>
              <a:t>=0.003</a:t>
            </a:r>
          </a:p>
          <a:p>
            <a:r>
              <a:rPr lang="en-US" sz="1400" b="1">
                <a:latin typeface="+mn-lt"/>
                <a:cs typeface="Arial" panose="020B0604020202020204" pitchFamily="34" charset="0"/>
              </a:rPr>
              <a:t>31% risk reduction for death </a:t>
            </a:r>
          </a:p>
        </p:txBody>
      </p:sp>
      <p:grpSp>
        <p:nvGrpSpPr>
          <p:cNvPr id="99" name="Group 22">
            <a:extLst>
              <a:ext uri="{FF2B5EF4-FFF2-40B4-BE49-F238E27FC236}">
                <a16:creationId xmlns:a16="http://schemas.microsoft.com/office/drawing/2014/main" id="{288AAB74-BFE2-4BA6-8F14-0C39E7CF7E48}"/>
              </a:ext>
            </a:extLst>
          </p:cNvPr>
          <p:cNvGrpSpPr>
            <a:grpSpLocks noChangeAspect="1"/>
          </p:cNvGrpSpPr>
          <p:nvPr/>
        </p:nvGrpSpPr>
        <p:grpSpPr>
          <a:xfrm>
            <a:off x="2208647" y="1327482"/>
            <a:ext cx="8583531" cy="5013045"/>
            <a:chOff x="12644" y="200135"/>
            <a:chExt cx="10138889" cy="6491378"/>
          </a:xfrm>
        </p:grpSpPr>
        <p:grpSp>
          <p:nvGrpSpPr>
            <p:cNvPr id="100" name="Group 23">
              <a:extLst>
                <a:ext uri="{FF2B5EF4-FFF2-40B4-BE49-F238E27FC236}">
                  <a16:creationId xmlns:a16="http://schemas.microsoft.com/office/drawing/2014/main" id="{A88760D7-0382-40D0-95A3-84ACD54B039F}"/>
                </a:ext>
              </a:extLst>
            </p:cNvPr>
            <p:cNvGrpSpPr/>
            <p:nvPr/>
          </p:nvGrpSpPr>
          <p:grpSpPr>
            <a:xfrm>
              <a:off x="690115" y="200135"/>
              <a:ext cx="9388669" cy="5681854"/>
              <a:chOff x="690115" y="200135"/>
              <a:chExt cx="9388669" cy="5681854"/>
            </a:xfrm>
          </p:grpSpPr>
          <p:pic>
            <p:nvPicPr>
              <p:cNvPr id="166" name="Picture 90">
                <a:extLst>
                  <a:ext uri="{FF2B5EF4-FFF2-40B4-BE49-F238E27FC236}">
                    <a16:creationId xmlns:a16="http://schemas.microsoft.com/office/drawing/2014/main" id="{9C9F9137-2D02-422A-A3F3-E738493A1F7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81" t="3111" r="94706" b="4065"/>
              <a:stretch/>
            </p:blipFill>
            <p:spPr>
              <a:xfrm>
                <a:off x="690115" y="200135"/>
                <a:ext cx="474219" cy="5500641"/>
              </a:xfrm>
              <a:prstGeom prst="rect">
                <a:avLst/>
              </a:prstGeom>
            </p:spPr>
          </p:pic>
          <p:pic>
            <p:nvPicPr>
              <p:cNvPr id="167" name="Picture 89">
                <a:extLst>
                  <a:ext uri="{FF2B5EF4-FFF2-40B4-BE49-F238E27FC236}">
                    <a16:creationId xmlns:a16="http://schemas.microsoft.com/office/drawing/2014/main" id="{EE91B24F-95B3-4C6C-BE35-39CF9BE9240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8246" t="91947" r="4834" b="2194"/>
              <a:stretch/>
            </p:blipFill>
            <p:spPr>
              <a:xfrm>
                <a:off x="1144456" y="5534748"/>
                <a:ext cx="8934328" cy="347241"/>
              </a:xfrm>
              <a:prstGeom prst="rect">
                <a:avLst/>
              </a:prstGeom>
            </p:spPr>
          </p:pic>
        </p:grpSp>
        <p:grpSp>
          <p:nvGrpSpPr>
            <p:cNvPr id="101" name="Group 24">
              <a:extLst>
                <a:ext uri="{FF2B5EF4-FFF2-40B4-BE49-F238E27FC236}">
                  <a16:creationId xmlns:a16="http://schemas.microsoft.com/office/drawing/2014/main" id="{617CAD7B-BB0F-4EF2-80D6-6322144D0F8A}"/>
                </a:ext>
              </a:extLst>
            </p:cNvPr>
            <p:cNvGrpSpPr/>
            <p:nvPr/>
          </p:nvGrpSpPr>
          <p:grpSpPr>
            <a:xfrm>
              <a:off x="1356139" y="300253"/>
              <a:ext cx="8528211" cy="2316271"/>
              <a:chOff x="1356139" y="300253"/>
              <a:chExt cx="8528211" cy="2316271"/>
            </a:xfrm>
          </p:grpSpPr>
          <p:sp>
            <p:nvSpPr>
              <p:cNvPr id="152" name="Freeform: Shape 75">
                <a:extLst>
                  <a:ext uri="{FF2B5EF4-FFF2-40B4-BE49-F238E27FC236}">
                    <a16:creationId xmlns:a16="http://schemas.microsoft.com/office/drawing/2014/main" id="{3D7946CF-B250-456E-A8F1-D342904FC771}"/>
                  </a:ext>
                </a:extLst>
              </p:cNvPr>
              <p:cNvSpPr/>
              <p:nvPr/>
            </p:nvSpPr>
            <p:spPr>
              <a:xfrm>
                <a:off x="4720660" y="806307"/>
                <a:ext cx="297685" cy="36041"/>
              </a:xfrm>
              <a:custGeom>
                <a:avLst/>
                <a:gdLst>
                  <a:gd name="connsiteX0" fmla="*/ 0 w 252442"/>
                  <a:gd name="connsiteY0" fmla="*/ 0 h 33659"/>
                  <a:gd name="connsiteX1" fmla="*/ 115001 w 252442"/>
                  <a:gd name="connsiteY1" fmla="*/ 0 h 33659"/>
                  <a:gd name="connsiteX2" fmla="*/ 115001 w 252442"/>
                  <a:gd name="connsiteY2" fmla="*/ 33659 h 33659"/>
                  <a:gd name="connsiteX3" fmla="*/ 252442 w 252442"/>
                  <a:gd name="connsiteY3" fmla="*/ 33659 h 33659"/>
                  <a:gd name="connsiteX4" fmla="*/ 252442 w 252442"/>
                  <a:gd name="connsiteY4" fmla="*/ 28049 h 33659"/>
                  <a:gd name="connsiteX0" fmla="*/ 0 w 281017"/>
                  <a:gd name="connsiteY0" fmla="*/ 0 h 33659"/>
                  <a:gd name="connsiteX1" fmla="*/ 115001 w 281017"/>
                  <a:gd name="connsiteY1" fmla="*/ 0 h 33659"/>
                  <a:gd name="connsiteX2" fmla="*/ 115001 w 281017"/>
                  <a:gd name="connsiteY2" fmla="*/ 33659 h 33659"/>
                  <a:gd name="connsiteX3" fmla="*/ 252442 w 281017"/>
                  <a:gd name="connsiteY3" fmla="*/ 33659 h 33659"/>
                  <a:gd name="connsiteX4" fmla="*/ 281017 w 281017"/>
                  <a:gd name="connsiteY4" fmla="*/ 30431 h 33659"/>
                  <a:gd name="connsiteX0" fmla="*/ 0 w 281017"/>
                  <a:gd name="connsiteY0" fmla="*/ 0 h 37574"/>
                  <a:gd name="connsiteX1" fmla="*/ 115001 w 281017"/>
                  <a:gd name="connsiteY1" fmla="*/ 0 h 37574"/>
                  <a:gd name="connsiteX2" fmla="*/ 115001 w 281017"/>
                  <a:gd name="connsiteY2" fmla="*/ 33659 h 37574"/>
                  <a:gd name="connsiteX3" fmla="*/ 252442 w 281017"/>
                  <a:gd name="connsiteY3" fmla="*/ 33659 h 37574"/>
                  <a:gd name="connsiteX4" fmla="*/ 281017 w 281017"/>
                  <a:gd name="connsiteY4" fmla="*/ 37574 h 37574"/>
                  <a:gd name="connsiteX0" fmla="*/ 0 w 281017"/>
                  <a:gd name="connsiteY0" fmla="*/ 0 h 33659"/>
                  <a:gd name="connsiteX1" fmla="*/ 115001 w 281017"/>
                  <a:gd name="connsiteY1" fmla="*/ 0 h 33659"/>
                  <a:gd name="connsiteX2" fmla="*/ 115001 w 281017"/>
                  <a:gd name="connsiteY2" fmla="*/ 33659 h 33659"/>
                  <a:gd name="connsiteX3" fmla="*/ 252442 w 281017"/>
                  <a:gd name="connsiteY3" fmla="*/ 33659 h 33659"/>
                  <a:gd name="connsiteX4" fmla="*/ 281017 w 281017"/>
                  <a:gd name="connsiteY4" fmla="*/ 30431 h 33659"/>
                  <a:gd name="connsiteX0" fmla="*/ 0 w 252442"/>
                  <a:gd name="connsiteY0" fmla="*/ 0 h 33659"/>
                  <a:gd name="connsiteX1" fmla="*/ 115001 w 252442"/>
                  <a:gd name="connsiteY1" fmla="*/ 0 h 33659"/>
                  <a:gd name="connsiteX2" fmla="*/ 115001 w 252442"/>
                  <a:gd name="connsiteY2" fmla="*/ 33659 h 33659"/>
                  <a:gd name="connsiteX3" fmla="*/ 252442 w 252442"/>
                  <a:gd name="connsiteY3" fmla="*/ 33659 h 33659"/>
                  <a:gd name="connsiteX0" fmla="*/ 0 w 283398"/>
                  <a:gd name="connsiteY0" fmla="*/ 0 h 33659"/>
                  <a:gd name="connsiteX1" fmla="*/ 115001 w 283398"/>
                  <a:gd name="connsiteY1" fmla="*/ 0 h 33659"/>
                  <a:gd name="connsiteX2" fmla="*/ 115001 w 283398"/>
                  <a:gd name="connsiteY2" fmla="*/ 33659 h 33659"/>
                  <a:gd name="connsiteX3" fmla="*/ 283398 w 283398"/>
                  <a:gd name="connsiteY3" fmla="*/ 33659 h 33659"/>
                  <a:gd name="connsiteX0" fmla="*/ 0 w 297685"/>
                  <a:gd name="connsiteY0" fmla="*/ 0 h 36041"/>
                  <a:gd name="connsiteX1" fmla="*/ 115001 w 297685"/>
                  <a:gd name="connsiteY1" fmla="*/ 0 h 36041"/>
                  <a:gd name="connsiteX2" fmla="*/ 115001 w 297685"/>
                  <a:gd name="connsiteY2" fmla="*/ 33659 h 36041"/>
                  <a:gd name="connsiteX3" fmla="*/ 297685 w 297685"/>
                  <a:gd name="connsiteY3" fmla="*/ 36041 h 36041"/>
                  <a:gd name="connsiteX0" fmla="*/ 0 w 297685"/>
                  <a:gd name="connsiteY0" fmla="*/ 0 h 36041"/>
                  <a:gd name="connsiteX1" fmla="*/ 115001 w 297685"/>
                  <a:gd name="connsiteY1" fmla="*/ 0 h 36041"/>
                  <a:gd name="connsiteX2" fmla="*/ 115001 w 297685"/>
                  <a:gd name="connsiteY2" fmla="*/ 33659 h 36041"/>
                  <a:gd name="connsiteX3" fmla="*/ 297685 w 297685"/>
                  <a:gd name="connsiteY3" fmla="*/ 36041 h 36041"/>
                  <a:gd name="connsiteX0" fmla="*/ 0 w 297685"/>
                  <a:gd name="connsiteY0" fmla="*/ 0 h 36041"/>
                  <a:gd name="connsiteX1" fmla="*/ 115001 w 297685"/>
                  <a:gd name="connsiteY1" fmla="*/ 0 h 36041"/>
                  <a:gd name="connsiteX2" fmla="*/ 115001 w 297685"/>
                  <a:gd name="connsiteY2" fmla="*/ 33659 h 36041"/>
                  <a:gd name="connsiteX3" fmla="*/ 297685 w 297685"/>
                  <a:gd name="connsiteY3" fmla="*/ 36041 h 36041"/>
                  <a:gd name="connsiteX0" fmla="*/ 0 w 297685"/>
                  <a:gd name="connsiteY0" fmla="*/ 0 h 36041"/>
                  <a:gd name="connsiteX1" fmla="*/ 115001 w 297685"/>
                  <a:gd name="connsiteY1" fmla="*/ 0 h 36041"/>
                  <a:gd name="connsiteX2" fmla="*/ 115001 w 297685"/>
                  <a:gd name="connsiteY2" fmla="*/ 33659 h 36041"/>
                  <a:gd name="connsiteX3" fmla="*/ 297685 w 297685"/>
                  <a:gd name="connsiteY3" fmla="*/ 36041 h 36041"/>
                  <a:gd name="connsiteX0" fmla="*/ 0 w 297685"/>
                  <a:gd name="connsiteY0" fmla="*/ 0 h 36041"/>
                  <a:gd name="connsiteX1" fmla="*/ 115001 w 297685"/>
                  <a:gd name="connsiteY1" fmla="*/ 0 h 36041"/>
                  <a:gd name="connsiteX2" fmla="*/ 115001 w 297685"/>
                  <a:gd name="connsiteY2" fmla="*/ 33659 h 36041"/>
                  <a:gd name="connsiteX3" fmla="*/ 297685 w 297685"/>
                  <a:gd name="connsiteY3" fmla="*/ 36041 h 36041"/>
                  <a:gd name="connsiteX0" fmla="*/ 0 w 297685"/>
                  <a:gd name="connsiteY0" fmla="*/ 0 h 36041"/>
                  <a:gd name="connsiteX1" fmla="*/ 115001 w 297685"/>
                  <a:gd name="connsiteY1" fmla="*/ 0 h 36041"/>
                  <a:gd name="connsiteX2" fmla="*/ 115001 w 297685"/>
                  <a:gd name="connsiteY2" fmla="*/ 33659 h 36041"/>
                  <a:gd name="connsiteX3" fmla="*/ 297685 w 297685"/>
                  <a:gd name="connsiteY3" fmla="*/ 36041 h 36041"/>
                  <a:gd name="connsiteX0" fmla="*/ 0 w 297685"/>
                  <a:gd name="connsiteY0" fmla="*/ 0 h 36041"/>
                  <a:gd name="connsiteX1" fmla="*/ 115001 w 297685"/>
                  <a:gd name="connsiteY1" fmla="*/ 0 h 36041"/>
                  <a:gd name="connsiteX2" fmla="*/ 115001 w 297685"/>
                  <a:gd name="connsiteY2" fmla="*/ 33659 h 36041"/>
                  <a:gd name="connsiteX3" fmla="*/ 297685 w 297685"/>
                  <a:gd name="connsiteY3" fmla="*/ 36041 h 36041"/>
                  <a:gd name="connsiteX0" fmla="*/ 0 w 297685"/>
                  <a:gd name="connsiteY0" fmla="*/ 0 h 36041"/>
                  <a:gd name="connsiteX1" fmla="*/ 115001 w 297685"/>
                  <a:gd name="connsiteY1" fmla="*/ 0 h 36041"/>
                  <a:gd name="connsiteX2" fmla="*/ 115001 w 297685"/>
                  <a:gd name="connsiteY2" fmla="*/ 33659 h 36041"/>
                  <a:gd name="connsiteX3" fmla="*/ 297685 w 297685"/>
                  <a:gd name="connsiteY3" fmla="*/ 36041 h 36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7685" h="36041">
                    <a:moveTo>
                      <a:pt x="0" y="0"/>
                    </a:moveTo>
                    <a:lnTo>
                      <a:pt x="115001" y="0"/>
                    </a:lnTo>
                    <a:lnTo>
                      <a:pt x="115001" y="33659"/>
                    </a:lnTo>
                    <a:lnTo>
                      <a:pt x="297685" y="36041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Freeform: Shape 76">
                <a:extLst>
                  <a:ext uri="{FF2B5EF4-FFF2-40B4-BE49-F238E27FC236}">
                    <a16:creationId xmlns:a16="http://schemas.microsoft.com/office/drawing/2014/main" id="{38C8D744-2094-4AAD-9D87-A3198DAA1617}"/>
                  </a:ext>
                </a:extLst>
              </p:cNvPr>
              <p:cNvSpPr/>
              <p:nvPr/>
            </p:nvSpPr>
            <p:spPr>
              <a:xfrm>
                <a:off x="4984321" y="849972"/>
                <a:ext cx="1166842" cy="263661"/>
              </a:xfrm>
              <a:custGeom>
                <a:avLst/>
                <a:gdLst>
                  <a:gd name="connsiteX0" fmla="*/ 0 w 1166842"/>
                  <a:gd name="connsiteY0" fmla="*/ 0 h 263661"/>
                  <a:gd name="connsiteX1" fmla="*/ 81343 w 1166842"/>
                  <a:gd name="connsiteY1" fmla="*/ 0 h 263661"/>
                  <a:gd name="connsiteX2" fmla="*/ 230003 w 1166842"/>
                  <a:gd name="connsiteY2" fmla="*/ 0 h 263661"/>
                  <a:gd name="connsiteX3" fmla="*/ 230003 w 1166842"/>
                  <a:gd name="connsiteY3" fmla="*/ 19634 h 263661"/>
                  <a:gd name="connsiteX4" fmla="*/ 283296 w 1166842"/>
                  <a:gd name="connsiteY4" fmla="*/ 19634 h 263661"/>
                  <a:gd name="connsiteX5" fmla="*/ 283296 w 1166842"/>
                  <a:gd name="connsiteY5" fmla="*/ 47683 h 263661"/>
                  <a:gd name="connsiteX6" fmla="*/ 322565 w 1166842"/>
                  <a:gd name="connsiteY6" fmla="*/ 47683 h 263661"/>
                  <a:gd name="connsiteX7" fmla="*/ 336589 w 1166842"/>
                  <a:gd name="connsiteY7" fmla="*/ 61707 h 263661"/>
                  <a:gd name="connsiteX8" fmla="*/ 493664 w 1166842"/>
                  <a:gd name="connsiteY8" fmla="*/ 61707 h 263661"/>
                  <a:gd name="connsiteX9" fmla="*/ 493664 w 1166842"/>
                  <a:gd name="connsiteY9" fmla="*/ 92562 h 263661"/>
                  <a:gd name="connsiteX10" fmla="*/ 594641 w 1166842"/>
                  <a:gd name="connsiteY10" fmla="*/ 92562 h 263661"/>
                  <a:gd name="connsiteX11" fmla="*/ 594641 w 1166842"/>
                  <a:gd name="connsiteY11" fmla="*/ 115001 h 263661"/>
                  <a:gd name="connsiteX12" fmla="*/ 667569 w 1166842"/>
                  <a:gd name="connsiteY12" fmla="*/ 115001 h 263661"/>
                  <a:gd name="connsiteX13" fmla="*/ 667569 w 1166842"/>
                  <a:gd name="connsiteY13" fmla="*/ 126221 h 263661"/>
                  <a:gd name="connsiteX14" fmla="*/ 698423 w 1166842"/>
                  <a:gd name="connsiteY14" fmla="*/ 126221 h 263661"/>
                  <a:gd name="connsiteX15" fmla="*/ 698423 w 1166842"/>
                  <a:gd name="connsiteY15" fmla="*/ 143050 h 263661"/>
                  <a:gd name="connsiteX16" fmla="*/ 712447 w 1166842"/>
                  <a:gd name="connsiteY16" fmla="*/ 143050 h 263661"/>
                  <a:gd name="connsiteX17" fmla="*/ 712447 w 1166842"/>
                  <a:gd name="connsiteY17" fmla="*/ 154270 h 263661"/>
                  <a:gd name="connsiteX18" fmla="*/ 723666 w 1166842"/>
                  <a:gd name="connsiteY18" fmla="*/ 165489 h 263661"/>
                  <a:gd name="connsiteX19" fmla="*/ 788180 w 1166842"/>
                  <a:gd name="connsiteY19" fmla="*/ 165489 h 263661"/>
                  <a:gd name="connsiteX20" fmla="*/ 788180 w 1166842"/>
                  <a:gd name="connsiteY20" fmla="*/ 185124 h 263661"/>
                  <a:gd name="connsiteX21" fmla="*/ 827448 w 1166842"/>
                  <a:gd name="connsiteY21" fmla="*/ 185124 h 263661"/>
                  <a:gd name="connsiteX22" fmla="*/ 827448 w 1166842"/>
                  <a:gd name="connsiteY22" fmla="*/ 196343 h 263661"/>
                  <a:gd name="connsiteX23" fmla="*/ 872327 w 1166842"/>
                  <a:gd name="connsiteY23" fmla="*/ 196343 h 263661"/>
                  <a:gd name="connsiteX24" fmla="*/ 883546 w 1166842"/>
                  <a:gd name="connsiteY24" fmla="*/ 207562 h 263661"/>
                  <a:gd name="connsiteX25" fmla="*/ 917205 w 1166842"/>
                  <a:gd name="connsiteY25" fmla="*/ 207562 h 263661"/>
                  <a:gd name="connsiteX26" fmla="*/ 917205 w 1166842"/>
                  <a:gd name="connsiteY26" fmla="*/ 232807 h 263661"/>
                  <a:gd name="connsiteX27" fmla="*/ 984523 w 1166842"/>
                  <a:gd name="connsiteY27" fmla="*/ 232807 h 263661"/>
                  <a:gd name="connsiteX28" fmla="*/ 984523 w 1166842"/>
                  <a:gd name="connsiteY28" fmla="*/ 263661 h 263661"/>
                  <a:gd name="connsiteX29" fmla="*/ 1166842 w 1166842"/>
                  <a:gd name="connsiteY29" fmla="*/ 263661 h 263661"/>
                  <a:gd name="connsiteX0" fmla="*/ 0 w 1166842"/>
                  <a:gd name="connsiteY0" fmla="*/ 0 h 343294"/>
                  <a:gd name="connsiteX1" fmla="*/ 81343 w 1166842"/>
                  <a:gd name="connsiteY1" fmla="*/ 0 h 343294"/>
                  <a:gd name="connsiteX2" fmla="*/ 230003 w 1166842"/>
                  <a:gd name="connsiteY2" fmla="*/ 0 h 343294"/>
                  <a:gd name="connsiteX3" fmla="*/ 230003 w 1166842"/>
                  <a:gd name="connsiteY3" fmla="*/ 19634 h 343294"/>
                  <a:gd name="connsiteX4" fmla="*/ 283296 w 1166842"/>
                  <a:gd name="connsiteY4" fmla="*/ 19634 h 343294"/>
                  <a:gd name="connsiteX5" fmla="*/ 283296 w 1166842"/>
                  <a:gd name="connsiteY5" fmla="*/ 47683 h 343294"/>
                  <a:gd name="connsiteX6" fmla="*/ 322565 w 1166842"/>
                  <a:gd name="connsiteY6" fmla="*/ 47683 h 343294"/>
                  <a:gd name="connsiteX7" fmla="*/ 336589 w 1166842"/>
                  <a:gd name="connsiteY7" fmla="*/ 61707 h 343294"/>
                  <a:gd name="connsiteX8" fmla="*/ 493664 w 1166842"/>
                  <a:gd name="connsiteY8" fmla="*/ 61707 h 343294"/>
                  <a:gd name="connsiteX9" fmla="*/ 493664 w 1166842"/>
                  <a:gd name="connsiteY9" fmla="*/ 92562 h 343294"/>
                  <a:gd name="connsiteX10" fmla="*/ 594641 w 1166842"/>
                  <a:gd name="connsiteY10" fmla="*/ 92562 h 343294"/>
                  <a:gd name="connsiteX11" fmla="*/ 594641 w 1166842"/>
                  <a:gd name="connsiteY11" fmla="*/ 115001 h 343294"/>
                  <a:gd name="connsiteX12" fmla="*/ 667569 w 1166842"/>
                  <a:gd name="connsiteY12" fmla="*/ 115001 h 343294"/>
                  <a:gd name="connsiteX13" fmla="*/ 667569 w 1166842"/>
                  <a:gd name="connsiteY13" fmla="*/ 126221 h 343294"/>
                  <a:gd name="connsiteX14" fmla="*/ 698423 w 1166842"/>
                  <a:gd name="connsiteY14" fmla="*/ 126221 h 343294"/>
                  <a:gd name="connsiteX15" fmla="*/ 698423 w 1166842"/>
                  <a:gd name="connsiteY15" fmla="*/ 143050 h 343294"/>
                  <a:gd name="connsiteX16" fmla="*/ 712447 w 1166842"/>
                  <a:gd name="connsiteY16" fmla="*/ 143050 h 343294"/>
                  <a:gd name="connsiteX17" fmla="*/ 712447 w 1166842"/>
                  <a:gd name="connsiteY17" fmla="*/ 154270 h 343294"/>
                  <a:gd name="connsiteX18" fmla="*/ 723666 w 1166842"/>
                  <a:gd name="connsiteY18" fmla="*/ 165489 h 343294"/>
                  <a:gd name="connsiteX19" fmla="*/ 788180 w 1166842"/>
                  <a:gd name="connsiteY19" fmla="*/ 165489 h 343294"/>
                  <a:gd name="connsiteX20" fmla="*/ 788180 w 1166842"/>
                  <a:gd name="connsiteY20" fmla="*/ 185124 h 343294"/>
                  <a:gd name="connsiteX21" fmla="*/ 827448 w 1166842"/>
                  <a:gd name="connsiteY21" fmla="*/ 185124 h 343294"/>
                  <a:gd name="connsiteX22" fmla="*/ 827448 w 1166842"/>
                  <a:gd name="connsiteY22" fmla="*/ 196343 h 343294"/>
                  <a:gd name="connsiteX23" fmla="*/ 872327 w 1166842"/>
                  <a:gd name="connsiteY23" fmla="*/ 196343 h 343294"/>
                  <a:gd name="connsiteX24" fmla="*/ 893071 w 1166842"/>
                  <a:gd name="connsiteY24" fmla="*/ 343294 h 343294"/>
                  <a:gd name="connsiteX25" fmla="*/ 917205 w 1166842"/>
                  <a:gd name="connsiteY25" fmla="*/ 207562 h 343294"/>
                  <a:gd name="connsiteX26" fmla="*/ 917205 w 1166842"/>
                  <a:gd name="connsiteY26" fmla="*/ 232807 h 343294"/>
                  <a:gd name="connsiteX27" fmla="*/ 984523 w 1166842"/>
                  <a:gd name="connsiteY27" fmla="*/ 232807 h 343294"/>
                  <a:gd name="connsiteX28" fmla="*/ 984523 w 1166842"/>
                  <a:gd name="connsiteY28" fmla="*/ 263661 h 343294"/>
                  <a:gd name="connsiteX29" fmla="*/ 1166842 w 1166842"/>
                  <a:gd name="connsiteY29" fmla="*/ 263661 h 343294"/>
                  <a:gd name="connsiteX0" fmla="*/ 0 w 1166842"/>
                  <a:gd name="connsiteY0" fmla="*/ 0 h 263661"/>
                  <a:gd name="connsiteX1" fmla="*/ 81343 w 1166842"/>
                  <a:gd name="connsiteY1" fmla="*/ 0 h 263661"/>
                  <a:gd name="connsiteX2" fmla="*/ 230003 w 1166842"/>
                  <a:gd name="connsiteY2" fmla="*/ 0 h 263661"/>
                  <a:gd name="connsiteX3" fmla="*/ 230003 w 1166842"/>
                  <a:gd name="connsiteY3" fmla="*/ 19634 h 263661"/>
                  <a:gd name="connsiteX4" fmla="*/ 283296 w 1166842"/>
                  <a:gd name="connsiteY4" fmla="*/ 19634 h 263661"/>
                  <a:gd name="connsiteX5" fmla="*/ 283296 w 1166842"/>
                  <a:gd name="connsiteY5" fmla="*/ 47683 h 263661"/>
                  <a:gd name="connsiteX6" fmla="*/ 322565 w 1166842"/>
                  <a:gd name="connsiteY6" fmla="*/ 47683 h 263661"/>
                  <a:gd name="connsiteX7" fmla="*/ 336589 w 1166842"/>
                  <a:gd name="connsiteY7" fmla="*/ 61707 h 263661"/>
                  <a:gd name="connsiteX8" fmla="*/ 493664 w 1166842"/>
                  <a:gd name="connsiteY8" fmla="*/ 61707 h 263661"/>
                  <a:gd name="connsiteX9" fmla="*/ 493664 w 1166842"/>
                  <a:gd name="connsiteY9" fmla="*/ 92562 h 263661"/>
                  <a:gd name="connsiteX10" fmla="*/ 594641 w 1166842"/>
                  <a:gd name="connsiteY10" fmla="*/ 92562 h 263661"/>
                  <a:gd name="connsiteX11" fmla="*/ 594641 w 1166842"/>
                  <a:gd name="connsiteY11" fmla="*/ 115001 h 263661"/>
                  <a:gd name="connsiteX12" fmla="*/ 667569 w 1166842"/>
                  <a:gd name="connsiteY12" fmla="*/ 115001 h 263661"/>
                  <a:gd name="connsiteX13" fmla="*/ 667569 w 1166842"/>
                  <a:gd name="connsiteY13" fmla="*/ 126221 h 263661"/>
                  <a:gd name="connsiteX14" fmla="*/ 698423 w 1166842"/>
                  <a:gd name="connsiteY14" fmla="*/ 126221 h 263661"/>
                  <a:gd name="connsiteX15" fmla="*/ 698423 w 1166842"/>
                  <a:gd name="connsiteY15" fmla="*/ 143050 h 263661"/>
                  <a:gd name="connsiteX16" fmla="*/ 712447 w 1166842"/>
                  <a:gd name="connsiteY16" fmla="*/ 143050 h 263661"/>
                  <a:gd name="connsiteX17" fmla="*/ 712447 w 1166842"/>
                  <a:gd name="connsiteY17" fmla="*/ 154270 h 263661"/>
                  <a:gd name="connsiteX18" fmla="*/ 723666 w 1166842"/>
                  <a:gd name="connsiteY18" fmla="*/ 165489 h 263661"/>
                  <a:gd name="connsiteX19" fmla="*/ 788180 w 1166842"/>
                  <a:gd name="connsiteY19" fmla="*/ 165489 h 263661"/>
                  <a:gd name="connsiteX20" fmla="*/ 788180 w 1166842"/>
                  <a:gd name="connsiteY20" fmla="*/ 185124 h 263661"/>
                  <a:gd name="connsiteX21" fmla="*/ 827448 w 1166842"/>
                  <a:gd name="connsiteY21" fmla="*/ 185124 h 263661"/>
                  <a:gd name="connsiteX22" fmla="*/ 827448 w 1166842"/>
                  <a:gd name="connsiteY22" fmla="*/ 196343 h 263661"/>
                  <a:gd name="connsiteX23" fmla="*/ 872327 w 1166842"/>
                  <a:gd name="connsiteY23" fmla="*/ 196343 h 263661"/>
                  <a:gd name="connsiteX24" fmla="*/ 883546 w 1166842"/>
                  <a:gd name="connsiteY24" fmla="*/ 217088 h 263661"/>
                  <a:gd name="connsiteX25" fmla="*/ 917205 w 1166842"/>
                  <a:gd name="connsiteY25" fmla="*/ 207562 h 263661"/>
                  <a:gd name="connsiteX26" fmla="*/ 917205 w 1166842"/>
                  <a:gd name="connsiteY26" fmla="*/ 232807 h 263661"/>
                  <a:gd name="connsiteX27" fmla="*/ 984523 w 1166842"/>
                  <a:gd name="connsiteY27" fmla="*/ 232807 h 263661"/>
                  <a:gd name="connsiteX28" fmla="*/ 984523 w 1166842"/>
                  <a:gd name="connsiteY28" fmla="*/ 263661 h 263661"/>
                  <a:gd name="connsiteX29" fmla="*/ 1166842 w 1166842"/>
                  <a:gd name="connsiteY29" fmla="*/ 263661 h 263661"/>
                  <a:gd name="connsiteX0" fmla="*/ 0 w 1166842"/>
                  <a:gd name="connsiteY0" fmla="*/ 0 h 263661"/>
                  <a:gd name="connsiteX1" fmla="*/ 81343 w 1166842"/>
                  <a:gd name="connsiteY1" fmla="*/ 0 h 263661"/>
                  <a:gd name="connsiteX2" fmla="*/ 230003 w 1166842"/>
                  <a:gd name="connsiteY2" fmla="*/ 0 h 263661"/>
                  <a:gd name="connsiteX3" fmla="*/ 230003 w 1166842"/>
                  <a:gd name="connsiteY3" fmla="*/ 19634 h 263661"/>
                  <a:gd name="connsiteX4" fmla="*/ 283296 w 1166842"/>
                  <a:gd name="connsiteY4" fmla="*/ 19634 h 263661"/>
                  <a:gd name="connsiteX5" fmla="*/ 283296 w 1166842"/>
                  <a:gd name="connsiteY5" fmla="*/ 47683 h 263661"/>
                  <a:gd name="connsiteX6" fmla="*/ 322565 w 1166842"/>
                  <a:gd name="connsiteY6" fmla="*/ 47683 h 263661"/>
                  <a:gd name="connsiteX7" fmla="*/ 336589 w 1166842"/>
                  <a:gd name="connsiteY7" fmla="*/ 61707 h 263661"/>
                  <a:gd name="connsiteX8" fmla="*/ 493664 w 1166842"/>
                  <a:gd name="connsiteY8" fmla="*/ 61707 h 263661"/>
                  <a:gd name="connsiteX9" fmla="*/ 493664 w 1166842"/>
                  <a:gd name="connsiteY9" fmla="*/ 92562 h 263661"/>
                  <a:gd name="connsiteX10" fmla="*/ 594641 w 1166842"/>
                  <a:gd name="connsiteY10" fmla="*/ 92562 h 263661"/>
                  <a:gd name="connsiteX11" fmla="*/ 594641 w 1166842"/>
                  <a:gd name="connsiteY11" fmla="*/ 115001 h 263661"/>
                  <a:gd name="connsiteX12" fmla="*/ 667569 w 1166842"/>
                  <a:gd name="connsiteY12" fmla="*/ 115001 h 263661"/>
                  <a:gd name="connsiteX13" fmla="*/ 667569 w 1166842"/>
                  <a:gd name="connsiteY13" fmla="*/ 126221 h 263661"/>
                  <a:gd name="connsiteX14" fmla="*/ 698423 w 1166842"/>
                  <a:gd name="connsiteY14" fmla="*/ 126221 h 263661"/>
                  <a:gd name="connsiteX15" fmla="*/ 698423 w 1166842"/>
                  <a:gd name="connsiteY15" fmla="*/ 143050 h 263661"/>
                  <a:gd name="connsiteX16" fmla="*/ 712447 w 1166842"/>
                  <a:gd name="connsiteY16" fmla="*/ 143050 h 263661"/>
                  <a:gd name="connsiteX17" fmla="*/ 712447 w 1166842"/>
                  <a:gd name="connsiteY17" fmla="*/ 154270 h 263661"/>
                  <a:gd name="connsiteX18" fmla="*/ 723666 w 1166842"/>
                  <a:gd name="connsiteY18" fmla="*/ 165489 h 263661"/>
                  <a:gd name="connsiteX19" fmla="*/ 788180 w 1166842"/>
                  <a:gd name="connsiteY19" fmla="*/ 165489 h 263661"/>
                  <a:gd name="connsiteX20" fmla="*/ 788180 w 1166842"/>
                  <a:gd name="connsiteY20" fmla="*/ 185124 h 263661"/>
                  <a:gd name="connsiteX21" fmla="*/ 827448 w 1166842"/>
                  <a:gd name="connsiteY21" fmla="*/ 185124 h 263661"/>
                  <a:gd name="connsiteX22" fmla="*/ 827448 w 1166842"/>
                  <a:gd name="connsiteY22" fmla="*/ 196343 h 263661"/>
                  <a:gd name="connsiteX23" fmla="*/ 872327 w 1166842"/>
                  <a:gd name="connsiteY23" fmla="*/ 196343 h 263661"/>
                  <a:gd name="connsiteX24" fmla="*/ 883546 w 1166842"/>
                  <a:gd name="connsiteY24" fmla="*/ 193275 h 263661"/>
                  <a:gd name="connsiteX25" fmla="*/ 917205 w 1166842"/>
                  <a:gd name="connsiteY25" fmla="*/ 207562 h 263661"/>
                  <a:gd name="connsiteX26" fmla="*/ 917205 w 1166842"/>
                  <a:gd name="connsiteY26" fmla="*/ 232807 h 263661"/>
                  <a:gd name="connsiteX27" fmla="*/ 984523 w 1166842"/>
                  <a:gd name="connsiteY27" fmla="*/ 232807 h 263661"/>
                  <a:gd name="connsiteX28" fmla="*/ 984523 w 1166842"/>
                  <a:gd name="connsiteY28" fmla="*/ 263661 h 263661"/>
                  <a:gd name="connsiteX29" fmla="*/ 1166842 w 1166842"/>
                  <a:gd name="connsiteY29" fmla="*/ 263661 h 263661"/>
                  <a:gd name="connsiteX0" fmla="*/ 0 w 1166842"/>
                  <a:gd name="connsiteY0" fmla="*/ 0 h 263661"/>
                  <a:gd name="connsiteX1" fmla="*/ 81343 w 1166842"/>
                  <a:gd name="connsiteY1" fmla="*/ 0 h 263661"/>
                  <a:gd name="connsiteX2" fmla="*/ 230003 w 1166842"/>
                  <a:gd name="connsiteY2" fmla="*/ 0 h 263661"/>
                  <a:gd name="connsiteX3" fmla="*/ 230003 w 1166842"/>
                  <a:gd name="connsiteY3" fmla="*/ 19634 h 263661"/>
                  <a:gd name="connsiteX4" fmla="*/ 283296 w 1166842"/>
                  <a:gd name="connsiteY4" fmla="*/ 19634 h 263661"/>
                  <a:gd name="connsiteX5" fmla="*/ 283296 w 1166842"/>
                  <a:gd name="connsiteY5" fmla="*/ 47683 h 263661"/>
                  <a:gd name="connsiteX6" fmla="*/ 322565 w 1166842"/>
                  <a:gd name="connsiteY6" fmla="*/ 47683 h 263661"/>
                  <a:gd name="connsiteX7" fmla="*/ 336589 w 1166842"/>
                  <a:gd name="connsiteY7" fmla="*/ 61707 h 263661"/>
                  <a:gd name="connsiteX8" fmla="*/ 493664 w 1166842"/>
                  <a:gd name="connsiteY8" fmla="*/ 61707 h 263661"/>
                  <a:gd name="connsiteX9" fmla="*/ 493664 w 1166842"/>
                  <a:gd name="connsiteY9" fmla="*/ 92562 h 263661"/>
                  <a:gd name="connsiteX10" fmla="*/ 594641 w 1166842"/>
                  <a:gd name="connsiteY10" fmla="*/ 92562 h 263661"/>
                  <a:gd name="connsiteX11" fmla="*/ 594641 w 1166842"/>
                  <a:gd name="connsiteY11" fmla="*/ 115001 h 263661"/>
                  <a:gd name="connsiteX12" fmla="*/ 667569 w 1166842"/>
                  <a:gd name="connsiteY12" fmla="*/ 115001 h 263661"/>
                  <a:gd name="connsiteX13" fmla="*/ 667569 w 1166842"/>
                  <a:gd name="connsiteY13" fmla="*/ 126221 h 263661"/>
                  <a:gd name="connsiteX14" fmla="*/ 698423 w 1166842"/>
                  <a:gd name="connsiteY14" fmla="*/ 126221 h 263661"/>
                  <a:gd name="connsiteX15" fmla="*/ 698423 w 1166842"/>
                  <a:gd name="connsiteY15" fmla="*/ 143050 h 263661"/>
                  <a:gd name="connsiteX16" fmla="*/ 712447 w 1166842"/>
                  <a:gd name="connsiteY16" fmla="*/ 143050 h 263661"/>
                  <a:gd name="connsiteX17" fmla="*/ 712447 w 1166842"/>
                  <a:gd name="connsiteY17" fmla="*/ 154270 h 263661"/>
                  <a:gd name="connsiteX18" fmla="*/ 723666 w 1166842"/>
                  <a:gd name="connsiteY18" fmla="*/ 165489 h 263661"/>
                  <a:gd name="connsiteX19" fmla="*/ 788180 w 1166842"/>
                  <a:gd name="connsiteY19" fmla="*/ 165489 h 263661"/>
                  <a:gd name="connsiteX20" fmla="*/ 788180 w 1166842"/>
                  <a:gd name="connsiteY20" fmla="*/ 185124 h 263661"/>
                  <a:gd name="connsiteX21" fmla="*/ 827448 w 1166842"/>
                  <a:gd name="connsiteY21" fmla="*/ 185124 h 263661"/>
                  <a:gd name="connsiteX22" fmla="*/ 827448 w 1166842"/>
                  <a:gd name="connsiteY22" fmla="*/ 196343 h 263661"/>
                  <a:gd name="connsiteX23" fmla="*/ 872327 w 1166842"/>
                  <a:gd name="connsiteY23" fmla="*/ 196343 h 263661"/>
                  <a:gd name="connsiteX24" fmla="*/ 883546 w 1166842"/>
                  <a:gd name="connsiteY24" fmla="*/ 207562 h 263661"/>
                  <a:gd name="connsiteX25" fmla="*/ 917205 w 1166842"/>
                  <a:gd name="connsiteY25" fmla="*/ 207562 h 263661"/>
                  <a:gd name="connsiteX26" fmla="*/ 917205 w 1166842"/>
                  <a:gd name="connsiteY26" fmla="*/ 232807 h 263661"/>
                  <a:gd name="connsiteX27" fmla="*/ 984523 w 1166842"/>
                  <a:gd name="connsiteY27" fmla="*/ 232807 h 263661"/>
                  <a:gd name="connsiteX28" fmla="*/ 984523 w 1166842"/>
                  <a:gd name="connsiteY28" fmla="*/ 263661 h 263661"/>
                  <a:gd name="connsiteX29" fmla="*/ 1166842 w 1166842"/>
                  <a:gd name="connsiteY29" fmla="*/ 263661 h 263661"/>
                  <a:gd name="connsiteX0" fmla="*/ 0 w 1166842"/>
                  <a:gd name="connsiteY0" fmla="*/ 0 h 263661"/>
                  <a:gd name="connsiteX1" fmla="*/ 81343 w 1166842"/>
                  <a:gd name="connsiteY1" fmla="*/ 0 h 263661"/>
                  <a:gd name="connsiteX2" fmla="*/ 230003 w 1166842"/>
                  <a:gd name="connsiteY2" fmla="*/ 0 h 263661"/>
                  <a:gd name="connsiteX3" fmla="*/ 230003 w 1166842"/>
                  <a:gd name="connsiteY3" fmla="*/ 19634 h 263661"/>
                  <a:gd name="connsiteX4" fmla="*/ 283296 w 1166842"/>
                  <a:gd name="connsiteY4" fmla="*/ 19634 h 263661"/>
                  <a:gd name="connsiteX5" fmla="*/ 283296 w 1166842"/>
                  <a:gd name="connsiteY5" fmla="*/ 47683 h 263661"/>
                  <a:gd name="connsiteX6" fmla="*/ 322565 w 1166842"/>
                  <a:gd name="connsiteY6" fmla="*/ 47683 h 263661"/>
                  <a:gd name="connsiteX7" fmla="*/ 336589 w 1166842"/>
                  <a:gd name="connsiteY7" fmla="*/ 61707 h 263661"/>
                  <a:gd name="connsiteX8" fmla="*/ 493664 w 1166842"/>
                  <a:gd name="connsiteY8" fmla="*/ 61707 h 263661"/>
                  <a:gd name="connsiteX9" fmla="*/ 493664 w 1166842"/>
                  <a:gd name="connsiteY9" fmla="*/ 92562 h 263661"/>
                  <a:gd name="connsiteX10" fmla="*/ 594641 w 1166842"/>
                  <a:gd name="connsiteY10" fmla="*/ 92562 h 263661"/>
                  <a:gd name="connsiteX11" fmla="*/ 594641 w 1166842"/>
                  <a:gd name="connsiteY11" fmla="*/ 115001 h 263661"/>
                  <a:gd name="connsiteX12" fmla="*/ 667569 w 1166842"/>
                  <a:gd name="connsiteY12" fmla="*/ 115001 h 263661"/>
                  <a:gd name="connsiteX13" fmla="*/ 667569 w 1166842"/>
                  <a:gd name="connsiteY13" fmla="*/ 126221 h 263661"/>
                  <a:gd name="connsiteX14" fmla="*/ 698423 w 1166842"/>
                  <a:gd name="connsiteY14" fmla="*/ 126221 h 263661"/>
                  <a:gd name="connsiteX15" fmla="*/ 698423 w 1166842"/>
                  <a:gd name="connsiteY15" fmla="*/ 143050 h 263661"/>
                  <a:gd name="connsiteX16" fmla="*/ 712447 w 1166842"/>
                  <a:gd name="connsiteY16" fmla="*/ 143050 h 263661"/>
                  <a:gd name="connsiteX17" fmla="*/ 712447 w 1166842"/>
                  <a:gd name="connsiteY17" fmla="*/ 154270 h 263661"/>
                  <a:gd name="connsiteX18" fmla="*/ 723666 w 1166842"/>
                  <a:gd name="connsiteY18" fmla="*/ 165489 h 263661"/>
                  <a:gd name="connsiteX19" fmla="*/ 788180 w 1166842"/>
                  <a:gd name="connsiteY19" fmla="*/ 165489 h 263661"/>
                  <a:gd name="connsiteX20" fmla="*/ 788180 w 1166842"/>
                  <a:gd name="connsiteY20" fmla="*/ 185124 h 263661"/>
                  <a:gd name="connsiteX21" fmla="*/ 827448 w 1166842"/>
                  <a:gd name="connsiteY21" fmla="*/ 185124 h 263661"/>
                  <a:gd name="connsiteX22" fmla="*/ 827448 w 1166842"/>
                  <a:gd name="connsiteY22" fmla="*/ 196343 h 263661"/>
                  <a:gd name="connsiteX23" fmla="*/ 872327 w 1166842"/>
                  <a:gd name="connsiteY23" fmla="*/ 196343 h 263661"/>
                  <a:gd name="connsiteX24" fmla="*/ 874021 w 1166842"/>
                  <a:gd name="connsiteY24" fmla="*/ 209943 h 263661"/>
                  <a:gd name="connsiteX25" fmla="*/ 917205 w 1166842"/>
                  <a:gd name="connsiteY25" fmla="*/ 207562 h 263661"/>
                  <a:gd name="connsiteX26" fmla="*/ 917205 w 1166842"/>
                  <a:gd name="connsiteY26" fmla="*/ 232807 h 263661"/>
                  <a:gd name="connsiteX27" fmla="*/ 984523 w 1166842"/>
                  <a:gd name="connsiteY27" fmla="*/ 232807 h 263661"/>
                  <a:gd name="connsiteX28" fmla="*/ 984523 w 1166842"/>
                  <a:gd name="connsiteY28" fmla="*/ 263661 h 263661"/>
                  <a:gd name="connsiteX29" fmla="*/ 1166842 w 1166842"/>
                  <a:gd name="connsiteY29" fmla="*/ 263661 h 263661"/>
                  <a:gd name="connsiteX0" fmla="*/ 0 w 1166842"/>
                  <a:gd name="connsiteY0" fmla="*/ 0 h 263661"/>
                  <a:gd name="connsiteX1" fmla="*/ 81343 w 1166842"/>
                  <a:gd name="connsiteY1" fmla="*/ 0 h 263661"/>
                  <a:gd name="connsiteX2" fmla="*/ 230003 w 1166842"/>
                  <a:gd name="connsiteY2" fmla="*/ 0 h 263661"/>
                  <a:gd name="connsiteX3" fmla="*/ 230003 w 1166842"/>
                  <a:gd name="connsiteY3" fmla="*/ 19634 h 263661"/>
                  <a:gd name="connsiteX4" fmla="*/ 283296 w 1166842"/>
                  <a:gd name="connsiteY4" fmla="*/ 19634 h 263661"/>
                  <a:gd name="connsiteX5" fmla="*/ 283296 w 1166842"/>
                  <a:gd name="connsiteY5" fmla="*/ 47683 h 263661"/>
                  <a:gd name="connsiteX6" fmla="*/ 322565 w 1166842"/>
                  <a:gd name="connsiteY6" fmla="*/ 47683 h 263661"/>
                  <a:gd name="connsiteX7" fmla="*/ 336589 w 1166842"/>
                  <a:gd name="connsiteY7" fmla="*/ 61707 h 263661"/>
                  <a:gd name="connsiteX8" fmla="*/ 493664 w 1166842"/>
                  <a:gd name="connsiteY8" fmla="*/ 61707 h 263661"/>
                  <a:gd name="connsiteX9" fmla="*/ 493664 w 1166842"/>
                  <a:gd name="connsiteY9" fmla="*/ 92562 h 263661"/>
                  <a:gd name="connsiteX10" fmla="*/ 594641 w 1166842"/>
                  <a:gd name="connsiteY10" fmla="*/ 92562 h 263661"/>
                  <a:gd name="connsiteX11" fmla="*/ 594641 w 1166842"/>
                  <a:gd name="connsiteY11" fmla="*/ 115001 h 263661"/>
                  <a:gd name="connsiteX12" fmla="*/ 667569 w 1166842"/>
                  <a:gd name="connsiteY12" fmla="*/ 115001 h 263661"/>
                  <a:gd name="connsiteX13" fmla="*/ 667569 w 1166842"/>
                  <a:gd name="connsiteY13" fmla="*/ 126221 h 263661"/>
                  <a:gd name="connsiteX14" fmla="*/ 698423 w 1166842"/>
                  <a:gd name="connsiteY14" fmla="*/ 126221 h 263661"/>
                  <a:gd name="connsiteX15" fmla="*/ 698423 w 1166842"/>
                  <a:gd name="connsiteY15" fmla="*/ 143050 h 263661"/>
                  <a:gd name="connsiteX16" fmla="*/ 712447 w 1166842"/>
                  <a:gd name="connsiteY16" fmla="*/ 143050 h 263661"/>
                  <a:gd name="connsiteX17" fmla="*/ 712447 w 1166842"/>
                  <a:gd name="connsiteY17" fmla="*/ 154270 h 263661"/>
                  <a:gd name="connsiteX18" fmla="*/ 714141 w 1166842"/>
                  <a:gd name="connsiteY18" fmla="*/ 172632 h 263661"/>
                  <a:gd name="connsiteX19" fmla="*/ 788180 w 1166842"/>
                  <a:gd name="connsiteY19" fmla="*/ 165489 h 263661"/>
                  <a:gd name="connsiteX20" fmla="*/ 788180 w 1166842"/>
                  <a:gd name="connsiteY20" fmla="*/ 185124 h 263661"/>
                  <a:gd name="connsiteX21" fmla="*/ 827448 w 1166842"/>
                  <a:gd name="connsiteY21" fmla="*/ 185124 h 263661"/>
                  <a:gd name="connsiteX22" fmla="*/ 827448 w 1166842"/>
                  <a:gd name="connsiteY22" fmla="*/ 196343 h 263661"/>
                  <a:gd name="connsiteX23" fmla="*/ 872327 w 1166842"/>
                  <a:gd name="connsiteY23" fmla="*/ 196343 h 263661"/>
                  <a:gd name="connsiteX24" fmla="*/ 874021 w 1166842"/>
                  <a:gd name="connsiteY24" fmla="*/ 209943 h 263661"/>
                  <a:gd name="connsiteX25" fmla="*/ 917205 w 1166842"/>
                  <a:gd name="connsiteY25" fmla="*/ 207562 h 263661"/>
                  <a:gd name="connsiteX26" fmla="*/ 917205 w 1166842"/>
                  <a:gd name="connsiteY26" fmla="*/ 232807 h 263661"/>
                  <a:gd name="connsiteX27" fmla="*/ 984523 w 1166842"/>
                  <a:gd name="connsiteY27" fmla="*/ 232807 h 263661"/>
                  <a:gd name="connsiteX28" fmla="*/ 984523 w 1166842"/>
                  <a:gd name="connsiteY28" fmla="*/ 263661 h 263661"/>
                  <a:gd name="connsiteX29" fmla="*/ 1166842 w 1166842"/>
                  <a:gd name="connsiteY29" fmla="*/ 263661 h 263661"/>
                  <a:gd name="connsiteX0" fmla="*/ 0 w 1166842"/>
                  <a:gd name="connsiteY0" fmla="*/ 0 h 263661"/>
                  <a:gd name="connsiteX1" fmla="*/ 81343 w 1166842"/>
                  <a:gd name="connsiteY1" fmla="*/ 0 h 263661"/>
                  <a:gd name="connsiteX2" fmla="*/ 230003 w 1166842"/>
                  <a:gd name="connsiteY2" fmla="*/ 0 h 263661"/>
                  <a:gd name="connsiteX3" fmla="*/ 230003 w 1166842"/>
                  <a:gd name="connsiteY3" fmla="*/ 19634 h 263661"/>
                  <a:gd name="connsiteX4" fmla="*/ 283296 w 1166842"/>
                  <a:gd name="connsiteY4" fmla="*/ 19634 h 263661"/>
                  <a:gd name="connsiteX5" fmla="*/ 283296 w 1166842"/>
                  <a:gd name="connsiteY5" fmla="*/ 47683 h 263661"/>
                  <a:gd name="connsiteX6" fmla="*/ 322565 w 1166842"/>
                  <a:gd name="connsiteY6" fmla="*/ 47683 h 263661"/>
                  <a:gd name="connsiteX7" fmla="*/ 336589 w 1166842"/>
                  <a:gd name="connsiteY7" fmla="*/ 61707 h 263661"/>
                  <a:gd name="connsiteX8" fmla="*/ 493664 w 1166842"/>
                  <a:gd name="connsiteY8" fmla="*/ 61707 h 263661"/>
                  <a:gd name="connsiteX9" fmla="*/ 493664 w 1166842"/>
                  <a:gd name="connsiteY9" fmla="*/ 92562 h 263661"/>
                  <a:gd name="connsiteX10" fmla="*/ 594641 w 1166842"/>
                  <a:gd name="connsiteY10" fmla="*/ 92562 h 263661"/>
                  <a:gd name="connsiteX11" fmla="*/ 594641 w 1166842"/>
                  <a:gd name="connsiteY11" fmla="*/ 115001 h 263661"/>
                  <a:gd name="connsiteX12" fmla="*/ 667569 w 1166842"/>
                  <a:gd name="connsiteY12" fmla="*/ 115001 h 263661"/>
                  <a:gd name="connsiteX13" fmla="*/ 667569 w 1166842"/>
                  <a:gd name="connsiteY13" fmla="*/ 126221 h 263661"/>
                  <a:gd name="connsiteX14" fmla="*/ 698423 w 1166842"/>
                  <a:gd name="connsiteY14" fmla="*/ 126221 h 263661"/>
                  <a:gd name="connsiteX15" fmla="*/ 698423 w 1166842"/>
                  <a:gd name="connsiteY15" fmla="*/ 143050 h 263661"/>
                  <a:gd name="connsiteX16" fmla="*/ 712447 w 1166842"/>
                  <a:gd name="connsiteY16" fmla="*/ 143050 h 263661"/>
                  <a:gd name="connsiteX17" fmla="*/ 712447 w 1166842"/>
                  <a:gd name="connsiteY17" fmla="*/ 154270 h 263661"/>
                  <a:gd name="connsiteX18" fmla="*/ 714141 w 1166842"/>
                  <a:gd name="connsiteY18" fmla="*/ 165488 h 263661"/>
                  <a:gd name="connsiteX19" fmla="*/ 788180 w 1166842"/>
                  <a:gd name="connsiteY19" fmla="*/ 165489 h 263661"/>
                  <a:gd name="connsiteX20" fmla="*/ 788180 w 1166842"/>
                  <a:gd name="connsiteY20" fmla="*/ 185124 h 263661"/>
                  <a:gd name="connsiteX21" fmla="*/ 827448 w 1166842"/>
                  <a:gd name="connsiteY21" fmla="*/ 185124 h 263661"/>
                  <a:gd name="connsiteX22" fmla="*/ 827448 w 1166842"/>
                  <a:gd name="connsiteY22" fmla="*/ 196343 h 263661"/>
                  <a:gd name="connsiteX23" fmla="*/ 872327 w 1166842"/>
                  <a:gd name="connsiteY23" fmla="*/ 196343 h 263661"/>
                  <a:gd name="connsiteX24" fmla="*/ 874021 w 1166842"/>
                  <a:gd name="connsiteY24" fmla="*/ 209943 h 263661"/>
                  <a:gd name="connsiteX25" fmla="*/ 917205 w 1166842"/>
                  <a:gd name="connsiteY25" fmla="*/ 207562 h 263661"/>
                  <a:gd name="connsiteX26" fmla="*/ 917205 w 1166842"/>
                  <a:gd name="connsiteY26" fmla="*/ 232807 h 263661"/>
                  <a:gd name="connsiteX27" fmla="*/ 984523 w 1166842"/>
                  <a:gd name="connsiteY27" fmla="*/ 232807 h 263661"/>
                  <a:gd name="connsiteX28" fmla="*/ 984523 w 1166842"/>
                  <a:gd name="connsiteY28" fmla="*/ 263661 h 263661"/>
                  <a:gd name="connsiteX29" fmla="*/ 1166842 w 1166842"/>
                  <a:gd name="connsiteY29" fmla="*/ 263661 h 263661"/>
                  <a:gd name="connsiteX0" fmla="*/ 0 w 1166842"/>
                  <a:gd name="connsiteY0" fmla="*/ 0 h 263661"/>
                  <a:gd name="connsiteX1" fmla="*/ 81343 w 1166842"/>
                  <a:gd name="connsiteY1" fmla="*/ 0 h 263661"/>
                  <a:gd name="connsiteX2" fmla="*/ 230003 w 1166842"/>
                  <a:gd name="connsiteY2" fmla="*/ 0 h 263661"/>
                  <a:gd name="connsiteX3" fmla="*/ 230003 w 1166842"/>
                  <a:gd name="connsiteY3" fmla="*/ 19634 h 263661"/>
                  <a:gd name="connsiteX4" fmla="*/ 283296 w 1166842"/>
                  <a:gd name="connsiteY4" fmla="*/ 19634 h 263661"/>
                  <a:gd name="connsiteX5" fmla="*/ 283296 w 1166842"/>
                  <a:gd name="connsiteY5" fmla="*/ 47683 h 263661"/>
                  <a:gd name="connsiteX6" fmla="*/ 322565 w 1166842"/>
                  <a:gd name="connsiteY6" fmla="*/ 47683 h 263661"/>
                  <a:gd name="connsiteX7" fmla="*/ 336589 w 1166842"/>
                  <a:gd name="connsiteY7" fmla="*/ 61707 h 263661"/>
                  <a:gd name="connsiteX8" fmla="*/ 493664 w 1166842"/>
                  <a:gd name="connsiteY8" fmla="*/ 61707 h 263661"/>
                  <a:gd name="connsiteX9" fmla="*/ 493664 w 1166842"/>
                  <a:gd name="connsiteY9" fmla="*/ 92562 h 263661"/>
                  <a:gd name="connsiteX10" fmla="*/ 594641 w 1166842"/>
                  <a:gd name="connsiteY10" fmla="*/ 92562 h 263661"/>
                  <a:gd name="connsiteX11" fmla="*/ 594641 w 1166842"/>
                  <a:gd name="connsiteY11" fmla="*/ 115001 h 263661"/>
                  <a:gd name="connsiteX12" fmla="*/ 667569 w 1166842"/>
                  <a:gd name="connsiteY12" fmla="*/ 115001 h 263661"/>
                  <a:gd name="connsiteX13" fmla="*/ 667569 w 1166842"/>
                  <a:gd name="connsiteY13" fmla="*/ 126221 h 263661"/>
                  <a:gd name="connsiteX14" fmla="*/ 698423 w 1166842"/>
                  <a:gd name="connsiteY14" fmla="*/ 126221 h 263661"/>
                  <a:gd name="connsiteX15" fmla="*/ 698423 w 1166842"/>
                  <a:gd name="connsiteY15" fmla="*/ 143050 h 263661"/>
                  <a:gd name="connsiteX16" fmla="*/ 712447 w 1166842"/>
                  <a:gd name="connsiteY16" fmla="*/ 143050 h 263661"/>
                  <a:gd name="connsiteX17" fmla="*/ 712447 w 1166842"/>
                  <a:gd name="connsiteY17" fmla="*/ 154270 h 263661"/>
                  <a:gd name="connsiteX18" fmla="*/ 709379 w 1166842"/>
                  <a:gd name="connsiteY18" fmla="*/ 165488 h 263661"/>
                  <a:gd name="connsiteX19" fmla="*/ 788180 w 1166842"/>
                  <a:gd name="connsiteY19" fmla="*/ 165489 h 263661"/>
                  <a:gd name="connsiteX20" fmla="*/ 788180 w 1166842"/>
                  <a:gd name="connsiteY20" fmla="*/ 185124 h 263661"/>
                  <a:gd name="connsiteX21" fmla="*/ 827448 w 1166842"/>
                  <a:gd name="connsiteY21" fmla="*/ 185124 h 263661"/>
                  <a:gd name="connsiteX22" fmla="*/ 827448 w 1166842"/>
                  <a:gd name="connsiteY22" fmla="*/ 196343 h 263661"/>
                  <a:gd name="connsiteX23" fmla="*/ 872327 w 1166842"/>
                  <a:gd name="connsiteY23" fmla="*/ 196343 h 263661"/>
                  <a:gd name="connsiteX24" fmla="*/ 874021 w 1166842"/>
                  <a:gd name="connsiteY24" fmla="*/ 209943 h 263661"/>
                  <a:gd name="connsiteX25" fmla="*/ 917205 w 1166842"/>
                  <a:gd name="connsiteY25" fmla="*/ 207562 h 263661"/>
                  <a:gd name="connsiteX26" fmla="*/ 917205 w 1166842"/>
                  <a:gd name="connsiteY26" fmla="*/ 232807 h 263661"/>
                  <a:gd name="connsiteX27" fmla="*/ 984523 w 1166842"/>
                  <a:gd name="connsiteY27" fmla="*/ 232807 h 263661"/>
                  <a:gd name="connsiteX28" fmla="*/ 984523 w 1166842"/>
                  <a:gd name="connsiteY28" fmla="*/ 263661 h 263661"/>
                  <a:gd name="connsiteX29" fmla="*/ 1166842 w 1166842"/>
                  <a:gd name="connsiteY29" fmla="*/ 263661 h 263661"/>
                  <a:gd name="connsiteX0" fmla="*/ 0 w 1166842"/>
                  <a:gd name="connsiteY0" fmla="*/ 0 h 263661"/>
                  <a:gd name="connsiteX1" fmla="*/ 81343 w 1166842"/>
                  <a:gd name="connsiteY1" fmla="*/ 0 h 263661"/>
                  <a:gd name="connsiteX2" fmla="*/ 230003 w 1166842"/>
                  <a:gd name="connsiteY2" fmla="*/ 0 h 263661"/>
                  <a:gd name="connsiteX3" fmla="*/ 230003 w 1166842"/>
                  <a:gd name="connsiteY3" fmla="*/ 19634 h 263661"/>
                  <a:gd name="connsiteX4" fmla="*/ 283296 w 1166842"/>
                  <a:gd name="connsiteY4" fmla="*/ 19634 h 263661"/>
                  <a:gd name="connsiteX5" fmla="*/ 283296 w 1166842"/>
                  <a:gd name="connsiteY5" fmla="*/ 47683 h 263661"/>
                  <a:gd name="connsiteX6" fmla="*/ 322565 w 1166842"/>
                  <a:gd name="connsiteY6" fmla="*/ 47683 h 263661"/>
                  <a:gd name="connsiteX7" fmla="*/ 336589 w 1166842"/>
                  <a:gd name="connsiteY7" fmla="*/ 61707 h 263661"/>
                  <a:gd name="connsiteX8" fmla="*/ 493664 w 1166842"/>
                  <a:gd name="connsiteY8" fmla="*/ 61707 h 263661"/>
                  <a:gd name="connsiteX9" fmla="*/ 493664 w 1166842"/>
                  <a:gd name="connsiteY9" fmla="*/ 92562 h 263661"/>
                  <a:gd name="connsiteX10" fmla="*/ 594641 w 1166842"/>
                  <a:gd name="connsiteY10" fmla="*/ 92562 h 263661"/>
                  <a:gd name="connsiteX11" fmla="*/ 594641 w 1166842"/>
                  <a:gd name="connsiteY11" fmla="*/ 115001 h 263661"/>
                  <a:gd name="connsiteX12" fmla="*/ 667569 w 1166842"/>
                  <a:gd name="connsiteY12" fmla="*/ 115001 h 263661"/>
                  <a:gd name="connsiteX13" fmla="*/ 667569 w 1166842"/>
                  <a:gd name="connsiteY13" fmla="*/ 126221 h 263661"/>
                  <a:gd name="connsiteX14" fmla="*/ 698423 w 1166842"/>
                  <a:gd name="connsiteY14" fmla="*/ 126221 h 263661"/>
                  <a:gd name="connsiteX15" fmla="*/ 698423 w 1166842"/>
                  <a:gd name="connsiteY15" fmla="*/ 143050 h 263661"/>
                  <a:gd name="connsiteX16" fmla="*/ 712447 w 1166842"/>
                  <a:gd name="connsiteY16" fmla="*/ 143050 h 263661"/>
                  <a:gd name="connsiteX17" fmla="*/ 712447 w 1166842"/>
                  <a:gd name="connsiteY17" fmla="*/ 154270 h 263661"/>
                  <a:gd name="connsiteX18" fmla="*/ 716522 w 1166842"/>
                  <a:gd name="connsiteY18" fmla="*/ 165488 h 263661"/>
                  <a:gd name="connsiteX19" fmla="*/ 788180 w 1166842"/>
                  <a:gd name="connsiteY19" fmla="*/ 165489 h 263661"/>
                  <a:gd name="connsiteX20" fmla="*/ 788180 w 1166842"/>
                  <a:gd name="connsiteY20" fmla="*/ 185124 h 263661"/>
                  <a:gd name="connsiteX21" fmla="*/ 827448 w 1166842"/>
                  <a:gd name="connsiteY21" fmla="*/ 185124 h 263661"/>
                  <a:gd name="connsiteX22" fmla="*/ 827448 w 1166842"/>
                  <a:gd name="connsiteY22" fmla="*/ 196343 h 263661"/>
                  <a:gd name="connsiteX23" fmla="*/ 872327 w 1166842"/>
                  <a:gd name="connsiteY23" fmla="*/ 196343 h 263661"/>
                  <a:gd name="connsiteX24" fmla="*/ 874021 w 1166842"/>
                  <a:gd name="connsiteY24" fmla="*/ 209943 h 263661"/>
                  <a:gd name="connsiteX25" fmla="*/ 917205 w 1166842"/>
                  <a:gd name="connsiteY25" fmla="*/ 207562 h 263661"/>
                  <a:gd name="connsiteX26" fmla="*/ 917205 w 1166842"/>
                  <a:gd name="connsiteY26" fmla="*/ 232807 h 263661"/>
                  <a:gd name="connsiteX27" fmla="*/ 984523 w 1166842"/>
                  <a:gd name="connsiteY27" fmla="*/ 232807 h 263661"/>
                  <a:gd name="connsiteX28" fmla="*/ 984523 w 1166842"/>
                  <a:gd name="connsiteY28" fmla="*/ 263661 h 263661"/>
                  <a:gd name="connsiteX29" fmla="*/ 1166842 w 1166842"/>
                  <a:gd name="connsiteY29" fmla="*/ 263661 h 263661"/>
                  <a:gd name="connsiteX0" fmla="*/ 0 w 1166842"/>
                  <a:gd name="connsiteY0" fmla="*/ 0 h 263661"/>
                  <a:gd name="connsiteX1" fmla="*/ 81343 w 1166842"/>
                  <a:gd name="connsiteY1" fmla="*/ 0 h 263661"/>
                  <a:gd name="connsiteX2" fmla="*/ 230003 w 1166842"/>
                  <a:gd name="connsiteY2" fmla="*/ 0 h 263661"/>
                  <a:gd name="connsiteX3" fmla="*/ 230003 w 1166842"/>
                  <a:gd name="connsiteY3" fmla="*/ 19634 h 263661"/>
                  <a:gd name="connsiteX4" fmla="*/ 283296 w 1166842"/>
                  <a:gd name="connsiteY4" fmla="*/ 19634 h 263661"/>
                  <a:gd name="connsiteX5" fmla="*/ 283296 w 1166842"/>
                  <a:gd name="connsiteY5" fmla="*/ 47683 h 263661"/>
                  <a:gd name="connsiteX6" fmla="*/ 322565 w 1166842"/>
                  <a:gd name="connsiteY6" fmla="*/ 47683 h 263661"/>
                  <a:gd name="connsiteX7" fmla="*/ 336589 w 1166842"/>
                  <a:gd name="connsiteY7" fmla="*/ 61707 h 263661"/>
                  <a:gd name="connsiteX8" fmla="*/ 493664 w 1166842"/>
                  <a:gd name="connsiteY8" fmla="*/ 61707 h 263661"/>
                  <a:gd name="connsiteX9" fmla="*/ 493664 w 1166842"/>
                  <a:gd name="connsiteY9" fmla="*/ 92562 h 263661"/>
                  <a:gd name="connsiteX10" fmla="*/ 594641 w 1166842"/>
                  <a:gd name="connsiteY10" fmla="*/ 92562 h 263661"/>
                  <a:gd name="connsiteX11" fmla="*/ 594641 w 1166842"/>
                  <a:gd name="connsiteY11" fmla="*/ 115001 h 263661"/>
                  <a:gd name="connsiteX12" fmla="*/ 667569 w 1166842"/>
                  <a:gd name="connsiteY12" fmla="*/ 115001 h 263661"/>
                  <a:gd name="connsiteX13" fmla="*/ 667569 w 1166842"/>
                  <a:gd name="connsiteY13" fmla="*/ 126221 h 263661"/>
                  <a:gd name="connsiteX14" fmla="*/ 698423 w 1166842"/>
                  <a:gd name="connsiteY14" fmla="*/ 126221 h 263661"/>
                  <a:gd name="connsiteX15" fmla="*/ 698423 w 1166842"/>
                  <a:gd name="connsiteY15" fmla="*/ 143050 h 263661"/>
                  <a:gd name="connsiteX16" fmla="*/ 712447 w 1166842"/>
                  <a:gd name="connsiteY16" fmla="*/ 143050 h 263661"/>
                  <a:gd name="connsiteX17" fmla="*/ 712447 w 1166842"/>
                  <a:gd name="connsiteY17" fmla="*/ 154270 h 263661"/>
                  <a:gd name="connsiteX18" fmla="*/ 709378 w 1166842"/>
                  <a:gd name="connsiteY18" fmla="*/ 165488 h 263661"/>
                  <a:gd name="connsiteX19" fmla="*/ 788180 w 1166842"/>
                  <a:gd name="connsiteY19" fmla="*/ 165489 h 263661"/>
                  <a:gd name="connsiteX20" fmla="*/ 788180 w 1166842"/>
                  <a:gd name="connsiteY20" fmla="*/ 185124 h 263661"/>
                  <a:gd name="connsiteX21" fmla="*/ 827448 w 1166842"/>
                  <a:gd name="connsiteY21" fmla="*/ 185124 h 263661"/>
                  <a:gd name="connsiteX22" fmla="*/ 827448 w 1166842"/>
                  <a:gd name="connsiteY22" fmla="*/ 196343 h 263661"/>
                  <a:gd name="connsiteX23" fmla="*/ 872327 w 1166842"/>
                  <a:gd name="connsiteY23" fmla="*/ 196343 h 263661"/>
                  <a:gd name="connsiteX24" fmla="*/ 874021 w 1166842"/>
                  <a:gd name="connsiteY24" fmla="*/ 209943 h 263661"/>
                  <a:gd name="connsiteX25" fmla="*/ 917205 w 1166842"/>
                  <a:gd name="connsiteY25" fmla="*/ 207562 h 263661"/>
                  <a:gd name="connsiteX26" fmla="*/ 917205 w 1166842"/>
                  <a:gd name="connsiteY26" fmla="*/ 232807 h 263661"/>
                  <a:gd name="connsiteX27" fmla="*/ 984523 w 1166842"/>
                  <a:gd name="connsiteY27" fmla="*/ 232807 h 263661"/>
                  <a:gd name="connsiteX28" fmla="*/ 984523 w 1166842"/>
                  <a:gd name="connsiteY28" fmla="*/ 263661 h 263661"/>
                  <a:gd name="connsiteX29" fmla="*/ 1166842 w 1166842"/>
                  <a:gd name="connsiteY29" fmla="*/ 263661 h 263661"/>
                  <a:gd name="connsiteX0" fmla="*/ 0 w 1166842"/>
                  <a:gd name="connsiteY0" fmla="*/ 0 h 263661"/>
                  <a:gd name="connsiteX1" fmla="*/ 81343 w 1166842"/>
                  <a:gd name="connsiteY1" fmla="*/ 0 h 263661"/>
                  <a:gd name="connsiteX2" fmla="*/ 230003 w 1166842"/>
                  <a:gd name="connsiteY2" fmla="*/ 0 h 263661"/>
                  <a:gd name="connsiteX3" fmla="*/ 230003 w 1166842"/>
                  <a:gd name="connsiteY3" fmla="*/ 19634 h 263661"/>
                  <a:gd name="connsiteX4" fmla="*/ 283296 w 1166842"/>
                  <a:gd name="connsiteY4" fmla="*/ 19634 h 263661"/>
                  <a:gd name="connsiteX5" fmla="*/ 283296 w 1166842"/>
                  <a:gd name="connsiteY5" fmla="*/ 47683 h 263661"/>
                  <a:gd name="connsiteX6" fmla="*/ 322565 w 1166842"/>
                  <a:gd name="connsiteY6" fmla="*/ 47683 h 263661"/>
                  <a:gd name="connsiteX7" fmla="*/ 336589 w 1166842"/>
                  <a:gd name="connsiteY7" fmla="*/ 61707 h 263661"/>
                  <a:gd name="connsiteX8" fmla="*/ 493664 w 1166842"/>
                  <a:gd name="connsiteY8" fmla="*/ 61707 h 263661"/>
                  <a:gd name="connsiteX9" fmla="*/ 493664 w 1166842"/>
                  <a:gd name="connsiteY9" fmla="*/ 92562 h 263661"/>
                  <a:gd name="connsiteX10" fmla="*/ 594641 w 1166842"/>
                  <a:gd name="connsiteY10" fmla="*/ 92562 h 263661"/>
                  <a:gd name="connsiteX11" fmla="*/ 594641 w 1166842"/>
                  <a:gd name="connsiteY11" fmla="*/ 115001 h 263661"/>
                  <a:gd name="connsiteX12" fmla="*/ 667569 w 1166842"/>
                  <a:gd name="connsiteY12" fmla="*/ 115001 h 263661"/>
                  <a:gd name="connsiteX13" fmla="*/ 667569 w 1166842"/>
                  <a:gd name="connsiteY13" fmla="*/ 126221 h 263661"/>
                  <a:gd name="connsiteX14" fmla="*/ 698423 w 1166842"/>
                  <a:gd name="connsiteY14" fmla="*/ 126221 h 263661"/>
                  <a:gd name="connsiteX15" fmla="*/ 698423 w 1166842"/>
                  <a:gd name="connsiteY15" fmla="*/ 143050 h 263661"/>
                  <a:gd name="connsiteX16" fmla="*/ 712447 w 1166842"/>
                  <a:gd name="connsiteY16" fmla="*/ 143050 h 263661"/>
                  <a:gd name="connsiteX17" fmla="*/ 712447 w 1166842"/>
                  <a:gd name="connsiteY17" fmla="*/ 154270 h 263661"/>
                  <a:gd name="connsiteX18" fmla="*/ 711759 w 1166842"/>
                  <a:gd name="connsiteY18" fmla="*/ 165488 h 263661"/>
                  <a:gd name="connsiteX19" fmla="*/ 788180 w 1166842"/>
                  <a:gd name="connsiteY19" fmla="*/ 165489 h 263661"/>
                  <a:gd name="connsiteX20" fmla="*/ 788180 w 1166842"/>
                  <a:gd name="connsiteY20" fmla="*/ 185124 h 263661"/>
                  <a:gd name="connsiteX21" fmla="*/ 827448 w 1166842"/>
                  <a:gd name="connsiteY21" fmla="*/ 185124 h 263661"/>
                  <a:gd name="connsiteX22" fmla="*/ 827448 w 1166842"/>
                  <a:gd name="connsiteY22" fmla="*/ 196343 h 263661"/>
                  <a:gd name="connsiteX23" fmla="*/ 872327 w 1166842"/>
                  <a:gd name="connsiteY23" fmla="*/ 196343 h 263661"/>
                  <a:gd name="connsiteX24" fmla="*/ 874021 w 1166842"/>
                  <a:gd name="connsiteY24" fmla="*/ 209943 h 263661"/>
                  <a:gd name="connsiteX25" fmla="*/ 917205 w 1166842"/>
                  <a:gd name="connsiteY25" fmla="*/ 207562 h 263661"/>
                  <a:gd name="connsiteX26" fmla="*/ 917205 w 1166842"/>
                  <a:gd name="connsiteY26" fmla="*/ 232807 h 263661"/>
                  <a:gd name="connsiteX27" fmla="*/ 984523 w 1166842"/>
                  <a:gd name="connsiteY27" fmla="*/ 232807 h 263661"/>
                  <a:gd name="connsiteX28" fmla="*/ 984523 w 1166842"/>
                  <a:gd name="connsiteY28" fmla="*/ 263661 h 263661"/>
                  <a:gd name="connsiteX29" fmla="*/ 1166842 w 1166842"/>
                  <a:gd name="connsiteY29" fmla="*/ 263661 h 26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166842" h="263661">
                    <a:moveTo>
                      <a:pt x="0" y="0"/>
                    </a:moveTo>
                    <a:lnTo>
                      <a:pt x="81343" y="0"/>
                    </a:lnTo>
                    <a:lnTo>
                      <a:pt x="230003" y="0"/>
                    </a:lnTo>
                    <a:lnTo>
                      <a:pt x="230003" y="19634"/>
                    </a:lnTo>
                    <a:lnTo>
                      <a:pt x="283296" y="19634"/>
                    </a:lnTo>
                    <a:lnTo>
                      <a:pt x="283296" y="47683"/>
                    </a:lnTo>
                    <a:lnTo>
                      <a:pt x="322565" y="47683"/>
                    </a:lnTo>
                    <a:lnTo>
                      <a:pt x="336589" y="61707"/>
                    </a:lnTo>
                    <a:lnTo>
                      <a:pt x="493664" y="61707"/>
                    </a:lnTo>
                    <a:lnTo>
                      <a:pt x="493664" y="92562"/>
                    </a:lnTo>
                    <a:lnTo>
                      <a:pt x="594641" y="92562"/>
                    </a:lnTo>
                    <a:lnTo>
                      <a:pt x="594641" y="115001"/>
                    </a:lnTo>
                    <a:lnTo>
                      <a:pt x="667569" y="115001"/>
                    </a:lnTo>
                    <a:lnTo>
                      <a:pt x="667569" y="126221"/>
                    </a:lnTo>
                    <a:lnTo>
                      <a:pt x="698423" y="126221"/>
                    </a:lnTo>
                    <a:lnTo>
                      <a:pt x="698423" y="143050"/>
                    </a:lnTo>
                    <a:lnTo>
                      <a:pt x="712447" y="143050"/>
                    </a:lnTo>
                    <a:lnTo>
                      <a:pt x="712447" y="154270"/>
                    </a:lnTo>
                    <a:cubicBezTo>
                      <a:pt x="712218" y="158009"/>
                      <a:pt x="711988" y="161749"/>
                      <a:pt x="711759" y="165488"/>
                    </a:cubicBezTo>
                    <a:lnTo>
                      <a:pt x="788180" y="165489"/>
                    </a:lnTo>
                    <a:lnTo>
                      <a:pt x="788180" y="185124"/>
                    </a:lnTo>
                    <a:lnTo>
                      <a:pt x="827448" y="185124"/>
                    </a:lnTo>
                    <a:lnTo>
                      <a:pt x="827448" y="196343"/>
                    </a:lnTo>
                    <a:lnTo>
                      <a:pt x="872327" y="196343"/>
                    </a:lnTo>
                    <a:lnTo>
                      <a:pt x="874021" y="209943"/>
                    </a:lnTo>
                    <a:lnTo>
                      <a:pt x="917205" y="207562"/>
                    </a:lnTo>
                    <a:lnTo>
                      <a:pt x="917205" y="232807"/>
                    </a:lnTo>
                    <a:lnTo>
                      <a:pt x="984523" y="232807"/>
                    </a:lnTo>
                    <a:lnTo>
                      <a:pt x="984523" y="263661"/>
                    </a:lnTo>
                    <a:lnTo>
                      <a:pt x="1166842" y="263661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Freeform: Shape 77">
                <a:extLst>
                  <a:ext uri="{FF2B5EF4-FFF2-40B4-BE49-F238E27FC236}">
                    <a16:creationId xmlns:a16="http://schemas.microsoft.com/office/drawing/2014/main" id="{5EB6FE28-4D4E-4692-9C63-50F5D26D96EF}"/>
                  </a:ext>
                </a:extLst>
              </p:cNvPr>
              <p:cNvSpPr/>
              <p:nvPr/>
            </p:nvSpPr>
            <p:spPr>
              <a:xfrm>
                <a:off x="6142748" y="1113643"/>
                <a:ext cx="1699775" cy="342199"/>
              </a:xfrm>
              <a:custGeom>
                <a:avLst/>
                <a:gdLst>
                  <a:gd name="connsiteX0" fmla="*/ 0 w 1699775"/>
                  <a:gd name="connsiteY0" fmla="*/ 0 h 342199"/>
                  <a:gd name="connsiteX1" fmla="*/ 165490 w 1699775"/>
                  <a:gd name="connsiteY1" fmla="*/ 0 h 342199"/>
                  <a:gd name="connsiteX2" fmla="*/ 165490 w 1699775"/>
                  <a:gd name="connsiteY2" fmla="*/ 16830 h 342199"/>
                  <a:gd name="connsiteX3" fmla="*/ 238418 w 1699775"/>
                  <a:gd name="connsiteY3" fmla="*/ 16830 h 342199"/>
                  <a:gd name="connsiteX4" fmla="*/ 238418 w 1699775"/>
                  <a:gd name="connsiteY4" fmla="*/ 33659 h 342199"/>
                  <a:gd name="connsiteX5" fmla="*/ 269272 w 1699775"/>
                  <a:gd name="connsiteY5" fmla="*/ 33659 h 342199"/>
                  <a:gd name="connsiteX6" fmla="*/ 269272 w 1699775"/>
                  <a:gd name="connsiteY6" fmla="*/ 56098 h 342199"/>
                  <a:gd name="connsiteX7" fmla="*/ 314150 w 1699775"/>
                  <a:gd name="connsiteY7" fmla="*/ 56098 h 342199"/>
                  <a:gd name="connsiteX8" fmla="*/ 314150 w 1699775"/>
                  <a:gd name="connsiteY8" fmla="*/ 72928 h 342199"/>
                  <a:gd name="connsiteX9" fmla="*/ 555372 w 1699775"/>
                  <a:gd name="connsiteY9" fmla="*/ 72928 h 342199"/>
                  <a:gd name="connsiteX10" fmla="*/ 560982 w 1699775"/>
                  <a:gd name="connsiteY10" fmla="*/ 78538 h 342199"/>
                  <a:gd name="connsiteX11" fmla="*/ 788180 w 1699775"/>
                  <a:gd name="connsiteY11" fmla="*/ 78538 h 342199"/>
                  <a:gd name="connsiteX12" fmla="*/ 788180 w 1699775"/>
                  <a:gd name="connsiteY12" fmla="*/ 100977 h 342199"/>
                  <a:gd name="connsiteX13" fmla="*/ 830253 w 1699775"/>
                  <a:gd name="connsiteY13" fmla="*/ 100977 h 342199"/>
                  <a:gd name="connsiteX14" fmla="*/ 830253 w 1699775"/>
                  <a:gd name="connsiteY14" fmla="*/ 120611 h 342199"/>
                  <a:gd name="connsiteX15" fmla="*/ 849888 w 1699775"/>
                  <a:gd name="connsiteY15" fmla="*/ 120611 h 342199"/>
                  <a:gd name="connsiteX16" fmla="*/ 849888 w 1699775"/>
                  <a:gd name="connsiteY16" fmla="*/ 140246 h 342199"/>
                  <a:gd name="connsiteX17" fmla="*/ 962084 w 1699775"/>
                  <a:gd name="connsiteY17" fmla="*/ 140246 h 342199"/>
                  <a:gd name="connsiteX18" fmla="*/ 962084 w 1699775"/>
                  <a:gd name="connsiteY18" fmla="*/ 165490 h 342199"/>
                  <a:gd name="connsiteX19" fmla="*/ 1063061 w 1699775"/>
                  <a:gd name="connsiteY19" fmla="*/ 165490 h 342199"/>
                  <a:gd name="connsiteX20" fmla="*/ 1063061 w 1699775"/>
                  <a:gd name="connsiteY20" fmla="*/ 185124 h 342199"/>
                  <a:gd name="connsiteX21" fmla="*/ 1250989 w 1699775"/>
                  <a:gd name="connsiteY21" fmla="*/ 185124 h 342199"/>
                  <a:gd name="connsiteX22" fmla="*/ 1250989 w 1699775"/>
                  <a:gd name="connsiteY22" fmla="*/ 210368 h 342199"/>
                  <a:gd name="connsiteX23" fmla="*/ 1408064 w 1699775"/>
                  <a:gd name="connsiteY23" fmla="*/ 210368 h 342199"/>
                  <a:gd name="connsiteX24" fmla="*/ 1408064 w 1699775"/>
                  <a:gd name="connsiteY24" fmla="*/ 241222 h 342199"/>
                  <a:gd name="connsiteX25" fmla="*/ 1483797 w 1699775"/>
                  <a:gd name="connsiteY25" fmla="*/ 241222 h 342199"/>
                  <a:gd name="connsiteX26" fmla="*/ 1483797 w 1699775"/>
                  <a:gd name="connsiteY26" fmla="*/ 260857 h 342199"/>
                  <a:gd name="connsiteX27" fmla="*/ 1523065 w 1699775"/>
                  <a:gd name="connsiteY27" fmla="*/ 260857 h 342199"/>
                  <a:gd name="connsiteX28" fmla="*/ 1523065 w 1699775"/>
                  <a:gd name="connsiteY28" fmla="*/ 297320 h 342199"/>
                  <a:gd name="connsiteX29" fmla="*/ 1534285 w 1699775"/>
                  <a:gd name="connsiteY29" fmla="*/ 308540 h 342199"/>
                  <a:gd name="connsiteX30" fmla="*/ 1534285 w 1699775"/>
                  <a:gd name="connsiteY30" fmla="*/ 336589 h 342199"/>
                  <a:gd name="connsiteX31" fmla="*/ 1699775 w 1699775"/>
                  <a:gd name="connsiteY31" fmla="*/ 336589 h 342199"/>
                  <a:gd name="connsiteX32" fmla="*/ 1699775 w 1699775"/>
                  <a:gd name="connsiteY32" fmla="*/ 342199 h 342199"/>
                  <a:gd name="connsiteX33" fmla="*/ 1699775 w 1699775"/>
                  <a:gd name="connsiteY33" fmla="*/ 342199 h 342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699775" h="342199">
                    <a:moveTo>
                      <a:pt x="0" y="0"/>
                    </a:moveTo>
                    <a:lnTo>
                      <a:pt x="165490" y="0"/>
                    </a:lnTo>
                    <a:lnTo>
                      <a:pt x="165490" y="16830"/>
                    </a:lnTo>
                    <a:lnTo>
                      <a:pt x="238418" y="16830"/>
                    </a:lnTo>
                    <a:lnTo>
                      <a:pt x="238418" y="33659"/>
                    </a:lnTo>
                    <a:lnTo>
                      <a:pt x="269272" y="33659"/>
                    </a:lnTo>
                    <a:lnTo>
                      <a:pt x="269272" y="56098"/>
                    </a:lnTo>
                    <a:lnTo>
                      <a:pt x="314150" y="56098"/>
                    </a:lnTo>
                    <a:lnTo>
                      <a:pt x="314150" y="72928"/>
                    </a:lnTo>
                    <a:lnTo>
                      <a:pt x="555372" y="72928"/>
                    </a:lnTo>
                    <a:lnTo>
                      <a:pt x="560982" y="78538"/>
                    </a:lnTo>
                    <a:lnTo>
                      <a:pt x="788180" y="78538"/>
                    </a:lnTo>
                    <a:lnTo>
                      <a:pt x="788180" y="100977"/>
                    </a:lnTo>
                    <a:lnTo>
                      <a:pt x="830253" y="100977"/>
                    </a:lnTo>
                    <a:lnTo>
                      <a:pt x="830253" y="120611"/>
                    </a:lnTo>
                    <a:lnTo>
                      <a:pt x="849888" y="120611"/>
                    </a:lnTo>
                    <a:lnTo>
                      <a:pt x="849888" y="140246"/>
                    </a:lnTo>
                    <a:lnTo>
                      <a:pt x="962084" y="140246"/>
                    </a:lnTo>
                    <a:lnTo>
                      <a:pt x="962084" y="165490"/>
                    </a:lnTo>
                    <a:lnTo>
                      <a:pt x="1063061" y="165490"/>
                    </a:lnTo>
                    <a:lnTo>
                      <a:pt x="1063061" y="185124"/>
                    </a:lnTo>
                    <a:lnTo>
                      <a:pt x="1250989" y="185124"/>
                    </a:lnTo>
                    <a:lnTo>
                      <a:pt x="1250989" y="210368"/>
                    </a:lnTo>
                    <a:lnTo>
                      <a:pt x="1408064" y="210368"/>
                    </a:lnTo>
                    <a:lnTo>
                      <a:pt x="1408064" y="241222"/>
                    </a:lnTo>
                    <a:lnTo>
                      <a:pt x="1483797" y="241222"/>
                    </a:lnTo>
                    <a:lnTo>
                      <a:pt x="1483797" y="260857"/>
                    </a:lnTo>
                    <a:lnTo>
                      <a:pt x="1523065" y="260857"/>
                    </a:lnTo>
                    <a:lnTo>
                      <a:pt x="1523065" y="297320"/>
                    </a:lnTo>
                    <a:lnTo>
                      <a:pt x="1534285" y="308540"/>
                    </a:lnTo>
                    <a:lnTo>
                      <a:pt x="1534285" y="336589"/>
                    </a:lnTo>
                    <a:lnTo>
                      <a:pt x="1699775" y="336589"/>
                    </a:lnTo>
                    <a:lnTo>
                      <a:pt x="1699775" y="342199"/>
                    </a:lnTo>
                    <a:lnTo>
                      <a:pt x="1699775" y="342199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Freeform: Shape 78">
                <a:extLst>
                  <a:ext uri="{FF2B5EF4-FFF2-40B4-BE49-F238E27FC236}">
                    <a16:creationId xmlns:a16="http://schemas.microsoft.com/office/drawing/2014/main" id="{A1B39D19-6668-48D8-98D5-E5564AAA3A46}"/>
                  </a:ext>
                </a:extLst>
              </p:cNvPr>
              <p:cNvSpPr/>
              <p:nvPr/>
            </p:nvSpPr>
            <p:spPr>
              <a:xfrm>
                <a:off x="7820083" y="1458551"/>
                <a:ext cx="378662" cy="378663"/>
              </a:xfrm>
              <a:custGeom>
                <a:avLst/>
                <a:gdLst>
                  <a:gd name="connsiteX0" fmla="*/ 0 w 1974655"/>
                  <a:gd name="connsiteY0" fmla="*/ 0 h 1032207"/>
                  <a:gd name="connsiteX1" fmla="*/ 56098 w 1974655"/>
                  <a:gd name="connsiteY1" fmla="*/ 0 h 1032207"/>
                  <a:gd name="connsiteX2" fmla="*/ 56098 w 1974655"/>
                  <a:gd name="connsiteY2" fmla="*/ 19635 h 1032207"/>
                  <a:gd name="connsiteX3" fmla="*/ 95366 w 1974655"/>
                  <a:gd name="connsiteY3" fmla="*/ 19635 h 1032207"/>
                  <a:gd name="connsiteX4" fmla="*/ 95366 w 1974655"/>
                  <a:gd name="connsiteY4" fmla="*/ 58903 h 1032207"/>
                  <a:gd name="connsiteX5" fmla="*/ 95366 w 1974655"/>
                  <a:gd name="connsiteY5" fmla="*/ 109392 h 1032207"/>
                  <a:gd name="connsiteX6" fmla="*/ 143050 w 1974655"/>
                  <a:gd name="connsiteY6" fmla="*/ 109392 h 1032207"/>
                  <a:gd name="connsiteX7" fmla="*/ 143050 w 1974655"/>
                  <a:gd name="connsiteY7" fmla="*/ 148661 h 1032207"/>
                  <a:gd name="connsiteX8" fmla="*/ 190733 w 1974655"/>
                  <a:gd name="connsiteY8" fmla="*/ 148661 h 1032207"/>
                  <a:gd name="connsiteX9" fmla="*/ 190733 w 1974655"/>
                  <a:gd name="connsiteY9" fmla="*/ 173905 h 1032207"/>
                  <a:gd name="connsiteX10" fmla="*/ 210368 w 1974655"/>
                  <a:gd name="connsiteY10" fmla="*/ 173905 h 1032207"/>
                  <a:gd name="connsiteX11" fmla="*/ 210368 w 1974655"/>
                  <a:gd name="connsiteY11" fmla="*/ 272076 h 1032207"/>
                  <a:gd name="connsiteX12" fmla="*/ 232807 w 1974655"/>
                  <a:gd name="connsiteY12" fmla="*/ 272076 h 1032207"/>
                  <a:gd name="connsiteX13" fmla="*/ 232807 w 1974655"/>
                  <a:gd name="connsiteY13" fmla="*/ 294516 h 1032207"/>
                  <a:gd name="connsiteX14" fmla="*/ 356223 w 1974655"/>
                  <a:gd name="connsiteY14" fmla="*/ 294516 h 1032207"/>
                  <a:gd name="connsiteX15" fmla="*/ 356223 w 1974655"/>
                  <a:gd name="connsiteY15" fmla="*/ 333784 h 1032207"/>
                  <a:gd name="connsiteX16" fmla="*/ 378662 w 1974655"/>
                  <a:gd name="connsiteY16" fmla="*/ 333784 h 1032207"/>
                  <a:gd name="connsiteX17" fmla="*/ 378662 w 1974655"/>
                  <a:gd name="connsiteY17" fmla="*/ 353419 h 1032207"/>
                  <a:gd name="connsiteX18" fmla="*/ 1200500 w 1974655"/>
                  <a:gd name="connsiteY18" fmla="*/ 353419 h 1032207"/>
                  <a:gd name="connsiteX19" fmla="*/ 1200500 w 1974655"/>
                  <a:gd name="connsiteY19" fmla="*/ 726472 h 1032207"/>
                  <a:gd name="connsiteX20" fmla="*/ 1480991 w 1974655"/>
                  <a:gd name="connsiteY20" fmla="*/ 726472 h 1032207"/>
                  <a:gd name="connsiteX21" fmla="*/ 1480991 w 1974655"/>
                  <a:gd name="connsiteY21" fmla="*/ 1029402 h 1032207"/>
                  <a:gd name="connsiteX22" fmla="*/ 1971850 w 1974655"/>
                  <a:gd name="connsiteY22" fmla="*/ 1029402 h 1032207"/>
                  <a:gd name="connsiteX23" fmla="*/ 1974655 w 1974655"/>
                  <a:gd name="connsiteY23" fmla="*/ 1032207 h 1032207"/>
                  <a:gd name="connsiteX0" fmla="*/ 0 w 1974655"/>
                  <a:gd name="connsiteY0" fmla="*/ 0 h 1032207"/>
                  <a:gd name="connsiteX1" fmla="*/ 56098 w 1974655"/>
                  <a:gd name="connsiteY1" fmla="*/ 0 h 1032207"/>
                  <a:gd name="connsiteX2" fmla="*/ 56098 w 1974655"/>
                  <a:gd name="connsiteY2" fmla="*/ 19635 h 1032207"/>
                  <a:gd name="connsiteX3" fmla="*/ 95366 w 1974655"/>
                  <a:gd name="connsiteY3" fmla="*/ 19635 h 1032207"/>
                  <a:gd name="connsiteX4" fmla="*/ 95366 w 1974655"/>
                  <a:gd name="connsiteY4" fmla="*/ 58903 h 1032207"/>
                  <a:gd name="connsiteX5" fmla="*/ 95366 w 1974655"/>
                  <a:gd name="connsiteY5" fmla="*/ 109392 h 1032207"/>
                  <a:gd name="connsiteX6" fmla="*/ 143050 w 1974655"/>
                  <a:gd name="connsiteY6" fmla="*/ 109392 h 1032207"/>
                  <a:gd name="connsiteX7" fmla="*/ 143050 w 1974655"/>
                  <a:gd name="connsiteY7" fmla="*/ 148661 h 1032207"/>
                  <a:gd name="connsiteX8" fmla="*/ 190733 w 1974655"/>
                  <a:gd name="connsiteY8" fmla="*/ 148661 h 1032207"/>
                  <a:gd name="connsiteX9" fmla="*/ 190733 w 1974655"/>
                  <a:gd name="connsiteY9" fmla="*/ 173905 h 1032207"/>
                  <a:gd name="connsiteX10" fmla="*/ 210368 w 1974655"/>
                  <a:gd name="connsiteY10" fmla="*/ 173905 h 1032207"/>
                  <a:gd name="connsiteX11" fmla="*/ 210368 w 1974655"/>
                  <a:gd name="connsiteY11" fmla="*/ 272076 h 1032207"/>
                  <a:gd name="connsiteX12" fmla="*/ 232807 w 1974655"/>
                  <a:gd name="connsiteY12" fmla="*/ 272076 h 1032207"/>
                  <a:gd name="connsiteX13" fmla="*/ 232807 w 1974655"/>
                  <a:gd name="connsiteY13" fmla="*/ 294516 h 1032207"/>
                  <a:gd name="connsiteX14" fmla="*/ 356223 w 1974655"/>
                  <a:gd name="connsiteY14" fmla="*/ 294516 h 1032207"/>
                  <a:gd name="connsiteX15" fmla="*/ 356223 w 1974655"/>
                  <a:gd name="connsiteY15" fmla="*/ 333784 h 1032207"/>
                  <a:gd name="connsiteX16" fmla="*/ 378662 w 1974655"/>
                  <a:gd name="connsiteY16" fmla="*/ 333784 h 1032207"/>
                  <a:gd name="connsiteX17" fmla="*/ 378662 w 1974655"/>
                  <a:gd name="connsiteY17" fmla="*/ 378663 h 1032207"/>
                  <a:gd name="connsiteX18" fmla="*/ 1200500 w 1974655"/>
                  <a:gd name="connsiteY18" fmla="*/ 353419 h 1032207"/>
                  <a:gd name="connsiteX19" fmla="*/ 1200500 w 1974655"/>
                  <a:gd name="connsiteY19" fmla="*/ 726472 h 1032207"/>
                  <a:gd name="connsiteX20" fmla="*/ 1480991 w 1974655"/>
                  <a:gd name="connsiteY20" fmla="*/ 726472 h 1032207"/>
                  <a:gd name="connsiteX21" fmla="*/ 1480991 w 1974655"/>
                  <a:gd name="connsiteY21" fmla="*/ 1029402 h 1032207"/>
                  <a:gd name="connsiteX22" fmla="*/ 1971850 w 1974655"/>
                  <a:gd name="connsiteY22" fmla="*/ 1029402 h 1032207"/>
                  <a:gd name="connsiteX23" fmla="*/ 1974655 w 1974655"/>
                  <a:gd name="connsiteY23" fmla="*/ 1032207 h 1032207"/>
                  <a:gd name="connsiteX0" fmla="*/ 0 w 1971850"/>
                  <a:gd name="connsiteY0" fmla="*/ 0 h 1029402"/>
                  <a:gd name="connsiteX1" fmla="*/ 56098 w 1971850"/>
                  <a:gd name="connsiteY1" fmla="*/ 0 h 1029402"/>
                  <a:gd name="connsiteX2" fmla="*/ 56098 w 1971850"/>
                  <a:gd name="connsiteY2" fmla="*/ 19635 h 1029402"/>
                  <a:gd name="connsiteX3" fmla="*/ 95366 w 1971850"/>
                  <a:gd name="connsiteY3" fmla="*/ 19635 h 1029402"/>
                  <a:gd name="connsiteX4" fmla="*/ 95366 w 1971850"/>
                  <a:gd name="connsiteY4" fmla="*/ 58903 h 1029402"/>
                  <a:gd name="connsiteX5" fmla="*/ 95366 w 1971850"/>
                  <a:gd name="connsiteY5" fmla="*/ 109392 h 1029402"/>
                  <a:gd name="connsiteX6" fmla="*/ 143050 w 1971850"/>
                  <a:gd name="connsiteY6" fmla="*/ 109392 h 1029402"/>
                  <a:gd name="connsiteX7" fmla="*/ 143050 w 1971850"/>
                  <a:gd name="connsiteY7" fmla="*/ 148661 h 1029402"/>
                  <a:gd name="connsiteX8" fmla="*/ 190733 w 1971850"/>
                  <a:gd name="connsiteY8" fmla="*/ 148661 h 1029402"/>
                  <a:gd name="connsiteX9" fmla="*/ 190733 w 1971850"/>
                  <a:gd name="connsiteY9" fmla="*/ 173905 h 1029402"/>
                  <a:gd name="connsiteX10" fmla="*/ 210368 w 1971850"/>
                  <a:gd name="connsiteY10" fmla="*/ 173905 h 1029402"/>
                  <a:gd name="connsiteX11" fmla="*/ 210368 w 1971850"/>
                  <a:gd name="connsiteY11" fmla="*/ 272076 h 1029402"/>
                  <a:gd name="connsiteX12" fmla="*/ 232807 w 1971850"/>
                  <a:gd name="connsiteY12" fmla="*/ 272076 h 1029402"/>
                  <a:gd name="connsiteX13" fmla="*/ 232807 w 1971850"/>
                  <a:gd name="connsiteY13" fmla="*/ 294516 h 1029402"/>
                  <a:gd name="connsiteX14" fmla="*/ 356223 w 1971850"/>
                  <a:gd name="connsiteY14" fmla="*/ 294516 h 1029402"/>
                  <a:gd name="connsiteX15" fmla="*/ 356223 w 1971850"/>
                  <a:gd name="connsiteY15" fmla="*/ 333784 h 1029402"/>
                  <a:gd name="connsiteX16" fmla="*/ 378662 w 1971850"/>
                  <a:gd name="connsiteY16" fmla="*/ 333784 h 1029402"/>
                  <a:gd name="connsiteX17" fmla="*/ 378662 w 1971850"/>
                  <a:gd name="connsiteY17" fmla="*/ 378663 h 1029402"/>
                  <a:gd name="connsiteX18" fmla="*/ 1200500 w 1971850"/>
                  <a:gd name="connsiteY18" fmla="*/ 353419 h 1029402"/>
                  <a:gd name="connsiteX19" fmla="*/ 1200500 w 1971850"/>
                  <a:gd name="connsiteY19" fmla="*/ 726472 h 1029402"/>
                  <a:gd name="connsiteX20" fmla="*/ 1480991 w 1971850"/>
                  <a:gd name="connsiteY20" fmla="*/ 726472 h 1029402"/>
                  <a:gd name="connsiteX21" fmla="*/ 1480991 w 1971850"/>
                  <a:gd name="connsiteY21" fmla="*/ 1029402 h 1029402"/>
                  <a:gd name="connsiteX22" fmla="*/ 1971850 w 1971850"/>
                  <a:gd name="connsiteY22" fmla="*/ 1029402 h 1029402"/>
                  <a:gd name="connsiteX0" fmla="*/ 0 w 1480991"/>
                  <a:gd name="connsiteY0" fmla="*/ 0 h 1029402"/>
                  <a:gd name="connsiteX1" fmla="*/ 56098 w 1480991"/>
                  <a:gd name="connsiteY1" fmla="*/ 0 h 1029402"/>
                  <a:gd name="connsiteX2" fmla="*/ 56098 w 1480991"/>
                  <a:gd name="connsiteY2" fmla="*/ 19635 h 1029402"/>
                  <a:gd name="connsiteX3" fmla="*/ 95366 w 1480991"/>
                  <a:gd name="connsiteY3" fmla="*/ 19635 h 1029402"/>
                  <a:gd name="connsiteX4" fmla="*/ 95366 w 1480991"/>
                  <a:gd name="connsiteY4" fmla="*/ 58903 h 1029402"/>
                  <a:gd name="connsiteX5" fmla="*/ 95366 w 1480991"/>
                  <a:gd name="connsiteY5" fmla="*/ 109392 h 1029402"/>
                  <a:gd name="connsiteX6" fmla="*/ 143050 w 1480991"/>
                  <a:gd name="connsiteY6" fmla="*/ 109392 h 1029402"/>
                  <a:gd name="connsiteX7" fmla="*/ 143050 w 1480991"/>
                  <a:gd name="connsiteY7" fmla="*/ 148661 h 1029402"/>
                  <a:gd name="connsiteX8" fmla="*/ 190733 w 1480991"/>
                  <a:gd name="connsiteY8" fmla="*/ 148661 h 1029402"/>
                  <a:gd name="connsiteX9" fmla="*/ 190733 w 1480991"/>
                  <a:gd name="connsiteY9" fmla="*/ 173905 h 1029402"/>
                  <a:gd name="connsiteX10" fmla="*/ 210368 w 1480991"/>
                  <a:gd name="connsiteY10" fmla="*/ 173905 h 1029402"/>
                  <a:gd name="connsiteX11" fmla="*/ 210368 w 1480991"/>
                  <a:gd name="connsiteY11" fmla="*/ 272076 h 1029402"/>
                  <a:gd name="connsiteX12" fmla="*/ 232807 w 1480991"/>
                  <a:gd name="connsiteY12" fmla="*/ 272076 h 1029402"/>
                  <a:gd name="connsiteX13" fmla="*/ 232807 w 1480991"/>
                  <a:gd name="connsiteY13" fmla="*/ 294516 h 1029402"/>
                  <a:gd name="connsiteX14" fmla="*/ 356223 w 1480991"/>
                  <a:gd name="connsiteY14" fmla="*/ 294516 h 1029402"/>
                  <a:gd name="connsiteX15" fmla="*/ 356223 w 1480991"/>
                  <a:gd name="connsiteY15" fmla="*/ 333784 h 1029402"/>
                  <a:gd name="connsiteX16" fmla="*/ 378662 w 1480991"/>
                  <a:gd name="connsiteY16" fmla="*/ 333784 h 1029402"/>
                  <a:gd name="connsiteX17" fmla="*/ 378662 w 1480991"/>
                  <a:gd name="connsiteY17" fmla="*/ 378663 h 1029402"/>
                  <a:gd name="connsiteX18" fmla="*/ 1200500 w 1480991"/>
                  <a:gd name="connsiteY18" fmla="*/ 353419 h 1029402"/>
                  <a:gd name="connsiteX19" fmla="*/ 1200500 w 1480991"/>
                  <a:gd name="connsiteY19" fmla="*/ 726472 h 1029402"/>
                  <a:gd name="connsiteX20" fmla="*/ 1480991 w 1480991"/>
                  <a:gd name="connsiteY20" fmla="*/ 726472 h 1029402"/>
                  <a:gd name="connsiteX21" fmla="*/ 1480991 w 1480991"/>
                  <a:gd name="connsiteY21" fmla="*/ 1029402 h 1029402"/>
                  <a:gd name="connsiteX0" fmla="*/ 0 w 1480991"/>
                  <a:gd name="connsiteY0" fmla="*/ 0 h 726472"/>
                  <a:gd name="connsiteX1" fmla="*/ 56098 w 1480991"/>
                  <a:gd name="connsiteY1" fmla="*/ 0 h 726472"/>
                  <a:gd name="connsiteX2" fmla="*/ 56098 w 1480991"/>
                  <a:gd name="connsiteY2" fmla="*/ 19635 h 726472"/>
                  <a:gd name="connsiteX3" fmla="*/ 95366 w 1480991"/>
                  <a:gd name="connsiteY3" fmla="*/ 19635 h 726472"/>
                  <a:gd name="connsiteX4" fmla="*/ 95366 w 1480991"/>
                  <a:gd name="connsiteY4" fmla="*/ 58903 h 726472"/>
                  <a:gd name="connsiteX5" fmla="*/ 95366 w 1480991"/>
                  <a:gd name="connsiteY5" fmla="*/ 109392 h 726472"/>
                  <a:gd name="connsiteX6" fmla="*/ 143050 w 1480991"/>
                  <a:gd name="connsiteY6" fmla="*/ 109392 h 726472"/>
                  <a:gd name="connsiteX7" fmla="*/ 143050 w 1480991"/>
                  <a:gd name="connsiteY7" fmla="*/ 148661 h 726472"/>
                  <a:gd name="connsiteX8" fmla="*/ 190733 w 1480991"/>
                  <a:gd name="connsiteY8" fmla="*/ 148661 h 726472"/>
                  <a:gd name="connsiteX9" fmla="*/ 190733 w 1480991"/>
                  <a:gd name="connsiteY9" fmla="*/ 173905 h 726472"/>
                  <a:gd name="connsiteX10" fmla="*/ 210368 w 1480991"/>
                  <a:gd name="connsiteY10" fmla="*/ 173905 h 726472"/>
                  <a:gd name="connsiteX11" fmla="*/ 210368 w 1480991"/>
                  <a:gd name="connsiteY11" fmla="*/ 272076 h 726472"/>
                  <a:gd name="connsiteX12" fmla="*/ 232807 w 1480991"/>
                  <a:gd name="connsiteY12" fmla="*/ 272076 h 726472"/>
                  <a:gd name="connsiteX13" fmla="*/ 232807 w 1480991"/>
                  <a:gd name="connsiteY13" fmla="*/ 294516 h 726472"/>
                  <a:gd name="connsiteX14" fmla="*/ 356223 w 1480991"/>
                  <a:gd name="connsiteY14" fmla="*/ 294516 h 726472"/>
                  <a:gd name="connsiteX15" fmla="*/ 356223 w 1480991"/>
                  <a:gd name="connsiteY15" fmla="*/ 333784 h 726472"/>
                  <a:gd name="connsiteX16" fmla="*/ 378662 w 1480991"/>
                  <a:gd name="connsiteY16" fmla="*/ 333784 h 726472"/>
                  <a:gd name="connsiteX17" fmla="*/ 378662 w 1480991"/>
                  <a:gd name="connsiteY17" fmla="*/ 378663 h 726472"/>
                  <a:gd name="connsiteX18" fmla="*/ 1200500 w 1480991"/>
                  <a:gd name="connsiteY18" fmla="*/ 353419 h 726472"/>
                  <a:gd name="connsiteX19" fmla="*/ 1200500 w 1480991"/>
                  <a:gd name="connsiteY19" fmla="*/ 726472 h 726472"/>
                  <a:gd name="connsiteX20" fmla="*/ 1480991 w 1480991"/>
                  <a:gd name="connsiteY20" fmla="*/ 726472 h 726472"/>
                  <a:gd name="connsiteX0" fmla="*/ 0 w 1200500"/>
                  <a:gd name="connsiteY0" fmla="*/ 0 h 726472"/>
                  <a:gd name="connsiteX1" fmla="*/ 56098 w 1200500"/>
                  <a:gd name="connsiteY1" fmla="*/ 0 h 726472"/>
                  <a:gd name="connsiteX2" fmla="*/ 56098 w 1200500"/>
                  <a:gd name="connsiteY2" fmla="*/ 19635 h 726472"/>
                  <a:gd name="connsiteX3" fmla="*/ 95366 w 1200500"/>
                  <a:gd name="connsiteY3" fmla="*/ 19635 h 726472"/>
                  <a:gd name="connsiteX4" fmla="*/ 95366 w 1200500"/>
                  <a:gd name="connsiteY4" fmla="*/ 58903 h 726472"/>
                  <a:gd name="connsiteX5" fmla="*/ 95366 w 1200500"/>
                  <a:gd name="connsiteY5" fmla="*/ 109392 h 726472"/>
                  <a:gd name="connsiteX6" fmla="*/ 143050 w 1200500"/>
                  <a:gd name="connsiteY6" fmla="*/ 109392 h 726472"/>
                  <a:gd name="connsiteX7" fmla="*/ 143050 w 1200500"/>
                  <a:gd name="connsiteY7" fmla="*/ 148661 h 726472"/>
                  <a:gd name="connsiteX8" fmla="*/ 190733 w 1200500"/>
                  <a:gd name="connsiteY8" fmla="*/ 148661 h 726472"/>
                  <a:gd name="connsiteX9" fmla="*/ 190733 w 1200500"/>
                  <a:gd name="connsiteY9" fmla="*/ 173905 h 726472"/>
                  <a:gd name="connsiteX10" fmla="*/ 210368 w 1200500"/>
                  <a:gd name="connsiteY10" fmla="*/ 173905 h 726472"/>
                  <a:gd name="connsiteX11" fmla="*/ 210368 w 1200500"/>
                  <a:gd name="connsiteY11" fmla="*/ 272076 h 726472"/>
                  <a:gd name="connsiteX12" fmla="*/ 232807 w 1200500"/>
                  <a:gd name="connsiteY12" fmla="*/ 272076 h 726472"/>
                  <a:gd name="connsiteX13" fmla="*/ 232807 w 1200500"/>
                  <a:gd name="connsiteY13" fmla="*/ 294516 h 726472"/>
                  <a:gd name="connsiteX14" fmla="*/ 356223 w 1200500"/>
                  <a:gd name="connsiteY14" fmla="*/ 294516 h 726472"/>
                  <a:gd name="connsiteX15" fmla="*/ 356223 w 1200500"/>
                  <a:gd name="connsiteY15" fmla="*/ 333784 h 726472"/>
                  <a:gd name="connsiteX16" fmla="*/ 378662 w 1200500"/>
                  <a:gd name="connsiteY16" fmla="*/ 333784 h 726472"/>
                  <a:gd name="connsiteX17" fmla="*/ 378662 w 1200500"/>
                  <a:gd name="connsiteY17" fmla="*/ 378663 h 726472"/>
                  <a:gd name="connsiteX18" fmla="*/ 1200500 w 1200500"/>
                  <a:gd name="connsiteY18" fmla="*/ 353419 h 726472"/>
                  <a:gd name="connsiteX19" fmla="*/ 1200500 w 1200500"/>
                  <a:gd name="connsiteY19" fmla="*/ 726472 h 726472"/>
                  <a:gd name="connsiteX0" fmla="*/ 0 w 1200500"/>
                  <a:gd name="connsiteY0" fmla="*/ 0 h 378663"/>
                  <a:gd name="connsiteX1" fmla="*/ 56098 w 1200500"/>
                  <a:gd name="connsiteY1" fmla="*/ 0 h 378663"/>
                  <a:gd name="connsiteX2" fmla="*/ 56098 w 1200500"/>
                  <a:gd name="connsiteY2" fmla="*/ 19635 h 378663"/>
                  <a:gd name="connsiteX3" fmla="*/ 95366 w 1200500"/>
                  <a:gd name="connsiteY3" fmla="*/ 19635 h 378663"/>
                  <a:gd name="connsiteX4" fmla="*/ 95366 w 1200500"/>
                  <a:gd name="connsiteY4" fmla="*/ 58903 h 378663"/>
                  <a:gd name="connsiteX5" fmla="*/ 95366 w 1200500"/>
                  <a:gd name="connsiteY5" fmla="*/ 109392 h 378663"/>
                  <a:gd name="connsiteX6" fmla="*/ 143050 w 1200500"/>
                  <a:gd name="connsiteY6" fmla="*/ 109392 h 378663"/>
                  <a:gd name="connsiteX7" fmla="*/ 143050 w 1200500"/>
                  <a:gd name="connsiteY7" fmla="*/ 148661 h 378663"/>
                  <a:gd name="connsiteX8" fmla="*/ 190733 w 1200500"/>
                  <a:gd name="connsiteY8" fmla="*/ 148661 h 378663"/>
                  <a:gd name="connsiteX9" fmla="*/ 190733 w 1200500"/>
                  <a:gd name="connsiteY9" fmla="*/ 173905 h 378663"/>
                  <a:gd name="connsiteX10" fmla="*/ 210368 w 1200500"/>
                  <a:gd name="connsiteY10" fmla="*/ 173905 h 378663"/>
                  <a:gd name="connsiteX11" fmla="*/ 210368 w 1200500"/>
                  <a:gd name="connsiteY11" fmla="*/ 272076 h 378663"/>
                  <a:gd name="connsiteX12" fmla="*/ 232807 w 1200500"/>
                  <a:gd name="connsiteY12" fmla="*/ 272076 h 378663"/>
                  <a:gd name="connsiteX13" fmla="*/ 232807 w 1200500"/>
                  <a:gd name="connsiteY13" fmla="*/ 294516 h 378663"/>
                  <a:gd name="connsiteX14" fmla="*/ 356223 w 1200500"/>
                  <a:gd name="connsiteY14" fmla="*/ 294516 h 378663"/>
                  <a:gd name="connsiteX15" fmla="*/ 356223 w 1200500"/>
                  <a:gd name="connsiteY15" fmla="*/ 333784 h 378663"/>
                  <a:gd name="connsiteX16" fmla="*/ 378662 w 1200500"/>
                  <a:gd name="connsiteY16" fmla="*/ 333784 h 378663"/>
                  <a:gd name="connsiteX17" fmla="*/ 378662 w 1200500"/>
                  <a:gd name="connsiteY17" fmla="*/ 378663 h 378663"/>
                  <a:gd name="connsiteX18" fmla="*/ 1200500 w 1200500"/>
                  <a:gd name="connsiteY18" fmla="*/ 353419 h 378663"/>
                  <a:gd name="connsiteX0" fmla="*/ 0 w 378662"/>
                  <a:gd name="connsiteY0" fmla="*/ 0 h 378663"/>
                  <a:gd name="connsiteX1" fmla="*/ 56098 w 378662"/>
                  <a:gd name="connsiteY1" fmla="*/ 0 h 378663"/>
                  <a:gd name="connsiteX2" fmla="*/ 56098 w 378662"/>
                  <a:gd name="connsiteY2" fmla="*/ 19635 h 378663"/>
                  <a:gd name="connsiteX3" fmla="*/ 95366 w 378662"/>
                  <a:gd name="connsiteY3" fmla="*/ 19635 h 378663"/>
                  <a:gd name="connsiteX4" fmla="*/ 95366 w 378662"/>
                  <a:gd name="connsiteY4" fmla="*/ 58903 h 378663"/>
                  <a:gd name="connsiteX5" fmla="*/ 95366 w 378662"/>
                  <a:gd name="connsiteY5" fmla="*/ 109392 h 378663"/>
                  <a:gd name="connsiteX6" fmla="*/ 143050 w 378662"/>
                  <a:gd name="connsiteY6" fmla="*/ 109392 h 378663"/>
                  <a:gd name="connsiteX7" fmla="*/ 143050 w 378662"/>
                  <a:gd name="connsiteY7" fmla="*/ 148661 h 378663"/>
                  <a:gd name="connsiteX8" fmla="*/ 190733 w 378662"/>
                  <a:gd name="connsiteY8" fmla="*/ 148661 h 378663"/>
                  <a:gd name="connsiteX9" fmla="*/ 190733 w 378662"/>
                  <a:gd name="connsiteY9" fmla="*/ 173905 h 378663"/>
                  <a:gd name="connsiteX10" fmla="*/ 210368 w 378662"/>
                  <a:gd name="connsiteY10" fmla="*/ 173905 h 378663"/>
                  <a:gd name="connsiteX11" fmla="*/ 210368 w 378662"/>
                  <a:gd name="connsiteY11" fmla="*/ 272076 h 378663"/>
                  <a:gd name="connsiteX12" fmla="*/ 232807 w 378662"/>
                  <a:gd name="connsiteY12" fmla="*/ 272076 h 378663"/>
                  <a:gd name="connsiteX13" fmla="*/ 232807 w 378662"/>
                  <a:gd name="connsiteY13" fmla="*/ 294516 h 378663"/>
                  <a:gd name="connsiteX14" fmla="*/ 356223 w 378662"/>
                  <a:gd name="connsiteY14" fmla="*/ 294516 h 378663"/>
                  <a:gd name="connsiteX15" fmla="*/ 356223 w 378662"/>
                  <a:gd name="connsiteY15" fmla="*/ 333784 h 378663"/>
                  <a:gd name="connsiteX16" fmla="*/ 378662 w 378662"/>
                  <a:gd name="connsiteY16" fmla="*/ 333784 h 378663"/>
                  <a:gd name="connsiteX17" fmla="*/ 378662 w 378662"/>
                  <a:gd name="connsiteY17" fmla="*/ 378663 h 378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78662" h="378663">
                    <a:moveTo>
                      <a:pt x="0" y="0"/>
                    </a:moveTo>
                    <a:lnTo>
                      <a:pt x="56098" y="0"/>
                    </a:lnTo>
                    <a:lnTo>
                      <a:pt x="56098" y="19635"/>
                    </a:lnTo>
                    <a:lnTo>
                      <a:pt x="95366" y="19635"/>
                    </a:lnTo>
                    <a:lnTo>
                      <a:pt x="95366" y="58903"/>
                    </a:lnTo>
                    <a:lnTo>
                      <a:pt x="95366" y="109392"/>
                    </a:lnTo>
                    <a:lnTo>
                      <a:pt x="143050" y="109392"/>
                    </a:lnTo>
                    <a:lnTo>
                      <a:pt x="143050" y="148661"/>
                    </a:lnTo>
                    <a:lnTo>
                      <a:pt x="190733" y="148661"/>
                    </a:lnTo>
                    <a:lnTo>
                      <a:pt x="190733" y="173905"/>
                    </a:lnTo>
                    <a:lnTo>
                      <a:pt x="210368" y="173905"/>
                    </a:lnTo>
                    <a:lnTo>
                      <a:pt x="210368" y="272076"/>
                    </a:lnTo>
                    <a:lnTo>
                      <a:pt x="232807" y="272076"/>
                    </a:lnTo>
                    <a:lnTo>
                      <a:pt x="232807" y="294516"/>
                    </a:lnTo>
                    <a:lnTo>
                      <a:pt x="356223" y="294516"/>
                    </a:lnTo>
                    <a:lnTo>
                      <a:pt x="356223" y="333784"/>
                    </a:lnTo>
                    <a:lnTo>
                      <a:pt x="378662" y="333784"/>
                    </a:lnTo>
                    <a:lnTo>
                      <a:pt x="378662" y="378663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Freeform: Shape 79">
                <a:extLst>
                  <a:ext uri="{FF2B5EF4-FFF2-40B4-BE49-F238E27FC236}">
                    <a16:creationId xmlns:a16="http://schemas.microsoft.com/office/drawing/2014/main" id="{E57CC713-6433-4D5D-A5C8-C4C36526FC58}"/>
                  </a:ext>
                </a:extLst>
              </p:cNvPr>
              <p:cNvSpPr/>
              <p:nvPr/>
            </p:nvSpPr>
            <p:spPr>
              <a:xfrm>
                <a:off x="8198745" y="1819275"/>
                <a:ext cx="1614487" cy="654843"/>
              </a:xfrm>
              <a:custGeom>
                <a:avLst/>
                <a:gdLst>
                  <a:gd name="connsiteX0" fmla="*/ 0 w 1614487"/>
                  <a:gd name="connsiteY0" fmla="*/ 0 h 654843"/>
                  <a:gd name="connsiteX1" fmla="*/ 833437 w 1614487"/>
                  <a:gd name="connsiteY1" fmla="*/ 0 h 654843"/>
                  <a:gd name="connsiteX2" fmla="*/ 833437 w 1614487"/>
                  <a:gd name="connsiteY2" fmla="*/ 307181 h 654843"/>
                  <a:gd name="connsiteX3" fmla="*/ 1092993 w 1614487"/>
                  <a:gd name="connsiteY3" fmla="*/ 307181 h 654843"/>
                  <a:gd name="connsiteX4" fmla="*/ 1092993 w 1614487"/>
                  <a:gd name="connsiteY4" fmla="*/ 654843 h 654843"/>
                  <a:gd name="connsiteX5" fmla="*/ 1614487 w 1614487"/>
                  <a:gd name="connsiteY5" fmla="*/ 654843 h 654843"/>
                  <a:gd name="connsiteX6" fmla="*/ 1612106 w 1614487"/>
                  <a:gd name="connsiteY6" fmla="*/ 652462 h 654843"/>
                  <a:gd name="connsiteX0" fmla="*/ 0 w 1614487"/>
                  <a:gd name="connsiteY0" fmla="*/ 0 h 654843"/>
                  <a:gd name="connsiteX1" fmla="*/ 833437 w 1614487"/>
                  <a:gd name="connsiteY1" fmla="*/ 0 h 654843"/>
                  <a:gd name="connsiteX2" fmla="*/ 833437 w 1614487"/>
                  <a:gd name="connsiteY2" fmla="*/ 307181 h 654843"/>
                  <a:gd name="connsiteX3" fmla="*/ 1092993 w 1614487"/>
                  <a:gd name="connsiteY3" fmla="*/ 307181 h 654843"/>
                  <a:gd name="connsiteX4" fmla="*/ 1092993 w 1614487"/>
                  <a:gd name="connsiteY4" fmla="*/ 654843 h 654843"/>
                  <a:gd name="connsiteX5" fmla="*/ 1614487 w 1614487"/>
                  <a:gd name="connsiteY5" fmla="*/ 654843 h 654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14487" h="654843">
                    <a:moveTo>
                      <a:pt x="0" y="0"/>
                    </a:moveTo>
                    <a:lnTo>
                      <a:pt x="833437" y="0"/>
                    </a:lnTo>
                    <a:lnTo>
                      <a:pt x="833437" y="307181"/>
                    </a:lnTo>
                    <a:lnTo>
                      <a:pt x="1092993" y="307181"/>
                    </a:lnTo>
                    <a:lnTo>
                      <a:pt x="1092993" y="654843"/>
                    </a:lnTo>
                    <a:lnTo>
                      <a:pt x="1614487" y="654843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Freeform: Shape 80">
                <a:extLst>
                  <a:ext uri="{FF2B5EF4-FFF2-40B4-BE49-F238E27FC236}">
                    <a16:creationId xmlns:a16="http://schemas.microsoft.com/office/drawing/2014/main" id="{6F323840-2D1A-410F-BDCF-3CBEF5F49C90}"/>
                  </a:ext>
                </a:extLst>
              </p:cNvPr>
              <p:cNvSpPr/>
              <p:nvPr/>
            </p:nvSpPr>
            <p:spPr>
              <a:xfrm>
                <a:off x="2580093" y="387799"/>
                <a:ext cx="936839" cy="145855"/>
              </a:xfrm>
              <a:custGeom>
                <a:avLst/>
                <a:gdLst>
                  <a:gd name="connsiteX0" fmla="*/ 0 w 936839"/>
                  <a:gd name="connsiteY0" fmla="*/ 0 h 145855"/>
                  <a:gd name="connsiteX1" fmla="*/ 103782 w 936839"/>
                  <a:gd name="connsiteY1" fmla="*/ 0 h 145855"/>
                  <a:gd name="connsiteX2" fmla="*/ 103782 w 936839"/>
                  <a:gd name="connsiteY2" fmla="*/ 28049 h 145855"/>
                  <a:gd name="connsiteX3" fmla="*/ 232808 w 936839"/>
                  <a:gd name="connsiteY3" fmla="*/ 28049 h 145855"/>
                  <a:gd name="connsiteX4" fmla="*/ 232808 w 936839"/>
                  <a:gd name="connsiteY4" fmla="*/ 50488 h 145855"/>
                  <a:gd name="connsiteX5" fmla="*/ 373053 w 936839"/>
                  <a:gd name="connsiteY5" fmla="*/ 50488 h 145855"/>
                  <a:gd name="connsiteX6" fmla="*/ 373053 w 936839"/>
                  <a:gd name="connsiteY6" fmla="*/ 64513 h 145855"/>
                  <a:gd name="connsiteX7" fmla="*/ 493664 w 936839"/>
                  <a:gd name="connsiteY7" fmla="*/ 64513 h 145855"/>
                  <a:gd name="connsiteX8" fmla="*/ 493664 w 936839"/>
                  <a:gd name="connsiteY8" fmla="*/ 98172 h 145855"/>
                  <a:gd name="connsiteX9" fmla="*/ 572201 w 936839"/>
                  <a:gd name="connsiteY9" fmla="*/ 98172 h 145855"/>
                  <a:gd name="connsiteX10" fmla="*/ 572201 w 936839"/>
                  <a:gd name="connsiteY10" fmla="*/ 120611 h 145855"/>
                  <a:gd name="connsiteX11" fmla="*/ 771350 w 936839"/>
                  <a:gd name="connsiteY11" fmla="*/ 120611 h 145855"/>
                  <a:gd name="connsiteX12" fmla="*/ 771350 w 936839"/>
                  <a:gd name="connsiteY12" fmla="*/ 143050 h 145855"/>
                  <a:gd name="connsiteX13" fmla="*/ 936839 w 936839"/>
                  <a:gd name="connsiteY13" fmla="*/ 143050 h 145855"/>
                  <a:gd name="connsiteX14" fmla="*/ 936839 w 936839"/>
                  <a:gd name="connsiteY14" fmla="*/ 145855 h 145855"/>
                  <a:gd name="connsiteX15" fmla="*/ 936839 w 936839"/>
                  <a:gd name="connsiteY15" fmla="*/ 145855 h 145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6839" h="145855">
                    <a:moveTo>
                      <a:pt x="0" y="0"/>
                    </a:moveTo>
                    <a:lnTo>
                      <a:pt x="103782" y="0"/>
                    </a:lnTo>
                    <a:lnTo>
                      <a:pt x="103782" y="28049"/>
                    </a:lnTo>
                    <a:lnTo>
                      <a:pt x="232808" y="28049"/>
                    </a:lnTo>
                    <a:lnTo>
                      <a:pt x="232808" y="50488"/>
                    </a:lnTo>
                    <a:lnTo>
                      <a:pt x="373053" y="50488"/>
                    </a:lnTo>
                    <a:lnTo>
                      <a:pt x="373053" y="64513"/>
                    </a:lnTo>
                    <a:lnTo>
                      <a:pt x="493664" y="64513"/>
                    </a:lnTo>
                    <a:lnTo>
                      <a:pt x="493664" y="98172"/>
                    </a:lnTo>
                    <a:lnTo>
                      <a:pt x="572201" y="98172"/>
                    </a:lnTo>
                    <a:lnTo>
                      <a:pt x="572201" y="120611"/>
                    </a:lnTo>
                    <a:lnTo>
                      <a:pt x="771350" y="120611"/>
                    </a:lnTo>
                    <a:lnTo>
                      <a:pt x="771350" y="143050"/>
                    </a:lnTo>
                    <a:lnTo>
                      <a:pt x="936839" y="143050"/>
                    </a:lnTo>
                    <a:lnTo>
                      <a:pt x="936839" y="145855"/>
                    </a:lnTo>
                    <a:lnTo>
                      <a:pt x="936839" y="145855"/>
                    </a:lnTo>
                  </a:path>
                </a:pathLst>
              </a:custGeom>
              <a:noFill/>
              <a:ln w="38100">
                <a:solidFill>
                  <a:srgbClr val="BDBD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8" name="Freeform: Shape 81">
                <a:extLst>
                  <a:ext uri="{FF2B5EF4-FFF2-40B4-BE49-F238E27FC236}">
                    <a16:creationId xmlns:a16="http://schemas.microsoft.com/office/drawing/2014/main" id="{3EAD17E6-6554-41F7-B2BE-9F56B35EB2AE}"/>
                  </a:ext>
                </a:extLst>
              </p:cNvPr>
              <p:cNvSpPr/>
              <p:nvPr/>
            </p:nvSpPr>
            <p:spPr>
              <a:xfrm>
                <a:off x="1356139" y="314538"/>
                <a:ext cx="1229149" cy="73260"/>
              </a:xfrm>
              <a:custGeom>
                <a:avLst/>
                <a:gdLst>
                  <a:gd name="connsiteX0" fmla="*/ 0 w 1229149"/>
                  <a:gd name="connsiteY0" fmla="*/ 0 h 84114"/>
                  <a:gd name="connsiteX1" fmla="*/ 360876 w 1229149"/>
                  <a:gd name="connsiteY1" fmla="*/ 0 h 84114"/>
                  <a:gd name="connsiteX2" fmla="*/ 360876 w 1229149"/>
                  <a:gd name="connsiteY2" fmla="*/ 10853 h 84114"/>
                  <a:gd name="connsiteX3" fmla="*/ 548098 w 1229149"/>
                  <a:gd name="connsiteY3" fmla="*/ 10853 h 84114"/>
                  <a:gd name="connsiteX4" fmla="*/ 548098 w 1229149"/>
                  <a:gd name="connsiteY4" fmla="*/ 29847 h 84114"/>
                  <a:gd name="connsiteX5" fmla="*/ 719039 w 1229149"/>
                  <a:gd name="connsiteY5" fmla="*/ 29847 h 84114"/>
                  <a:gd name="connsiteX6" fmla="*/ 719039 w 1229149"/>
                  <a:gd name="connsiteY6" fmla="*/ 59693 h 84114"/>
                  <a:gd name="connsiteX7" fmla="*/ 1028361 w 1229149"/>
                  <a:gd name="connsiteY7" fmla="*/ 59693 h 84114"/>
                  <a:gd name="connsiteX8" fmla="*/ 1028361 w 1229149"/>
                  <a:gd name="connsiteY8" fmla="*/ 73260 h 84114"/>
                  <a:gd name="connsiteX9" fmla="*/ 1229149 w 1229149"/>
                  <a:gd name="connsiteY9" fmla="*/ 73260 h 84114"/>
                  <a:gd name="connsiteX10" fmla="*/ 1229149 w 1229149"/>
                  <a:gd name="connsiteY10" fmla="*/ 84114 h 84114"/>
                  <a:gd name="connsiteX0" fmla="*/ 0 w 1229149"/>
                  <a:gd name="connsiteY0" fmla="*/ 0 h 73260"/>
                  <a:gd name="connsiteX1" fmla="*/ 360876 w 1229149"/>
                  <a:gd name="connsiteY1" fmla="*/ 0 h 73260"/>
                  <a:gd name="connsiteX2" fmla="*/ 360876 w 1229149"/>
                  <a:gd name="connsiteY2" fmla="*/ 10853 h 73260"/>
                  <a:gd name="connsiteX3" fmla="*/ 548098 w 1229149"/>
                  <a:gd name="connsiteY3" fmla="*/ 10853 h 73260"/>
                  <a:gd name="connsiteX4" fmla="*/ 548098 w 1229149"/>
                  <a:gd name="connsiteY4" fmla="*/ 29847 h 73260"/>
                  <a:gd name="connsiteX5" fmla="*/ 719039 w 1229149"/>
                  <a:gd name="connsiteY5" fmla="*/ 29847 h 73260"/>
                  <a:gd name="connsiteX6" fmla="*/ 719039 w 1229149"/>
                  <a:gd name="connsiteY6" fmla="*/ 59693 h 73260"/>
                  <a:gd name="connsiteX7" fmla="*/ 1028361 w 1229149"/>
                  <a:gd name="connsiteY7" fmla="*/ 59693 h 73260"/>
                  <a:gd name="connsiteX8" fmla="*/ 1028361 w 1229149"/>
                  <a:gd name="connsiteY8" fmla="*/ 73260 h 73260"/>
                  <a:gd name="connsiteX9" fmla="*/ 1229149 w 1229149"/>
                  <a:gd name="connsiteY9" fmla="*/ 73260 h 7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29149" h="73260">
                    <a:moveTo>
                      <a:pt x="0" y="0"/>
                    </a:moveTo>
                    <a:lnTo>
                      <a:pt x="360876" y="0"/>
                    </a:lnTo>
                    <a:lnTo>
                      <a:pt x="360876" y="10853"/>
                    </a:lnTo>
                    <a:lnTo>
                      <a:pt x="548098" y="10853"/>
                    </a:lnTo>
                    <a:lnTo>
                      <a:pt x="548098" y="29847"/>
                    </a:lnTo>
                    <a:lnTo>
                      <a:pt x="719039" y="29847"/>
                    </a:lnTo>
                    <a:lnTo>
                      <a:pt x="719039" y="59693"/>
                    </a:lnTo>
                    <a:lnTo>
                      <a:pt x="1028361" y="59693"/>
                    </a:lnTo>
                    <a:lnTo>
                      <a:pt x="1028361" y="73260"/>
                    </a:lnTo>
                    <a:lnTo>
                      <a:pt x="1229149" y="73260"/>
                    </a:lnTo>
                  </a:path>
                </a:pathLst>
              </a:custGeom>
              <a:noFill/>
              <a:ln w="38100">
                <a:solidFill>
                  <a:srgbClr val="BDBD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Freeform: Shape 82">
                <a:extLst>
                  <a:ext uri="{FF2B5EF4-FFF2-40B4-BE49-F238E27FC236}">
                    <a16:creationId xmlns:a16="http://schemas.microsoft.com/office/drawing/2014/main" id="{654AE9E4-B3A6-42A5-A37A-42C441850046}"/>
                  </a:ext>
                </a:extLst>
              </p:cNvPr>
              <p:cNvSpPr/>
              <p:nvPr/>
            </p:nvSpPr>
            <p:spPr>
              <a:xfrm>
                <a:off x="3523801" y="517778"/>
                <a:ext cx="1073553" cy="416689"/>
              </a:xfrm>
              <a:custGeom>
                <a:avLst/>
                <a:gdLst>
                  <a:gd name="connsiteX0" fmla="*/ 0 w 1035934"/>
                  <a:gd name="connsiteY0" fmla="*/ 0 h 445626"/>
                  <a:gd name="connsiteX1" fmla="*/ 0 w 1035934"/>
                  <a:gd name="connsiteY1" fmla="*/ 52087 h 445626"/>
                  <a:gd name="connsiteX2" fmla="*/ 46298 w 1035934"/>
                  <a:gd name="connsiteY2" fmla="*/ 98385 h 445626"/>
                  <a:gd name="connsiteX3" fmla="*/ 124428 w 1035934"/>
                  <a:gd name="connsiteY3" fmla="*/ 98385 h 445626"/>
                  <a:gd name="connsiteX4" fmla="*/ 124428 w 1035934"/>
                  <a:gd name="connsiteY4" fmla="*/ 124428 h 445626"/>
                  <a:gd name="connsiteX5" fmla="*/ 251749 w 1035934"/>
                  <a:gd name="connsiteY5" fmla="*/ 124428 h 445626"/>
                  <a:gd name="connsiteX6" fmla="*/ 257537 w 1035934"/>
                  <a:gd name="connsiteY6" fmla="*/ 124428 h 445626"/>
                  <a:gd name="connsiteX7" fmla="*/ 280686 w 1035934"/>
                  <a:gd name="connsiteY7" fmla="*/ 124428 h 445626"/>
                  <a:gd name="connsiteX8" fmla="*/ 280686 w 1035934"/>
                  <a:gd name="connsiteY8" fmla="*/ 170727 h 445626"/>
                  <a:gd name="connsiteX9" fmla="*/ 344347 w 1035934"/>
                  <a:gd name="connsiteY9" fmla="*/ 170727 h 445626"/>
                  <a:gd name="connsiteX10" fmla="*/ 425370 w 1035934"/>
                  <a:gd name="connsiteY10" fmla="*/ 170727 h 445626"/>
                  <a:gd name="connsiteX11" fmla="*/ 425370 w 1035934"/>
                  <a:gd name="connsiteY11" fmla="*/ 193876 h 445626"/>
                  <a:gd name="connsiteX12" fmla="*/ 442732 w 1035934"/>
                  <a:gd name="connsiteY12" fmla="*/ 193876 h 445626"/>
                  <a:gd name="connsiteX13" fmla="*/ 442732 w 1035934"/>
                  <a:gd name="connsiteY13" fmla="*/ 219919 h 445626"/>
                  <a:gd name="connsiteX14" fmla="*/ 491924 w 1035934"/>
                  <a:gd name="connsiteY14" fmla="*/ 219919 h 445626"/>
                  <a:gd name="connsiteX15" fmla="*/ 491924 w 1035934"/>
                  <a:gd name="connsiteY15" fmla="*/ 260431 h 445626"/>
                  <a:gd name="connsiteX16" fmla="*/ 529542 w 1035934"/>
                  <a:gd name="connsiteY16" fmla="*/ 260431 h 445626"/>
                  <a:gd name="connsiteX17" fmla="*/ 529542 w 1035934"/>
                  <a:gd name="connsiteY17" fmla="*/ 292261 h 445626"/>
                  <a:gd name="connsiteX18" fmla="*/ 564266 w 1035934"/>
                  <a:gd name="connsiteY18" fmla="*/ 292261 h 445626"/>
                  <a:gd name="connsiteX19" fmla="*/ 564266 w 1035934"/>
                  <a:gd name="connsiteY19" fmla="*/ 321198 h 445626"/>
                  <a:gd name="connsiteX20" fmla="*/ 607671 w 1035934"/>
                  <a:gd name="connsiteY20" fmla="*/ 321198 h 445626"/>
                  <a:gd name="connsiteX21" fmla="*/ 607671 w 1035934"/>
                  <a:gd name="connsiteY21" fmla="*/ 350135 h 445626"/>
                  <a:gd name="connsiteX22" fmla="*/ 732099 w 1035934"/>
                  <a:gd name="connsiteY22" fmla="*/ 350135 h 445626"/>
                  <a:gd name="connsiteX23" fmla="*/ 732099 w 1035934"/>
                  <a:gd name="connsiteY23" fmla="*/ 367497 h 445626"/>
                  <a:gd name="connsiteX24" fmla="*/ 853633 w 1035934"/>
                  <a:gd name="connsiteY24" fmla="*/ 367497 h 445626"/>
                  <a:gd name="connsiteX25" fmla="*/ 853633 w 1035934"/>
                  <a:gd name="connsiteY25" fmla="*/ 381965 h 445626"/>
                  <a:gd name="connsiteX26" fmla="*/ 943337 w 1035934"/>
                  <a:gd name="connsiteY26" fmla="*/ 381965 h 445626"/>
                  <a:gd name="connsiteX27" fmla="*/ 943337 w 1035934"/>
                  <a:gd name="connsiteY27" fmla="*/ 413795 h 445626"/>
                  <a:gd name="connsiteX28" fmla="*/ 1021466 w 1035934"/>
                  <a:gd name="connsiteY28" fmla="*/ 413795 h 445626"/>
                  <a:gd name="connsiteX29" fmla="*/ 1021466 w 1035934"/>
                  <a:gd name="connsiteY29" fmla="*/ 445626 h 445626"/>
                  <a:gd name="connsiteX30" fmla="*/ 1035934 w 1035934"/>
                  <a:gd name="connsiteY30" fmla="*/ 445626 h 445626"/>
                  <a:gd name="connsiteX31" fmla="*/ 1035934 w 1035934"/>
                  <a:gd name="connsiteY31" fmla="*/ 445626 h 445626"/>
                  <a:gd name="connsiteX0" fmla="*/ 0 w 1035934"/>
                  <a:gd name="connsiteY0" fmla="*/ 0 h 445626"/>
                  <a:gd name="connsiteX1" fmla="*/ 0 w 1035934"/>
                  <a:gd name="connsiteY1" fmla="*/ 52087 h 445626"/>
                  <a:gd name="connsiteX2" fmla="*/ 11574 w 1035934"/>
                  <a:gd name="connsiteY2" fmla="*/ 101279 h 445626"/>
                  <a:gd name="connsiteX3" fmla="*/ 124428 w 1035934"/>
                  <a:gd name="connsiteY3" fmla="*/ 98385 h 445626"/>
                  <a:gd name="connsiteX4" fmla="*/ 124428 w 1035934"/>
                  <a:gd name="connsiteY4" fmla="*/ 124428 h 445626"/>
                  <a:gd name="connsiteX5" fmla="*/ 251749 w 1035934"/>
                  <a:gd name="connsiteY5" fmla="*/ 124428 h 445626"/>
                  <a:gd name="connsiteX6" fmla="*/ 257537 w 1035934"/>
                  <a:gd name="connsiteY6" fmla="*/ 124428 h 445626"/>
                  <a:gd name="connsiteX7" fmla="*/ 280686 w 1035934"/>
                  <a:gd name="connsiteY7" fmla="*/ 124428 h 445626"/>
                  <a:gd name="connsiteX8" fmla="*/ 280686 w 1035934"/>
                  <a:gd name="connsiteY8" fmla="*/ 170727 h 445626"/>
                  <a:gd name="connsiteX9" fmla="*/ 344347 w 1035934"/>
                  <a:gd name="connsiteY9" fmla="*/ 170727 h 445626"/>
                  <a:gd name="connsiteX10" fmla="*/ 425370 w 1035934"/>
                  <a:gd name="connsiteY10" fmla="*/ 170727 h 445626"/>
                  <a:gd name="connsiteX11" fmla="*/ 425370 w 1035934"/>
                  <a:gd name="connsiteY11" fmla="*/ 193876 h 445626"/>
                  <a:gd name="connsiteX12" fmla="*/ 442732 w 1035934"/>
                  <a:gd name="connsiteY12" fmla="*/ 193876 h 445626"/>
                  <a:gd name="connsiteX13" fmla="*/ 442732 w 1035934"/>
                  <a:gd name="connsiteY13" fmla="*/ 219919 h 445626"/>
                  <a:gd name="connsiteX14" fmla="*/ 491924 w 1035934"/>
                  <a:gd name="connsiteY14" fmla="*/ 219919 h 445626"/>
                  <a:gd name="connsiteX15" fmla="*/ 491924 w 1035934"/>
                  <a:gd name="connsiteY15" fmla="*/ 260431 h 445626"/>
                  <a:gd name="connsiteX16" fmla="*/ 529542 w 1035934"/>
                  <a:gd name="connsiteY16" fmla="*/ 260431 h 445626"/>
                  <a:gd name="connsiteX17" fmla="*/ 529542 w 1035934"/>
                  <a:gd name="connsiteY17" fmla="*/ 292261 h 445626"/>
                  <a:gd name="connsiteX18" fmla="*/ 564266 w 1035934"/>
                  <a:gd name="connsiteY18" fmla="*/ 292261 h 445626"/>
                  <a:gd name="connsiteX19" fmla="*/ 564266 w 1035934"/>
                  <a:gd name="connsiteY19" fmla="*/ 321198 h 445626"/>
                  <a:gd name="connsiteX20" fmla="*/ 607671 w 1035934"/>
                  <a:gd name="connsiteY20" fmla="*/ 321198 h 445626"/>
                  <a:gd name="connsiteX21" fmla="*/ 607671 w 1035934"/>
                  <a:gd name="connsiteY21" fmla="*/ 350135 h 445626"/>
                  <a:gd name="connsiteX22" fmla="*/ 732099 w 1035934"/>
                  <a:gd name="connsiteY22" fmla="*/ 350135 h 445626"/>
                  <a:gd name="connsiteX23" fmla="*/ 732099 w 1035934"/>
                  <a:gd name="connsiteY23" fmla="*/ 367497 h 445626"/>
                  <a:gd name="connsiteX24" fmla="*/ 853633 w 1035934"/>
                  <a:gd name="connsiteY24" fmla="*/ 367497 h 445626"/>
                  <a:gd name="connsiteX25" fmla="*/ 853633 w 1035934"/>
                  <a:gd name="connsiteY25" fmla="*/ 381965 h 445626"/>
                  <a:gd name="connsiteX26" fmla="*/ 943337 w 1035934"/>
                  <a:gd name="connsiteY26" fmla="*/ 381965 h 445626"/>
                  <a:gd name="connsiteX27" fmla="*/ 943337 w 1035934"/>
                  <a:gd name="connsiteY27" fmla="*/ 413795 h 445626"/>
                  <a:gd name="connsiteX28" fmla="*/ 1021466 w 1035934"/>
                  <a:gd name="connsiteY28" fmla="*/ 413795 h 445626"/>
                  <a:gd name="connsiteX29" fmla="*/ 1021466 w 1035934"/>
                  <a:gd name="connsiteY29" fmla="*/ 445626 h 445626"/>
                  <a:gd name="connsiteX30" fmla="*/ 1035934 w 1035934"/>
                  <a:gd name="connsiteY30" fmla="*/ 445626 h 445626"/>
                  <a:gd name="connsiteX31" fmla="*/ 1035934 w 1035934"/>
                  <a:gd name="connsiteY31" fmla="*/ 445626 h 445626"/>
                  <a:gd name="connsiteX0" fmla="*/ 1 w 1035935"/>
                  <a:gd name="connsiteY0" fmla="*/ 0 h 445626"/>
                  <a:gd name="connsiteX1" fmla="*/ 1 w 1035935"/>
                  <a:gd name="connsiteY1" fmla="*/ 52087 h 445626"/>
                  <a:gd name="connsiteX2" fmla="*/ 0 w 1035935"/>
                  <a:gd name="connsiteY2" fmla="*/ 101279 h 445626"/>
                  <a:gd name="connsiteX3" fmla="*/ 124429 w 1035935"/>
                  <a:gd name="connsiteY3" fmla="*/ 98385 h 445626"/>
                  <a:gd name="connsiteX4" fmla="*/ 124429 w 1035935"/>
                  <a:gd name="connsiteY4" fmla="*/ 124428 h 445626"/>
                  <a:gd name="connsiteX5" fmla="*/ 251750 w 1035935"/>
                  <a:gd name="connsiteY5" fmla="*/ 124428 h 445626"/>
                  <a:gd name="connsiteX6" fmla="*/ 257538 w 1035935"/>
                  <a:gd name="connsiteY6" fmla="*/ 124428 h 445626"/>
                  <a:gd name="connsiteX7" fmla="*/ 280687 w 1035935"/>
                  <a:gd name="connsiteY7" fmla="*/ 124428 h 445626"/>
                  <a:gd name="connsiteX8" fmla="*/ 280687 w 1035935"/>
                  <a:gd name="connsiteY8" fmla="*/ 170727 h 445626"/>
                  <a:gd name="connsiteX9" fmla="*/ 344348 w 1035935"/>
                  <a:gd name="connsiteY9" fmla="*/ 170727 h 445626"/>
                  <a:gd name="connsiteX10" fmla="*/ 425371 w 1035935"/>
                  <a:gd name="connsiteY10" fmla="*/ 170727 h 445626"/>
                  <a:gd name="connsiteX11" fmla="*/ 425371 w 1035935"/>
                  <a:gd name="connsiteY11" fmla="*/ 193876 h 445626"/>
                  <a:gd name="connsiteX12" fmla="*/ 442733 w 1035935"/>
                  <a:gd name="connsiteY12" fmla="*/ 193876 h 445626"/>
                  <a:gd name="connsiteX13" fmla="*/ 442733 w 1035935"/>
                  <a:gd name="connsiteY13" fmla="*/ 219919 h 445626"/>
                  <a:gd name="connsiteX14" fmla="*/ 491925 w 1035935"/>
                  <a:gd name="connsiteY14" fmla="*/ 219919 h 445626"/>
                  <a:gd name="connsiteX15" fmla="*/ 491925 w 1035935"/>
                  <a:gd name="connsiteY15" fmla="*/ 260431 h 445626"/>
                  <a:gd name="connsiteX16" fmla="*/ 529543 w 1035935"/>
                  <a:gd name="connsiteY16" fmla="*/ 260431 h 445626"/>
                  <a:gd name="connsiteX17" fmla="*/ 529543 w 1035935"/>
                  <a:gd name="connsiteY17" fmla="*/ 292261 h 445626"/>
                  <a:gd name="connsiteX18" fmla="*/ 564267 w 1035935"/>
                  <a:gd name="connsiteY18" fmla="*/ 292261 h 445626"/>
                  <a:gd name="connsiteX19" fmla="*/ 564267 w 1035935"/>
                  <a:gd name="connsiteY19" fmla="*/ 321198 h 445626"/>
                  <a:gd name="connsiteX20" fmla="*/ 607672 w 1035935"/>
                  <a:gd name="connsiteY20" fmla="*/ 321198 h 445626"/>
                  <a:gd name="connsiteX21" fmla="*/ 607672 w 1035935"/>
                  <a:gd name="connsiteY21" fmla="*/ 350135 h 445626"/>
                  <a:gd name="connsiteX22" fmla="*/ 732100 w 1035935"/>
                  <a:gd name="connsiteY22" fmla="*/ 350135 h 445626"/>
                  <a:gd name="connsiteX23" fmla="*/ 732100 w 1035935"/>
                  <a:gd name="connsiteY23" fmla="*/ 367497 h 445626"/>
                  <a:gd name="connsiteX24" fmla="*/ 853634 w 1035935"/>
                  <a:gd name="connsiteY24" fmla="*/ 367497 h 445626"/>
                  <a:gd name="connsiteX25" fmla="*/ 853634 w 1035935"/>
                  <a:gd name="connsiteY25" fmla="*/ 381965 h 445626"/>
                  <a:gd name="connsiteX26" fmla="*/ 943338 w 1035935"/>
                  <a:gd name="connsiteY26" fmla="*/ 381965 h 445626"/>
                  <a:gd name="connsiteX27" fmla="*/ 943338 w 1035935"/>
                  <a:gd name="connsiteY27" fmla="*/ 413795 h 445626"/>
                  <a:gd name="connsiteX28" fmla="*/ 1021467 w 1035935"/>
                  <a:gd name="connsiteY28" fmla="*/ 413795 h 445626"/>
                  <a:gd name="connsiteX29" fmla="*/ 1021467 w 1035935"/>
                  <a:gd name="connsiteY29" fmla="*/ 445626 h 445626"/>
                  <a:gd name="connsiteX30" fmla="*/ 1035935 w 1035935"/>
                  <a:gd name="connsiteY30" fmla="*/ 445626 h 445626"/>
                  <a:gd name="connsiteX31" fmla="*/ 1035935 w 1035935"/>
                  <a:gd name="connsiteY31" fmla="*/ 445626 h 445626"/>
                  <a:gd name="connsiteX0" fmla="*/ 1 w 1035935"/>
                  <a:gd name="connsiteY0" fmla="*/ 0 h 445626"/>
                  <a:gd name="connsiteX1" fmla="*/ 1 w 1035935"/>
                  <a:gd name="connsiteY1" fmla="*/ 52087 h 445626"/>
                  <a:gd name="connsiteX2" fmla="*/ 0 w 1035935"/>
                  <a:gd name="connsiteY2" fmla="*/ 101279 h 445626"/>
                  <a:gd name="connsiteX3" fmla="*/ 124429 w 1035935"/>
                  <a:gd name="connsiteY3" fmla="*/ 98385 h 445626"/>
                  <a:gd name="connsiteX4" fmla="*/ 124429 w 1035935"/>
                  <a:gd name="connsiteY4" fmla="*/ 124428 h 445626"/>
                  <a:gd name="connsiteX5" fmla="*/ 251750 w 1035935"/>
                  <a:gd name="connsiteY5" fmla="*/ 124428 h 445626"/>
                  <a:gd name="connsiteX6" fmla="*/ 257538 w 1035935"/>
                  <a:gd name="connsiteY6" fmla="*/ 124428 h 445626"/>
                  <a:gd name="connsiteX7" fmla="*/ 280687 w 1035935"/>
                  <a:gd name="connsiteY7" fmla="*/ 124428 h 445626"/>
                  <a:gd name="connsiteX8" fmla="*/ 280687 w 1035935"/>
                  <a:gd name="connsiteY8" fmla="*/ 170727 h 445626"/>
                  <a:gd name="connsiteX9" fmla="*/ 344348 w 1035935"/>
                  <a:gd name="connsiteY9" fmla="*/ 170727 h 445626"/>
                  <a:gd name="connsiteX10" fmla="*/ 425371 w 1035935"/>
                  <a:gd name="connsiteY10" fmla="*/ 170727 h 445626"/>
                  <a:gd name="connsiteX11" fmla="*/ 425371 w 1035935"/>
                  <a:gd name="connsiteY11" fmla="*/ 193876 h 445626"/>
                  <a:gd name="connsiteX12" fmla="*/ 442733 w 1035935"/>
                  <a:gd name="connsiteY12" fmla="*/ 193876 h 445626"/>
                  <a:gd name="connsiteX13" fmla="*/ 442733 w 1035935"/>
                  <a:gd name="connsiteY13" fmla="*/ 219919 h 445626"/>
                  <a:gd name="connsiteX14" fmla="*/ 491925 w 1035935"/>
                  <a:gd name="connsiteY14" fmla="*/ 219919 h 445626"/>
                  <a:gd name="connsiteX15" fmla="*/ 491925 w 1035935"/>
                  <a:gd name="connsiteY15" fmla="*/ 260431 h 445626"/>
                  <a:gd name="connsiteX16" fmla="*/ 529543 w 1035935"/>
                  <a:gd name="connsiteY16" fmla="*/ 260431 h 445626"/>
                  <a:gd name="connsiteX17" fmla="*/ 529543 w 1035935"/>
                  <a:gd name="connsiteY17" fmla="*/ 292261 h 445626"/>
                  <a:gd name="connsiteX18" fmla="*/ 564267 w 1035935"/>
                  <a:gd name="connsiteY18" fmla="*/ 292261 h 445626"/>
                  <a:gd name="connsiteX19" fmla="*/ 564267 w 1035935"/>
                  <a:gd name="connsiteY19" fmla="*/ 321198 h 445626"/>
                  <a:gd name="connsiteX20" fmla="*/ 607672 w 1035935"/>
                  <a:gd name="connsiteY20" fmla="*/ 321198 h 445626"/>
                  <a:gd name="connsiteX21" fmla="*/ 607672 w 1035935"/>
                  <a:gd name="connsiteY21" fmla="*/ 350135 h 445626"/>
                  <a:gd name="connsiteX22" fmla="*/ 732100 w 1035935"/>
                  <a:gd name="connsiteY22" fmla="*/ 350135 h 445626"/>
                  <a:gd name="connsiteX23" fmla="*/ 732100 w 1035935"/>
                  <a:gd name="connsiteY23" fmla="*/ 367497 h 445626"/>
                  <a:gd name="connsiteX24" fmla="*/ 853634 w 1035935"/>
                  <a:gd name="connsiteY24" fmla="*/ 367497 h 445626"/>
                  <a:gd name="connsiteX25" fmla="*/ 853634 w 1035935"/>
                  <a:gd name="connsiteY25" fmla="*/ 381965 h 445626"/>
                  <a:gd name="connsiteX26" fmla="*/ 943338 w 1035935"/>
                  <a:gd name="connsiteY26" fmla="*/ 381965 h 445626"/>
                  <a:gd name="connsiteX27" fmla="*/ 943338 w 1035935"/>
                  <a:gd name="connsiteY27" fmla="*/ 413795 h 445626"/>
                  <a:gd name="connsiteX28" fmla="*/ 1021467 w 1035935"/>
                  <a:gd name="connsiteY28" fmla="*/ 413795 h 445626"/>
                  <a:gd name="connsiteX29" fmla="*/ 1021467 w 1035935"/>
                  <a:gd name="connsiteY29" fmla="*/ 445626 h 445626"/>
                  <a:gd name="connsiteX30" fmla="*/ 1035935 w 1035935"/>
                  <a:gd name="connsiteY30" fmla="*/ 445626 h 445626"/>
                  <a:gd name="connsiteX0" fmla="*/ 1 w 1021467"/>
                  <a:gd name="connsiteY0" fmla="*/ 0 h 445626"/>
                  <a:gd name="connsiteX1" fmla="*/ 1 w 1021467"/>
                  <a:gd name="connsiteY1" fmla="*/ 52087 h 445626"/>
                  <a:gd name="connsiteX2" fmla="*/ 0 w 1021467"/>
                  <a:gd name="connsiteY2" fmla="*/ 101279 h 445626"/>
                  <a:gd name="connsiteX3" fmla="*/ 124429 w 1021467"/>
                  <a:gd name="connsiteY3" fmla="*/ 98385 h 445626"/>
                  <a:gd name="connsiteX4" fmla="*/ 124429 w 1021467"/>
                  <a:gd name="connsiteY4" fmla="*/ 124428 h 445626"/>
                  <a:gd name="connsiteX5" fmla="*/ 251750 w 1021467"/>
                  <a:gd name="connsiteY5" fmla="*/ 124428 h 445626"/>
                  <a:gd name="connsiteX6" fmla="*/ 257538 w 1021467"/>
                  <a:gd name="connsiteY6" fmla="*/ 124428 h 445626"/>
                  <a:gd name="connsiteX7" fmla="*/ 280687 w 1021467"/>
                  <a:gd name="connsiteY7" fmla="*/ 124428 h 445626"/>
                  <a:gd name="connsiteX8" fmla="*/ 280687 w 1021467"/>
                  <a:gd name="connsiteY8" fmla="*/ 170727 h 445626"/>
                  <a:gd name="connsiteX9" fmla="*/ 344348 w 1021467"/>
                  <a:gd name="connsiteY9" fmla="*/ 170727 h 445626"/>
                  <a:gd name="connsiteX10" fmla="*/ 425371 w 1021467"/>
                  <a:gd name="connsiteY10" fmla="*/ 170727 h 445626"/>
                  <a:gd name="connsiteX11" fmla="*/ 425371 w 1021467"/>
                  <a:gd name="connsiteY11" fmla="*/ 193876 h 445626"/>
                  <a:gd name="connsiteX12" fmla="*/ 442733 w 1021467"/>
                  <a:gd name="connsiteY12" fmla="*/ 193876 h 445626"/>
                  <a:gd name="connsiteX13" fmla="*/ 442733 w 1021467"/>
                  <a:gd name="connsiteY13" fmla="*/ 219919 h 445626"/>
                  <a:gd name="connsiteX14" fmla="*/ 491925 w 1021467"/>
                  <a:gd name="connsiteY14" fmla="*/ 219919 h 445626"/>
                  <a:gd name="connsiteX15" fmla="*/ 491925 w 1021467"/>
                  <a:gd name="connsiteY15" fmla="*/ 260431 h 445626"/>
                  <a:gd name="connsiteX16" fmla="*/ 529543 w 1021467"/>
                  <a:gd name="connsiteY16" fmla="*/ 260431 h 445626"/>
                  <a:gd name="connsiteX17" fmla="*/ 529543 w 1021467"/>
                  <a:gd name="connsiteY17" fmla="*/ 292261 h 445626"/>
                  <a:gd name="connsiteX18" fmla="*/ 564267 w 1021467"/>
                  <a:gd name="connsiteY18" fmla="*/ 292261 h 445626"/>
                  <a:gd name="connsiteX19" fmla="*/ 564267 w 1021467"/>
                  <a:gd name="connsiteY19" fmla="*/ 321198 h 445626"/>
                  <a:gd name="connsiteX20" fmla="*/ 607672 w 1021467"/>
                  <a:gd name="connsiteY20" fmla="*/ 321198 h 445626"/>
                  <a:gd name="connsiteX21" fmla="*/ 607672 w 1021467"/>
                  <a:gd name="connsiteY21" fmla="*/ 350135 h 445626"/>
                  <a:gd name="connsiteX22" fmla="*/ 732100 w 1021467"/>
                  <a:gd name="connsiteY22" fmla="*/ 350135 h 445626"/>
                  <a:gd name="connsiteX23" fmla="*/ 732100 w 1021467"/>
                  <a:gd name="connsiteY23" fmla="*/ 367497 h 445626"/>
                  <a:gd name="connsiteX24" fmla="*/ 853634 w 1021467"/>
                  <a:gd name="connsiteY24" fmla="*/ 367497 h 445626"/>
                  <a:gd name="connsiteX25" fmla="*/ 853634 w 1021467"/>
                  <a:gd name="connsiteY25" fmla="*/ 381965 h 445626"/>
                  <a:gd name="connsiteX26" fmla="*/ 943338 w 1021467"/>
                  <a:gd name="connsiteY26" fmla="*/ 381965 h 445626"/>
                  <a:gd name="connsiteX27" fmla="*/ 943338 w 1021467"/>
                  <a:gd name="connsiteY27" fmla="*/ 413795 h 445626"/>
                  <a:gd name="connsiteX28" fmla="*/ 1021467 w 1021467"/>
                  <a:gd name="connsiteY28" fmla="*/ 413795 h 445626"/>
                  <a:gd name="connsiteX29" fmla="*/ 1021467 w 1021467"/>
                  <a:gd name="connsiteY29" fmla="*/ 445626 h 445626"/>
                  <a:gd name="connsiteX0" fmla="*/ 1 w 1021467"/>
                  <a:gd name="connsiteY0" fmla="*/ 0 h 413795"/>
                  <a:gd name="connsiteX1" fmla="*/ 1 w 1021467"/>
                  <a:gd name="connsiteY1" fmla="*/ 52087 h 413795"/>
                  <a:gd name="connsiteX2" fmla="*/ 0 w 1021467"/>
                  <a:gd name="connsiteY2" fmla="*/ 101279 h 413795"/>
                  <a:gd name="connsiteX3" fmla="*/ 124429 w 1021467"/>
                  <a:gd name="connsiteY3" fmla="*/ 98385 h 413795"/>
                  <a:gd name="connsiteX4" fmla="*/ 124429 w 1021467"/>
                  <a:gd name="connsiteY4" fmla="*/ 124428 h 413795"/>
                  <a:gd name="connsiteX5" fmla="*/ 251750 w 1021467"/>
                  <a:gd name="connsiteY5" fmla="*/ 124428 h 413795"/>
                  <a:gd name="connsiteX6" fmla="*/ 257538 w 1021467"/>
                  <a:gd name="connsiteY6" fmla="*/ 124428 h 413795"/>
                  <a:gd name="connsiteX7" fmla="*/ 280687 w 1021467"/>
                  <a:gd name="connsiteY7" fmla="*/ 124428 h 413795"/>
                  <a:gd name="connsiteX8" fmla="*/ 280687 w 1021467"/>
                  <a:gd name="connsiteY8" fmla="*/ 170727 h 413795"/>
                  <a:gd name="connsiteX9" fmla="*/ 344348 w 1021467"/>
                  <a:gd name="connsiteY9" fmla="*/ 170727 h 413795"/>
                  <a:gd name="connsiteX10" fmla="*/ 425371 w 1021467"/>
                  <a:gd name="connsiteY10" fmla="*/ 170727 h 413795"/>
                  <a:gd name="connsiteX11" fmla="*/ 425371 w 1021467"/>
                  <a:gd name="connsiteY11" fmla="*/ 193876 h 413795"/>
                  <a:gd name="connsiteX12" fmla="*/ 442733 w 1021467"/>
                  <a:gd name="connsiteY12" fmla="*/ 193876 h 413795"/>
                  <a:gd name="connsiteX13" fmla="*/ 442733 w 1021467"/>
                  <a:gd name="connsiteY13" fmla="*/ 219919 h 413795"/>
                  <a:gd name="connsiteX14" fmla="*/ 491925 w 1021467"/>
                  <a:gd name="connsiteY14" fmla="*/ 219919 h 413795"/>
                  <a:gd name="connsiteX15" fmla="*/ 491925 w 1021467"/>
                  <a:gd name="connsiteY15" fmla="*/ 260431 h 413795"/>
                  <a:gd name="connsiteX16" fmla="*/ 529543 w 1021467"/>
                  <a:gd name="connsiteY16" fmla="*/ 260431 h 413795"/>
                  <a:gd name="connsiteX17" fmla="*/ 529543 w 1021467"/>
                  <a:gd name="connsiteY17" fmla="*/ 292261 h 413795"/>
                  <a:gd name="connsiteX18" fmla="*/ 564267 w 1021467"/>
                  <a:gd name="connsiteY18" fmla="*/ 292261 h 413795"/>
                  <a:gd name="connsiteX19" fmla="*/ 564267 w 1021467"/>
                  <a:gd name="connsiteY19" fmla="*/ 321198 h 413795"/>
                  <a:gd name="connsiteX20" fmla="*/ 607672 w 1021467"/>
                  <a:gd name="connsiteY20" fmla="*/ 321198 h 413795"/>
                  <a:gd name="connsiteX21" fmla="*/ 607672 w 1021467"/>
                  <a:gd name="connsiteY21" fmla="*/ 350135 h 413795"/>
                  <a:gd name="connsiteX22" fmla="*/ 732100 w 1021467"/>
                  <a:gd name="connsiteY22" fmla="*/ 350135 h 413795"/>
                  <a:gd name="connsiteX23" fmla="*/ 732100 w 1021467"/>
                  <a:gd name="connsiteY23" fmla="*/ 367497 h 413795"/>
                  <a:gd name="connsiteX24" fmla="*/ 853634 w 1021467"/>
                  <a:gd name="connsiteY24" fmla="*/ 367497 h 413795"/>
                  <a:gd name="connsiteX25" fmla="*/ 853634 w 1021467"/>
                  <a:gd name="connsiteY25" fmla="*/ 381965 h 413795"/>
                  <a:gd name="connsiteX26" fmla="*/ 943338 w 1021467"/>
                  <a:gd name="connsiteY26" fmla="*/ 381965 h 413795"/>
                  <a:gd name="connsiteX27" fmla="*/ 943338 w 1021467"/>
                  <a:gd name="connsiteY27" fmla="*/ 413795 h 413795"/>
                  <a:gd name="connsiteX28" fmla="*/ 1021467 w 1021467"/>
                  <a:gd name="connsiteY28" fmla="*/ 413795 h 413795"/>
                  <a:gd name="connsiteX0" fmla="*/ 1 w 1073553"/>
                  <a:gd name="connsiteY0" fmla="*/ 0 h 416689"/>
                  <a:gd name="connsiteX1" fmla="*/ 1 w 1073553"/>
                  <a:gd name="connsiteY1" fmla="*/ 52087 h 416689"/>
                  <a:gd name="connsiteX2" fmla="*/ 0 w 1073553"/>
                  <a:gd name="connsiteY2" fmla="*/ 101279 h 416689"/>
                  <a:gd name="connsiteX3" fmla="*/ 124429 w 1073553"/>
                  <a:gd name="connsiteY3" fmla="*/ 98385 h 416689"/>
                  <a:gd name="connsiteX4" fmla="*/ 124429 w 1073553"/>
                  <a:gd name="connsiteY4" fmla="*/ 124428 h 416689"/>
                  <a:gd name="connsiteX5" fmla="*/ 251750 w 1073553"/>
                  <a:gd name="connsiteY5" fmla="*/ 124428 h 416689"/>
                  <a:gd name="connsiteX6" fmla="*/ 257538 w 1073553"/>
                  <a:gd name="connsiteY6" fmla="*/ 124428 h 416689"/>
                  <a:gd name="connsiteX7" fmla="*/ 280687 w 1073553"/>
                  <a:gd name="connsiteY7" fmla="*/ 124428 h 416689"/>
                  <a:gd name="connsiteX8" fmla="*/ 280687 w 1073553"/>
                  <a:gd name="connsiteY8" fmla="*/ 170727 h 416689"/>
                  <a:gd name="connsiteX9" fmla="*/ 344348 w 1073553"/>
                  <a:gd name="connsiteY9" fmla="*/ 170727 h 416689"/>
                  <a:gd name="connsiteX10" fmla="*/ 425371 w 1073553"/>
                  <a:gd name="connsiteY10" fmla="*/ 170727 h 416689"/>
                  <a:gd name="connsiteX11" fmla="*/ 425371 w 1073553"/>
                  <a:gd name="connsiteY11" fmla="*/ 193876 h 416689"/>
                  <a:gd name="connsiteX12" fmla="*/ 442733 w 1073553"/>
                  <a:gd name="connsiteY12" fmla="*/ 193876 h 416689"/>
                  <a:gd name="connsiteX13" fmla="*/ 442733 w 1073553"/>
                  <a:gd name="connsiteY13" fmla="*/ 219919 h 416689"/>
                  <a:gd name="connsiteX14" fmla="*/ 491925 w 1073553"/>
                  <a:gd name="connsiteY14" fmla="*/ 219919 h 416689"/>
                  <a:gd name="connsiteX15" fmla="*/ 491925 w 1073553"/>
                  <a:gd name="connsiteY15" fmla="*/ 260431 h 416689"/>
                  <a:gd name="connsiteX16" fmla="*/ 529543 w 1073553"/>
                  <a:gd name="connsiteY16" fmla="*/ 260431 h 416689"/>
                  <a:gd name="connsiteX17" fmla="*/ 529543 w 1073553"/>
                  <a:gd name="connsiteY17" fmla="*/ 292261 h 416689"/>
                  <a:gd name="connsiteX18" fmla="*/ 564267 w 1073553"/>
                  <a:gd name="connsiteY18" fmla="*/ 292261 h 416689"/>
                  <a:gd name="connsiteX19" fmla="*/ 564267 w 1073553"/>
                  <a:gd name="connsiteY19" fmla="*/ 321198 h 416689"/>
                  <a:gd name="connsiteX20" fmla="*/ 607672 w 1073553"/>
                  <a:gd name="connsiteY20" fmla="*/ 321198 h 416689"/>
                  <a:gd name="connsiteX21" fmla="*/ 607672 w 1073553"/>
                  <a:gd name="connsiteY21" fmla="*/ 350135 h 416689"/>
                  <a:gd name="connsiteX22" fmla="*/ 732100 w 1073553"/>
                  <a:gd name="connsiteY22" fmla="*/ 350135 h 416689"/>
                  <a:gd name="connsiteX23" fmla="*/ 732100 w 1073553"/>
                  <a:gd name="connsiteY23" fmla="*/ 367497 h 416689"/>
                  <a:gd name="connsiteX24" fmla="*/ 853634 w 1073553"/>
                  <a:gd name="connsiteY24" fmla="*/ 367497 h 416689"/>
                  <a:gd name="connsiteX25" fmla="*/ 853634 w 1073553"/>
                  <a:gd name="connsiteY25" fmla="*/ 381965 h 416689"/>
                  <a:gd name="connsiteX26" fmla="*/ 943338 w 1073553"/>
                  <a:gd name="connsiteY26" fmla="*/ 381965 h 416689"/>
                  <a:gd name="connsiteX27" fmla="*/ 943338 w 1073553"/>
                  <a:gd name="connsiteY27" fmla="*/ 413795 h 416689"/>
                  <a:gd name="connsiteX28" fmla="*/ 1073553 w 1073553"/>
                  <a:gd name="connsiteY28" fmla="*/ 416689 h 416689"/>
                  <a:gd name="connsiteX0" fmla="*/ 1 w 1073553"/>
                  <a:gd name="connsiteY0" fmla="*/ 0 h 416689"/>
                  <a:gd name="connsiteX1" fmla="*/ 1 w 1073553"/>
                  <a:gd name="connsiteY1" fmla="*/ 52087 h 416689"/>
                  <a:gd name="connsiteX2" fmla="*/ 0 w 1073553"/>
                  <a:gd name="connsiteY2" fmla="*/ 101279 h 416689"/>
                  <a:gd name="connsiteX3" fmla="*/ 124429 w 1073553"/>
                  <a:gd name="connsiteY3" fmla="*/ 98385 h 416689"/>
                  <a:gd name="connsiteX4" fmla="*/ 124429 w 1073553"/>
                  <a:gd name="connsiteY4" fmla="*/ 124428 h 416689"/>
                  <a:gd name="connsiteX5" fmla="*/ 251750 w 1073553"/>
                  <a:gd name="connsiteY5" fmla="*/ 124428 h 416689"/>
                  <a:gd name="connsiteX6" fmla="*/ 257538 w 1073553"/>
                  <a:gd name="connsiteY6" fmla="*/ 124428 h 416689"/>
                  <a:gd name="connsiteX7" fmla="*/ 280687 w 1073553"/>
                  <a:gd name="connsiteY7" fmla="*/ 124428 h 416689"/>
                  <a:gd name="connsiteX8" fmla="*/ 280687 w 1073553"/>
                  <a:gd name="connsiteY8" fmla="*/ 170727 h 416689"/>
                  <a:gd name="connsiteX9" fmla="*/ 344348 w 1073553"/>
                  <a:gd name="connsiteY9" fmla="*/ 170727 h 416689"/>
                  <a:gd name="connsiteX10" fmla="*/ 425371 w 1073553"/>
                  <a:gd name="connsiteY10" fmla="*/ 170727 h 416689"/>
                  <a:gd name="connsiteX11" fmla="*/ 425371 w 1073553"/>
                  <a:gd name="connsiteY11" fmla="*/ 193876 h 416689"/>
                  <a:gd name="connsiteX12" fmla="*/ 442733 w 1073553"/>
                  <a:gd name="connsiteY12" fmla="*/ 193876 h 416689"/>
                  <a:gd name="connsiteX13" fmla="*/ 442733 w 1073553"/>
                  <a:gd name="connsiteY13" fmla="*/ 219919 h 416689"/>
                  <a:gd name="connsiteX14" fmla="*/ 491925 w 1073553"/>
                  <a:gd name="connsiteY14" fmla="*/ 219919 h 416689"/>
                  <a:gd name="connsiteX15" fmla="*/ 491925 w 1073553"/>
                  <a:gd name="connsiteY15" fmla="*/ 260431 h 416689"/>
                  <a:gd name="connsiteX16" fmla="*/ 529543 w 1073553"/>
                  <a:gd name="connsiteY16" fmla="*/ 260431 h 416689"/>
                  <a:gd name="connsiteX17" fmla="*/ 529543 w 1073553"/>
                  <a:gd name="connsiteY17" fmla="*/ 292261 h 416689"/>
                  <a:gd name="connsiteX18" fmla="*/ 564267 w 1073553"/>
                  <a:gd name="connsiteY18" fmla="*/ 292261 h 416689"/>
                  <a:gd name="connsiteX19" fmla="*/ 564267 w 1073553"/>
                  <a:gd name="connsiteY19" fmla="*/ 321198 h 416689"/>
                  <a:gd name="connsiteX20" fmla="*/ 607672 w 1073553"/>
                  <a:gd name="connsiteY20" fmla="*/ 321198 h 416689"/>
                  <a:gd name="connsiteX21" fmla="*/ 607672 w 1073553"/>
                  <a:gd name="connsiteY21" fmla="*/ 350135 h 416689"/>
                  <a:gd name="connsiteX22" fmla="*/ 732100 w 1073553"/>
                  <a:gd name="connsiteY22" fmla="*/ 350135 h 416689"/>
                  <a:gd name="connsiteX23" fmla="*/ 732100 w 1073553"/>
                  <a:gd name="connsiteY23" fmla="*/ 367497 h 416689"/>
                  <a:gd name="connsiteX24" fmla="*/ 853634 w 1073553"/>
                  <a:gd name="connsiteY24" fmla="*/ 367497 h 416689"/>
                  <a:gd name="connsiteX25" fmla="*/ 853634 w 1073553"/>
                  <a:gd name="connsiteY25" fmla="*/ 381965 h 416689"/>
                  <a:gd name="connsiteX26" fmla="*/ 943338 w 1073553"/>
                  <a:gd name="connsiteY26" fmla="*/ 381965 h 416689"/>
                  <a:gd name="connsiteX27" fmla="*/ 943338 w 1073553"/>
                  <a:gd name="connsiteY27" fmla="*/ 413795 h 416689"/>
                  <a:gd name="connsiteX28" fmla="*/ 1073553 w 1073553"/>
                  <a:gd name="connsiteY28" fmla="*/ 416689 h 416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073553" h="416689">
                    <a:moveTo>
                      <a:pt x="1" y="0"/>
                    </a:moveTo>
                    <a:lnTo>
                      <a:pt x="1" y="52087"/>
                    </a:lnTo>
                    <a:cubicBezTo>
                      <a:pt x="1" y="68484"/>
                      <a:pt x="0" y="84882"/>
                      <a:pt x="0" y="101279"/>
                    </a:cubicBezTo>
                    <a:lnTo>
                      <a:pt x="124429" y="98385"/>
                    </a:lnTo>
                    <a:lnTo>
                      <a:pt x="124429" y="124428"/>
                    </a:lnTo>
                    <a:lnTo>
                      <a:pt x="251750" y="124428"/>
                    </a:lnTo>
                    <a:lnTo>
                      <a:pt x="257538" y="124428"/>
                    </a:lnTo>
                    <a:lnTo>
                      <a:pt x="280687" y="124428"/>
                    </a:lnTo>
                    <a:lnTo>
                      <a:pt x="280687" y="170727"/>
                    </a:lnTo>
                    <a:lnTo>
                      <a:pt x="344348" y="170727"/>
                    </a:lnTo>
                    <a:lnTo>
                      <a:pt x="425371" y="170727"/>
                    </a:lnTo>
                    <a:lnTo>
                      <a:pt x="425371" y="193876"/>
                    </a:lnTo>
                    <a:lnTo>
                      <a:pt x="442733" y="193876"/>
                    </a:lnTo>
                    <a:lnTo>
                      <a:pt x="442733" y="219919"/>
                    </a:lnTo>
                    <a:lnTo>
                      <a:pt x="491925" y="219919"/>
                    </a:lnTo>
                    <a:lnTo>
                      <a:pt x="491925" y="260431"/>
                    </a:lnTo>
                    <a:lnTo>
                      <a:pt x="529543" y="260431"/>
                    </a:lnTo>
                    <a:lnTo>
                      <a:pt x="529543" y="292261"/>
                    </a:lnTo>
                    <a:lnTo>
                      <a:pt x="564267" y="292261"/>
                    </a:lnTo>
                    <a:lnTo>
                      <a:pt x="564267" y="321198"/>
                    </a:lnTo>
                    <a:lnTo>
                      <a:pt x="607672" y="321198"/>
                    </a:lnTo>
                    <a:lnTo>
                      <a:pt x="607672" y="350135"/>
                    </a:lnTo>
                    <a:lnTo>
                      <a:pt x="732100" y="350135"/>
                    </a:lnTo>
                    <a:lnTo>
                      <a:pt x="732100" y="367497"/>
                    </a:lnTo>
                    <a:lnTo>
                      <a:pt x="853634" y="367497"/>
                    </a:lnTo>
                    <a:lnTo>
                      <a:pt x="853634" y="381965"/>
                    </a:lnTo>
                    <a:lnTo>
                      <a:pt x="943338" y="381965"/>
                    </a:lnTo>
                    <a:lnTo>
                      <a:pt x="943338" y="413795"/>
                    </a:lnTo>
                    <a:lnTo>
                      <a:pt x="1073553" y="416689"/>
                    </a:lnTo>
                  </a:path>
                </a:pathLst>
              </a:custGeom>
              <a:noFill/>
              <a:ln w="38100">
                <a:solidFill>
                  <a:srgbClr val="BDBD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0" name="Freeform: Shape 83">
                <a:extLst>
                  <a:ext uri="{FF2B5EF4-FFF2-40B4-BE49-F238E27FC236}">
                    <a16:creationId xmlns:a16="http://schemas.microsoft.com/office/drawing/2014/main" id="{526FBDE0-559F-4BB3-BBF1-1F9753BDE4BD}"/>
                  </a:ext>
                </a:extLst>
              </p:cNvPr>
              <p:cNvSpPr/>
              <p:nvPr/>
            </p:nvSpPr>
            <p:spPr>
              <a:xfrm>
                <a:off x="4568418" y="934656"/>
                <a:ext cx="836271" cy="263324"/>
              </a:xfrm>
              <a:custGeom>
                <a:avLst/>
                <a:gdLst>
                  <a:gd name="connsiteX0" fmla="*/ 0 w 850739"/>
                  <a:gd name="connsiteY0" fmla="*/ 0 h 277792"/>
                  <a:gd name="connsiteX1" fmla="*/ 89704 w 850739"/>
                  <a:gd name="connsiteY1" fmla="*/ 0 h 277792"/>
                  <a:gd name="connsiteX2" fmla="*/ 89704 w 850739"/>
                  <a:gd name="connsiteY2" fmla="*/ 26043 h 277792"/>
                  <a:gd name="connsiteX3" fmla="*/ 170727 w 850739"/>
                  <a:gd name="connsiteY3" fmla="*/ 26043 h 277792"/>
                  <a:gd name="connsiteX4" fmla="*/ 170727 w 850739"/>
                  <a:gd name="connsiteY4" fmla="*/ 75236 h 277792"/>
                  <a:gd name="connsiteX5" fmla="*/ 199663 w 850739"/>
                  <a:gd name="connsiteY5" fmla="*/ 75236 h 277792"/>
                  <a:gd name="connsiteX6" fmla="*/ 199663 w 850739"/>
                  <a:gd name="connsiteY6" fmla="*/ 83917 h 277792"/>
                  <a:gd name="connsiteX7" fmla="*/ 283580 w 850739"/>
                  <a:gd name="connsiteY7" fmla="*/ 83917 h 277792"/>
                  <a:gd name="connsiteX8" fmla="*/ 283580 w 850739"/>
                  <a:gd name="connsiteY8" fmla="*/ 109960 h 277792"/>
                  <a:gd name="connsiteX9" fmla="*/ 321197 w 850739"/>
                  <a:gd name="connsiteY9" fmla="*/ 109960 h 277792"/>
                  <a:gd name="connsiteX10" fmla="*/ 321197 w 850739"/>
                  <a:gd name="connsiteY10" fmla="*/ 130215 h 277792"/>
                  <a:gd name="connsiteX11" fmla="*/ 428263 w 850739"/>
                  <a:gd name="connsiteY11" fmla="*/ 130215 h 277792"/>
                  <a:gd name="connsiteX12" fmla="*/ 428263 w 850739"/>
                  <a:gd name="connsiteY12" fmla="*/ 153365 h 277792"/>
                  <a:gd name="connsiteX13" fmla="*/ 489030 w 850739"/>
                  <a:gd name="connsiteY13" fmla="*/ 153365 h 277792"/>
                  <a:gd name="connsiteX14" fmla="*/ 489030 w 850739"/>
                  <a:gd name="connsiteY14" fmla="*/ 176514 h 277792"/>
                  <a:gd name="connsiteX15" fmla="*/ 546904 w 850739"/>
                  <a:gd name="connsiteY15" fmla="*/ 176514 h 277792"/>
                  <a:gd name="connsiteX16" fmla="*/ 546904 w 850739"/>
                  <a:gd name="connsiteY16" fmla="*/ 205451 h 277792"/>
                  <a:gd name="connsiteX17" fmla="*/ 584521 w 850739"/>
                  <a:gd name="connsiteY17" fmla="*/ 205451 h 277792"/>
                  <a:gd name="connsiteX18" fmla="*/ 596096 w 850739"/>
                  <a:gd name="connsiteY18" fmla="*/ 217026 h 277792"/>
                  <a:gd name="connsiteX19" fmla="*/ 763929 w 850739"/>
                  <a:gd name="connsiteY19" fmla="*/ 217026 h 277792"/>
                  <a:gd name="connsiteX20" fmla="*/ 763929 w 850739"/>
                  <a:gd name="connsiteY20" fmla="*/ 263324 h 277792"/>
                  <a:gd name="connsiteX21" fmla="*/ 836271 w 850739"/>
                  <a:gd name="connsiteY21" fmla="*/ 263324 h 277792"/>
                  <a:gd name="connsiteX22" fmla="*/ 850739 w 850739"/>
                  <a:gd name="connsiteY22" fmla="*/ 277792 h 277792"/>
                  <a:gd name="connsiteX0" fmla="*/ 0 w 836271"/>
                  <a:gd name="connsiteY0" fmla="*/ 0 h 263324"/>
                  <a:gd name="connsiteX1" fmla="*/ 89704 w 836271"/>
                  <a:gd name="connsiteY1" fmla="*/ 0 h 263324"/>
                  <a:gd name="connsiteX2" fmla="*/ 89704 w 836271"/>
                  <a:gd name="connsiteY2" fmla="*/ 26043 h 263324"/>
                  <a:gd name="connsiteX3" fmla="*/ 170727 w 836271"/>
                  <a:gd name="connsiteY3" fmla="*/ 26043 h 263324"/>
                  <a:gd name="connsiteX4" fmla="*/ 170727 w 836271"/>
                  <a:gd name="connsiteY4" fmla="*/ 75236 h 263324"/>
                  <a:gd name="connsiteX5" fmla="*/ 199663 w 836271"/>
                  <a:gd name="connsiteY5" fmla="*/ 75236 h 263324"/>
                  <a:gd name="connsiteX6" fmla="*/ 199663 w 836271"/>
                  <a:gd name="connsiteY6" fmla="*/ 83917 h 263324"/>
                  <a:gd name="connsiteX7" fmla="*/ 283580 w 836271"/>
                  <a:gd name="connsiteY7" fmla="*/ 83917 h 263324"/>
                  <a:gd name="connsiteX8" fmla="*/ 283580 w 836271"/>
                  <a:gd name="connsiteY8" fmla="*/ 109960 h 263324"/>
                  <a:gd name="connsiteX9" fmla="*/ 321197 w 836271"/>
                  <a:gd name="connsiteY9" fmla="*/ 109960 h 263324"/>
                  <a:gd name="connsiteX10" fmla="*/ 321197 w 836271"/>
                  <a:gd name="connsiteY10" fmla="*/ 130215 h 263324"/>
                  <a:gd name="connsiteX11" fmla="*/ 428263 w 836271"/>
                  <a:gd name="connsiteY11" fmla="*/ 130215 h 263324"/>
                  <a:gd name="connsiteX12" fmla="*/ 428263 w 836271"/>
                  <a:gd name="connsiteY12" fmla="*/ 153365 h 263324"/>
                  <a:gd name="connsiteX13" fmla="*/ 489030 w 836271"/>
                  <a:gd name="connsiteY13" fmla="*/ 153365 h 263324"/>
                  <a:gd name="connsiteX14" fmla="*/ 489030 w 836271"/>
                  <a:gd name="connsiteY14" fmla="*/ 176514 h 263324"/>
                  <a:gd name="connsiteX15" fmla="*/ 546904 w 836271"/>
                  <a:gd name="connsiteY15" fmla="*/ 176514 h 263324"/>
                  <a:gd name="connsiteX16" fmla="*/ 546904 w 836271"/>
                  <a:gd name="connsiteY16" fmla="*/ 205451 h 263324"/>
                  <a:gd name="connsiteX17" fmla="*/ 584521 w 836271"/>
                  <a:gd name="connsiteY17" fmla="*/ 205451 h 263324"/>
                  <a:gd name="connsiteX18" fmla="*/ 596096 w 836271"/>
                  <a:gd name="connsiteY18" fmla="*/ 217026 h 263324"/>
                  <a:gd name="connsiteX19" fmla="*/ 763929 w 836271"/>
                  <a:gd name="connsiteY19" fmla="*/ 217026 h 263324"/>
                  <a:gd name="connsiteX20" fmla="*/ 763929 w 836271"/>
                  <a:gd name="connsiteY20" fmla="*/ 263324 h 263324"/>
                  <a:gd name="connsiteX21" fmla="*/ 836271 w 836271"/>
                  <a:gd name="connsiteY21" fmla="*/ 263324 h 263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836271" h="263324">
                    <a:moveTo>
                      <a:pt x="0" y="0"/>
                    </a:moveTo>
                    <a:lnTo>
                      <a:pt x="89704" y="0"/>
                    </a:lnTo>
                    <a:lnTo>
                      <a:pt x="89704" y="26043"/>
                    </a:lnTo>
                    <a:lnTo>
                      <a:pt x="170727" y="26043"/>
                    </a:lnTo>
                    <a:lnTo>
                      <a:pt x="170727" y="75236"/>
                    </a:lnTo>
                    <a:lnTo>
                      <a:pt x="199663" y="75236"/>
                    </a:lnTo>
                    <a:lnTo>
                      <a:pt x="199663" y="83917"/>
                    </a:lnTo>
                    <a:lnTo>
                      <a:pt x="283580" y="83917"/>
                    </a:lnTo>
                    <a:lnTo>
                      <a:pt x="283580" y="109960"/>
                    </a:lnTo>
                    <a:lnTo>
                      <a:pt x="321197" y="109960"/>
                    </a:lnTo>
                    <a:lnTo>
                      <a:pt x="321197" y="130215"/>
                    </a:lnTo>
                    <a:lnTo>
                      <a:pt x="428263" y="130215"/>
                    </a:lnTo>
                    <a:lnTo>
                      <a:pt x="428263" y="153365"/>
                    </a:lnTo>
                    <a:lnTo>
                      <a:pt x="489030" y="153365"/>
                    </a:lnTo>
                    <a:lnTo>
                      <a:pt x="489030" y="176514"/>
                    </a:lnTo>
                    <a:lnTo>
                      <a:pt x="546904" y="176514"/>
                    </a:lnTo>
                    <a:lnTo>
                      <a:pt x="546904" y="205451"/>
                    </a:lnTo>
                    <a:lnTo>
                      <a:pt x="584521" y="205451"/>
                    </a:lnTo>
                    <a:lnTo>
                      <a:pt x="596096" y="217026"/>
                    </a:lnTo>
                    <a:lnTo>
                      <a:pt x="763929" y="217026"/>
                    </a:lnTo>
                    <a:lnTo>
                      <a:pt x="763929" y="263324"/>
                    </a:lnTo>
                    <a:lnTo>
                      <a:pt x="836271" y="263324"/>
                    </a:lnTo>
                  </a:path>
                </a:pathLst>
              </a:custGeom>
              <a:noFill/>
              <a:ln w="38100">
                <a:solidFill>
                  <a:srgbClr val="BDBD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1" name="Freeform: Shape 84">
                <a:extLst>
                  <a:ext uri="{FF2B5EF4-FFF2-40B4-BE49-F238E27FC236}">
                    <a16:creationId xmlns:a16="http://schemas.microsoft.com/office/drawing/2014/main" id="{3DC17439-3641-4EBF-AD76-2667463E2F37}"/>
                  </a:ext>
                </a:extLst>
              </p:cNvPr>
              <p:cNvSpPr/>
              <p:nvPr/>
            </p:nvSpPr>
            <p:spPr>
              <a:xfrm>
                <a:off x="5384433" y="1197980"/>
                <a:ext cx="1174829" cy="298048"/>
              </a:xfrm>
              <a:custGeom>
                <a:avLst/>
                <a:gdLst>
                  <a:gd name="connsiteX0" fmla="*/ 0 w 1154574"/>
                  <a:gd name="connsiteY0" fmla="*/ 0 h 338559"/>
                  <a:gd name="connsiteX1" fmla="*/ 101278 w 1154574"/>
                  <a:gd name="connsiteY1" fmla="*/ 0 h 338559"/>
                  <a:gd name="connsiteX2" fmla="*/ 101278 w 1154574"/>
                  <a:gd name="connsiteY2" fmla="*/ 66554 h 338559"/>
                  <a:gd name="connsiteX3" fmla="*/ 214131 w 1154574"/>
                  <a:gd name="connsiteY3" fmla="*/ 66554 h 338559"/>
                  <a:gd name="connsiteX4" fmla="*/ 214131 w 1154574"/>
                  <a:gd name="connsiteY4" fmla="*/ 101278 h 338559"/>
                  <a:gd name="connsiteX5" fmla="*/ 286473 w 1154574"/>
                  <a:gd name="connsiteY5" fmla="*/ 101278 h 338559"/>
                  <a:gd name="connsiteX6" fmla="*/ 286473 w 1154574"/>
                  <a:gd name="connsiteY6" fmla="*/ 133109 h 338559"/>
                  <a:gd name="connsiteX7" fmla="*/ 355921 w 1154574"/>
                  <a:gd name="connsiteY7" fmla="*/ 133109 h 338559"/>
                  <a:gd name="connsiteX8" fmla="*/ 364602 w 1154574"/>
                  <a:gd name="connsiteY8" fmla="*/ 141790 h 338559"/>
                  <a:gd name="connsiteX9" fmla="*/ 387751 w 1154574"/>
                  <a:gd name="connsiteY9" fmla="*/ 141790 h 338559"/>
                  <a:gd name="connsiteX10" fmla="*/ 387751 w 1154574"/>
                  <a:gd name="connsiteY10" fmla="*/ 167833 h 338559"/>
                  <a:gd name="connsiteX11" fmla="*/ 457200 w 1154574"/>
                  <a:gd name="connsiteY11" fmla="*/ 167833 h 338559"/>
                  <a:gd name="connsiteX12" fmla="*/ 457200 w 1154574"/>
                  <a:gd name="connsiteY12" fmla="*/ 193876 h 338559"/>
                  <a:gd name="connsiteX13" fmla="*/ 500605 w 1154574"/>
                  <a:gd name="connsiteY13" fmla="*/ 193876 h 338559"/>
                  <a:gd name="connsiteX14" fmla="*/ 500605 w 1154574"/>
                  <a:gd name="connsiteY14" fmla="*/ 217025 h 338559"/>
                  <a:gd name="connsiteX15" fmla="*/ 544010 w 1154574"/>
                  <a:gd name="connsiteY15" fmla="*/ 217025 h 338559"/>
                  <a:gd name="connsiteX16" fmla="*/ 544010 w 1154574"/>
                  <a:gd name="connsiteY16" fmla="*/ 243068 h 338559"/>
                  <a:gd name="connsiteX17" fmla="*/ 633713 w 1154574"/>
                  <a:gd name="connsiteY17" fmla="*/ 243068 h 338559"/>
                  <a:gd name="connsiteX18" fmla="*/ 633713 w 1154574"/>
                  <a:gd name="connsiteY18" fmla="*/ 272005 h 338559"/>
                  <a:gd name="connsiteX19" fmla="*/ 674225 w 1154574"/>
                  <a:gd name="connsiteY19" fmla="*/ 272005 h 338559"/>
                  <a:gd name="connsiteX20" fmla="*/ 674225 w 1154574"/>
                  <a:gd name="connsiteY20" fmla="*/ 298048 h 338559"/>
                  <a:gd name="connsiteX21" fmla="*/ 778397 w 1154574"/>
                  <a:gd name="connsiteY21" fmla="*/ 298048 h 338559"/>
                  <a:gd name="connsiteX22" fmla="*/ 778397 w 1154574"/>
                  <a:gd name="connsiteY22" fmla="*/ 321197 h 338559"/>
                  <a:gd name="connsiteX23" fmla="*/ 827589 w 1154574"/>
                  <a:gd name="connsiteY23" fmla="*/ 321197 h 338559"/>
                  <a:gd name="connsiteX24" fmla="*/ 844951 w 1154574"/>
                  <a:gd name="connsiteY24" fmla="*/ 338559 h 338559"/>
                  <a:gd name="connsiteX25" fmla="*/ 1154574 w 1154574"/>
                  <a:gd name="connsiteY25" fmla="*/ 338559 h 338559"/>
                  <a:gd name="connsiteX0" fmla="*/ 0 w 1154574"/>
                  <a:gd name="connsiteY0" fmla="*/ 0 h 338559"/>
                  <a:gd name="connsiteX1" fmla="*/ 101278 w 1154574"/>
                  <a:gd name="connsiteY1" fmla="*/ 0 h 338559"/>
                  <a:gd name="connsiteX2" fmla="*/ 101278 w 1154574"/>
                  <a:gd name="connsiteY2" fmla="*/ 66554 h 338559"/>
                  <a:gd name="connsiteX3" fmla="*/ 214131 w 1154574"/>
                  <a:gd name="connsiteY3" fmla="*/ 66554 h 338559"/>
                  <a:gd name="connsiteX4" fmla="*/ 214131 w 1154574"/>
                  <a:gd name="connsiteY4" fmla="*/ 101278 h 338559"/>
                  <a:gd name="connsiteX5" fmla="*/ 286473 w 1154574"/>
                  <a:gd name="connsiteY5" fmla="*/ 101278 h 338559"/>
                  <a:gd name="connsiteX6" fmla="*/ 286473 w 1154574"/>
                  <a:gd name="connsiteY6" fmla="*/ 133109 h 338559"/>
                  <a:gd name="connsiteX7" fmla="*/ 355921 w 1154574"/>
                  <a:gd name="connsiteY7" fmla="*/ 133109 h 338559"/>
                  <a:gd name="connsiteX8" fmla="*/ 358815 w 1154574"/>
                  <a:gd name="connsiteY8" fmla="*/ 141790 h 338559"/>
                  <a:gd name="connsiteX9" fmla="*/ 387751 w 1154574"/>
                  <a:gd name="connsiteY9" fmla="*/ 141790 h 338559"/>
                  <a:gd name="connsiteX10" fmla="*/ 387751 w 1154574"/>
                  <a:gd name="connsiteY10" fmla="*/ 167833 h 338559"/>
                  <a:gd name="connsiteX11" fmla="*/ 457200 w 1154574"/>
                  <a:gd name="connsiteY11" fmla="*/ 167833 h 338559"/>
                  <a:gd name="connsiteX12" fmla="*/ 457200 w 1154574"/>
                  <a:gd name="connsiteY12" fmla="*/ 193876 h 338559"/>
                  <a:gd name="connsiteX13" fmla="*/ 500605 w 1154574"/>
                  <a:gd name="connsiteY13" fmla="*/ 193876 h 338559"/>
                  <a:gd name="connsiteX14" fmla="*/ 500605 w 1154574"/>
                  <a:gd name="connsiteY14" fmla="*/ 217025 h 338559"/>
                  <a:gd name="connsiteX15" fmla="*/ 544010 w 1154574"/>
                  <a:gd name="connsiteY15" fmla="*/ 217025 h 338559"/>
                  <a:gd name="connsiteX16" fmla="*/ 544010 w 1154574"/>
                  <a:gd name="connsiteY16" fmla="*/ 243068 h 338559"/>
                  <a:gd name="connsiteX17" fmla="*/ 633713 w 1154574"/>
                  <a:gd name="connsiteY17" fmla="*/ 243068 h 338559"/>
                  <a:gd name="connsiteX18" fmla="*/ 633713 w 1154574"/>
                  <a:gd name="connsiteY18" fmla="*/ 272005 h 338559"/>
                  <a:gd name="connsiteX19" fmla="*/ 674225 w 1154574"/>
                  <a:gd name="connsiteY19" fmla="*/ 272005 h 338559"/>
                  <a:gd name="connsiteX20" fmla="*/ 674225 w 1154574"/>
                  <a:gd name="connsiteY20" fmla="*/ 298048 h 338559"/>
                  <a:gd name="connsiteX21" fmla="*/ 778397 w 1154574"/>
                  <a:gd name="connsiteY21" fmla="*/ 298048 h 338559"/>
                  <a:gd name="connsiteX22" fmla="*/ 778397 w 1154574"/>
                  <a:gd name="connsiteY22" fmla="*/ 321197 h 338559"/>
                  <a:gd name="connsiteX23" fmla="*/ 827589 w 1154574"/>
                  <a:gd name="connsiteY23" fmla="*/ 321197 h 338559"/>
                  <a:gd name="connsiteX24" fmla="*/ 844951 w 1154574"/>
                  <a:gd name="connsiteY24" fmla="*/ 338559 h 338559"/>
                  <a:gd name="connsiteX25" fmla="*/ 1154574 w 1154574"/>
                  <a:gd name="connsiteY25" fmla="*/ 338559 h 338559"/>
                  <a:gd name="connsiteX0" fmla="*/ 0 w 1174829"/>
                  <a:gd name="connsiteY0" fmla="*/ 46298 h 338559"/>
                  <a:gd name="connsiteX1" fmla="*/ 121533 w 1174829"/>
                  <a:gd name="connsiteY1" fmla="*/ 0 h 338559"/>
                  <a:gd name="connsiteX2" fmla="*/ 121533 w 1174829"/>
                  <a:gd name="connsiteY2" fmla="*/ 66554 h 338559"/>
                  <a:gd name="connsiteX3" fmla="*/ 234386 w 1174829"/>
                  <a:gd name="connsiteY3" fmla="*/ 66554 h 338559"/>
                  <a:gd name="connsiteX4" fmla="*/ 234386 w 1174829"/>
                  <a:gd name="connsiteY4" fmla="*/ 101278 h 338559"/>
                  <a:gd name="connsiteX5" fmla="*/ 306728 w 1174829"/>
                  <a:gd name="connsiteY5" fmla="*/ 101278 h 338559"/>
                  <a:gd name="connsiteX6" fmla="*/ 306728 w 1174829"/>
                  <a:gd name="connsiteY6" fmla="*/ 133109 h 338559"/>
                  <a:gd name="connsiteX7" fmla="*/ 376176 w 1174829"/>
                  <a:gd name="connsiteY7" fmla="*/ 133109 h 338559"/>
                  <a:gd name="connsiteX8" fmla="*/ 379070 w 1174829"/>
                  <a:gd name="connsiteY8" fmla="*/ 141790 h 338559"/>
                  <a:gd name="connsiteX9" fmla="*/ 408006 w 1174829"/>
                  <a:gd name="connsiteY9" fmla="*/ 141790 h 338559"/>
                  <a:gd name="connsiteX10" fmla="*/ 408006 w 1174829"/>
                  <a:gd name="connsiteY10" fmla="*/ 167833 h 338559"/>
                  <a:gd name="connsiteX11" fmla="*/ 477455 w 1174829"/>
                  <a:gd name="connsiteY11" fmla="*/ 167833 h 338559"/>
                  <a:gd name="connsiteX12" fmla="*/ 477455 w 1174829"/>
                  <a:gd name="connsiteY12" fmla="*/ 193876 h 338559"/>
                  <a:gd name="connsiteX13" fmla="*/ 520860 w 1174829"/>
                  <a:gd name="connsiteY13" fmla="*/ 193876 h 338559"/>
                  <a:gd name="connsiteX14" fmla="*/ 520860 w 1174829"/>
                  <a:gd name="connsiteY14" fmla="*/ 217025 h 338559"/>
                  <a:gd name="connsiteX15" fmla="*/ 564265 w 1174829"/>
                  <a:gd name="connsiteY15" fmla="*/ 217025 h 338559"/>
                  <a:gd name="connsiteX16" fmla="*/ 564265 w 1174829"/>
                  <a:gd name="connsiteY16" fmla="*/ 243068 h 338559"/>
                  <a:gd name="connsiteX17" fmla="*/ 653968 w 1174829"/>
                  <a:gd name="connsiteY17" fmla="*/ 243068 h 338559"/>
                  <a:gd name="connsiteX18" fmla="*/ 653968 w 1174829"/>
                  <a:gd name="connsiteY18" fmla="*/ 272005 h 338559"/>
                  <a:gd name="connsiteX19" fmla="*/ 694480 w 1174829"/>
                  <a:gd name="connsiteY19" fmla="*/ 272005 h 338559"/>
                  <a:gd name="connsiteX20" fmla="*/ 694480 w 1174829"/>
                  <a:gd name="connsiteY20" fmla="*/ 298048 h 338559"/>
                  <a:gd name="connsiteX21" fmla="*/ 798652 w 1174829"/>
                  <a:gd name="connsiteY21" fmla="*/ 298048 h 338559"/>
                  <a:gd name="connsiteX22" fmla="*/ 798652 w 1174829"/>
                  <a:gd name="connsiteY22" fmla="*/ 321197 h 338559"/>
                  <a:gd name="connsiteX23" fmla="*/ 847844 w 1174829"/>
                  <a:gd name="connsiteY23" fmla="*/ 321197 h 338559"/>
                  <a:gd name="connsiteX24" fmla="*/ 865206 w 1174829"/>
                  <a:gd name="connsiteY24" fmla="*/ 338559 h 338559"/>
                  <a:gd name="connsiteX25" fmla="*/ 1174829 w 1174829"/>
                  <a:gd name="connsiteY25" fmla="*/ 338559 h 338559"/>
                  <a:gd name="connsiteX0" fmla="*/ 0 w 1174829"/>
                  <a:gd name="connsiteY0" fmla="*/ 40511 h 338559"/>
                  <a:gd name="connsiteX1" fmla="*/ 121533 w 1174829"/>
                  <a:gd name="connsiteY1" fmla="*/ 0 h 338559"/>
                  <a:gd name="connsiteX2" fmla="*/ 121533 w 1174829"/>
                  <a:gd name="connsiteY2" fmla="*/ 66554 h 338559"/>
                  <a:gd name="connsiteX3" fmla="*/ 234386 w 1174829"/>
                  <a:gd name="connsiteY3" fmla="*/ 66554 h 338559"/>
                  <a:gd name="connsiteX4" fmla="*/ 234386 w 1174829"/>
                  <a:gd name="connsiteY4" fmla="*/ 101278 h 338559"/>
                  <a:gd name="connsiteX5" fmla="*/ 306728 w 1174829"/>
                  <a:gd name="connsiteY5" fmla="*/ 101278 h 338559"/>
                  <a:gd name="connsiteX6" fmla="*/ 306728 w 1174829"/>
                  <a:gd name="connsiteY6" fmla="*/ 133109 h 338559"/>
                  <a:gd name="connsiteX7" fmla="*/ 376176 w 1174829"/>
                  <a:gd name="connsiteY7" fmla="*/ 133109 h 338559"/>
                  <a:gd name="connsiteX8" fmla="*/ 379070 w 1174829"/>
                  <a:gd name="connsiteY8" fmla="*/ 141790 h 338559"/>
                  <a:gd name="connsiteX9" fmla="*/ 408006 w 1174829"/>
                  <a:gd name="connsiteY9" fmla="*/ 141790 h 338559"/>
                  <a:gd name="connsiteX10" fmla="*/ 408006 w 1174829"/>
                  <a:gd name="connsiteY10" fmla="*/ 167833 h 338559"/>
                  <a:gd name="connsiteX11" fmla="*/ 477455 w 1174829"/>
                  <a:gd name="connsiteY11" fmla="*/ 167833 h 338559"/>
                  <a:gd name="connsiteX12" fmla="*/ 477455 w 1174829"/>
                  <a:gd name="connsiteY12" fmla="*/ 193876 h 338559"/>
                  <a:gd name="connsiteX13" fmla="*/ 520860 w 1174829"/>
                  <a:gd name="connsiteY13" fmla="*/ 193876 h 338559"/>
                  <a:gd name="connsiteX14" fmla="*/ 520860 w 1174829"/>
                  <a:gd name="connsiteY14" fmla="*/ 217025 h 338559"/>
                  <a:gd name="connsiteX15" fmla="*/ 564265 w 1174829"/>
                  <a:gd name="connsiteY15" fmla="*/ 217025 h 338559"/>
                  <a:gd name="connsiteX16" fmla="*/ 564265 w 1174829"/>
                  <a:gd name="connsiteY16" fmla="*/ 243068 h 338559"/>
                  <a:gd name="connsiteX17" fmla="*/ 653968 w 1174829"/>
                  <a:gd name="connsiteY17" fmla="*/ 243068 h 338559"/>
                  <a:gd name="connsiteX18" fmla="*/ 653968 w 1174829"/>
                  <a:gd name="connsiteY18" fmla="*/ 272005 h 338559"/>
                  <a:gd name="connsiteX19" fmla="*/ 694480 w 1174829"/>
                  <a:gd name="connsiteY19" fmla="*/ 272005 h 338559"/>
                  <a:gd name="connsiteX20" fmla="*/ 694480 w 1174829"/>
                  <a:gd name="connsiteY20" fmla="*/ 298048 h 338559"/>
                  <a:gd name="connsiteX21" fmla="*/ 798652 w 1174829"/>
                  <a:gd name="connsiteY21" fmla="*/ 298048 h 338559"/>
                  <a:gd name="connsiteX22" fmla="*/ 798652 w 1174829"/>
                  <a:gd name="connsiteY22" fmla="*/ 321197 h 338559"/>
                  <a:gd name="connsiteX23" fmla="*/ 847844 w 1174829"/>
                  <a:gd name="connsiteY23" fmla="*/ 321197 h 338559"/>
                  <a:gd name="connsiteX24" fmla="*/ 865206 w 1174829"/>
                  <a:gd name="connsiteY24" fmla="*/ 338559 h 338559"/>
                  <a:gd name="connsiteX25" fmla="*/ 1174829 w 1174829"/>
                  <a:gd name="connsiteY25" fmla="*/ 338559 h 338559"/>
                  <a:gd name="connsiteX0" fmla="*/ 0 w 1174829"/>
                  <a:gd name="connsiteY0" fmla="*/ 0 h 298048"/>
                  <a:gd name="connsiteX1" fmla="*/ 118639 w 1174829"/>
                  <a:gd name="connsiteY1" fmla="*/ 1 h 298048"/>
                  <a:gd name="connsiteX2" fmla="*/ 121533 w 1174829"/>
                  <a:gd name="connsiteY2" fmla="*/ 26043 h 298048"/>
                  <a:gd name="connsiteX3" fmla="*/ 234386 w 1174829"/>
                  <a:gd name="connsiteY3" fmla="*/ 26043 h 298048"/>
                  <a:gd name="connsiteX4" fmla="*/ 234386 w 1174829"/>
                  <a:gd name="connsiteY4" fmla="*/ 60767 h 298048"/>
                  <a:gd name="connsiteX5" fmla="*/ 306728 w 1174829"/>
                  <a:gd name="connsiteY5" fmla="*/ 60767 h 298048"/>
                  <a:gd name="connsiteX6" fmla="*/ 306728 w 1174829"/>
                  <a:gd name="connsiteY6" fmla="*/ 92598 h 298048"/>
                  <a:gd name="connsiteX7" fmla="*/ 376176 w 1174829"/>
                  <a:gd name="connsiteY7" fmla="*/ 92598 h 298048"/>
                  <a:gd name="connsiteX8" fmla="*/ 379070 w 1174829"/>
                  <a:gd name="connsiteY8" fmla="*/ 101279 h 298048"/>
                  <a:gd name="connsiteX9" fmla="*/ 408006 w 1174829"/>
                  <a:gd name="connsiteY9" fmla="*/ 101279 h 298048"/>
                  <a:gd name="connsiteX10" fmla="*/ 408006 w 1174829"/>
                  <a:gd name="connsiteY10" fmla="*/ 127322 h 298048"/>
                  <a:gd name="connsiteX11" fmla="*/ 477455 w 1174829"/>
                  <a:gd name="connsiteY11" fmla="*/ 127322 h 298048"/>
                  <a:gd name="connsiteX12" fmla="*/ 477455 w 1174829"/>
                  <a:gd name="connsiteY12" fmla="*/ 153365 h 298048"/>
                  <a:gd name="connsiteX13" fmla="*/ 520860 w 1174829"/>
                  <a:gd name="connsiteY13" fmla="*/ 153365 h 298048"/>
                  <a:gd name="connsiteX14" fmla="*/ 520860 w 1174829"/>
                  <a:gd name="connsiteY14" fmla="*/ 176514 h 298048"/>
                  <a:gd name="connsiteX15" fmla="*/ 564265 w 1174829"/>
                  <a:gd name="connsiteY15" fmla="*/ 176514 h 298048"/>
                  <a:gd name="connsiteX16" fmla="*/ 564265 w 1174829"/>
                  <a:gd name="connsiteY16" fmla="*/ 202557 h 298048"/>
                  <a:gd name="connsiteX17" fmla="*/ 653968 w 1174829"/>
                  <a:gd name="connsiteY17" fmla="*/ 202557 h 298048"/>
                  <a:gd name="connsiteX18" fmla="*/ 653968 w 1174829"/>
                  <a:gd name="connsiteY18" fmla="*/ 231494 h 298048"/>
                  <a:gd name="connsiteX19" fmla="*/ 694480 w 1174829"/>
                  <a:gd name="connsiteY19" fmla="*/ 231494 h 298048"/>
                  <a:gd name="connsiteX20" fmla="*/ 694480 w 1174829"/>
                  <a:gd name="connsiteY20" fmla="*/ 257537 h 298048"/>
                  <a:gd name="connsiteX21" fmla="*/ 798652 w 1174829"/>
                  <a:gd name="connsiteY21" fmla="*/ 257537 h 298048"/>
                  <a:gd name="connsiteX22" fmla="*/ 798652 w 1174829"/>
                  <a:gd name="connsiteY22" fmla="*/ 280686 h 298048"/>
                  <a:gd name="connsiteX23" fmla="*/ 847844 w 1174829"/>
                  <a:gd name="connsiteY23" fmla="*/ 280686 h 298048"/>
                  <a:gd name="connsiteX24" fmla="*/ 865206 w 1174829"/>
                  <a:gd name="connsiteY24" fmla="*/ 298048 h 298048"/>
                  <a:gd name="connsiteX25" fmla="*/ 1174829 w 1174829"/>
                  <a:gd name="connsiteY25" fmla="*/ 298048 h 298048"/>
                  <a:gd name="connsiteX0" fmla="*/ 0 w 1174829"/>
                  <a:gd name="connsiteY0" fmla="*/ 0 h 298048"/>
                  <a:gd name="connsiteX1" fmla="*/ 118639 w 1174829"/>
                  <a:gd name="connsiteY1" fmla="*/ 1 h 298048"/>
                  <a:gd name="connsiteX2" fmla="*/ 121533 w 1174829"/>
                  <a:gd name="connsiteY2" fmla="*/ 26043 h 298048"/>
                  <a:gd name="connsiteX3" fmla="*/ 234386 w 1174829"/>
                  <a:gd name="connsiteY3" fmla="*/ 26043 h 298048"/>
                  <a:gd name="connsiteX4" fmla="*/ 234386 w 1174829"/>
                  <a:gd name="connsiteY4" fmla="*/ 60767 h 298048"/>
                  <a:gd name="connsiteX5" fmla="*/ 306728 w 1174829"/>
                  <a:gd name="connsiteY5" fmla="*/ 60767 h 298048"/>
                  <a:gd name="connsiteX6" fmla="*/ 306728 w 1174829"/>
                  <a:gd name="connsiteY6" fmla="*/ 92598 h 298048"/>
                  <a:gd name="connsiteX7" fmla="*/ 376176 w 1174829"/>
                  <a:gd name="connsiteY7" fmla="*/ 92598 h 298048"/>
                  <a:gd name="connsiteX8" fmla="*/ 379070 w 1174829"/>
                  <a:gd name="connsiteY8" fmla="*/ 101279 h 298048"/>
                  <a:gd name="connsiteX9" fmla="*/ 408006 w 1174829"/>
                  <a:gd name="connsiteY9" fmla="*/ 101279 h 298048"/>
                  <a:gd name="connsiteX10" fmla="*/ 408006 w 1174829"/>
                  <a:gd name="connsiteY10" fmla="*/ 127322 h 298048"/>
                  <a:gd name="connsiteX11" fmla="*/ 477455 w 1174829"/>
                  <a:gd name="connsiteY11" fmla="*/ 127322 h 298048"/>
                  <a:gd name="connsiteX12" fmla="*/ 477455 w 1174829"/>
                  <a:gd name="connsiteY12" fmla="*/ 153365 h 298048"/>
                  <a:gd name="connsiteX13" fmla="*/ 520860 w 1174829"/>
                  <a:gd name="connsiteY13" fmla="*/ 153365 h 298048"/>
                  <a:gd name="connsiteX14" fmla="*/ 520860 w 1174829"/>
                  <a:gd name="connsiteY14" fmla="*/ 176514 h 298048"/>
                  <a:gd name="connsiteX15" fmla="*/ 564265 w 1174829"/>
                  <a:gd name="connsiteY15" fmla="*/ 176514 h 298048"/>
                  <a:gd name="connsiteX16" fmla="*/ 564265 w 1174829"/>
                  <a:gd name="connsiteY16" fmla="*/ 202557 h 298048"/>
                  <a:gd name="connsiteX17" fmla="*/ 653968 w 1174829"/>
                  <a:gd name="connsiteY17" fmla="*/ 202557 h 298048"/>
                  <a:gd name="connsiteX18" fmla="*/ 653968 w 1174829"/>
                  <a:gd name="connsiteY18" fmla="*/ 231494 h 298048"/>
                  <a:gd name="connsiteX19" fmla="*/ 694480 w 1174829"/>
                  <a:gd name="connsiteY19" fmla="*/ 231494 h 298048"/>
                  <a:gd name="connsiteX20" fmla="*/ 694480 w 1174829"/>
                  <a:gd name="connsiteY20" fmla="*/ 257537 h 298048"/>
                  <a:gd name="connsiteX21" fmla="*/ 798652 w 1174829"/>
                  <a:gd name="connsiteY21" fmla="*/ 257537 h 298048"/>
                  <a:gd name="connsiteX22" fmla="*/ 798652 w 1174829"/>
                  <a:gd name="connsiteY22" fmla="*/ 280686 h 298048"/>
                  <a:gd name="connsiteX23" fmla="*/ 847844 w 1174829"/>
                  <a:gd name="connsiteY23" fmla="*/ 280686 h 298048"/>
                  <a:gd name="connsiteX24" fmla="*/ 865206 w 1174829"/>
                  <a:gd name="connsiteY24" fmla="*/ 298048 h 298048"/>
                  <a:gd name="connsiteX25" fmla="*/ 1174829 w 1174829"/>
                  <a:gd name="connsiteY25" fmla="*/ 298048 h 298048"/>
                  <a:gd name="connsiteX0" fmla="*/ 0 w 1174829"/>
                  <a:gd name="connsiteY0" fmla="*/ 0 h 298048"/>
                  <a:gd name="connsiteX1" fmla="*/ 118639 w 1174829"/>
                  <a:gd name="connsiteY1" fmla="*/ 1 h 298048"/>
                  <a:gd name="connsiteX2" fmla="*/ 115746 w 1174829"/>
                  <a:gd name="connsiteY2" fmla="*/ 28937 h 298048"/>
                  <a:gd name="connsiteX3" fmla="*/ 234386 w 1174829"/>
                  <a:gd name="connsiteY3" fmla="*/ 26043 h 298048"/>
                  <a:gd name="connsiteX4" fmla="*/ 234386 w 1174829"/>
                  <a:gd name="connsiteY4" fmla="*/ 60767 h 298048"/>
                  <a:gd name="connsiteX5" fmla="*/ 306728 w 1174829"/>
                  <a:gd name="connsiteY5" fmla="*/ 60767 h 298048"/>
                  <a:gd name="connsiteX6" fmla="*/ 306728 w 1174829"/>
                  <a:gd name="connsiteY6" fmla="*/ 92598 h 298048"/>
                  <a:gd name="connsiteX7" fmla="*/ 376176 w 1174829"/>
                  <a:gd name="connsiteY7" fmla="*/ 92598 h 298048"/>
                  <a:gd name="connsiteX8" fmla="*/ 379070 w 1174829"/>
                  <a:gd name="connsiteY8" fmla="*/ 101279 h 298048"/>
                  <a:gd name="connsiteX9" fmla="*/ 408006 w 1174829"/>
                  <a:gd name="connsiteY9" fmla="*/ 101279 h 298048"/>
                  <a:gd name="connsiteX10" fmla="*/ 408006 w 1174829"/>
                  <a:gd name="connsiteY10" fmla="*/ 127322 h 298048"/>
                  <a:gd name="connsiteX11" fmla="*/ 477455 w 1174829"/>
                  <a:gd name="connsiteY11" fmla="*/ 127322 h 298048"/>
                  <a:gd name="connsiteX12" fmla="*/ 477455 w 1174829"/>
                  <a:gd name="connsiteY12" fmla="*/ 153365 h 298048"/>
                  <a:gd name="connsiteX13" fmla="*/ 520860 w 1174829"/>
                  <a:gd name="connsiteY13" fmla="*/ 153365 h 298048"/>
                  <a:gd name="connsiteX14" fmla="*/ 520860 w 1174829"/>
                  <a:gd name="connsiteY14" fmla="*/ 176514 h 298048"/>
                  <a:gd name="connsiteX15" fmla="*/ 564265 w 1174829"/>
                  <a:gd name="connsiteY15" fmla="*/ 176514 h 298048"/>
                  <a:gd name="connsiteX16" fmla="*/ 564265 w 1174829"/>
                  <a:gd name="connsiteY16" fmla="*/ 202557 h 298048"/>
                  <a:gd name="connsiteX17" fmla="*/ 653968 w 1174829"/>
                  <a:gd name="connsiteY17" fmla="*/ 202557 h 298048"/>
                  <a:gd name="connsiteX18" fmla="*/ 653968 w 1174829"/>
                  <a:gd name="connsiteY18" fmla="*/ 231494 h 298048"/>
                  <a:gd name="connsiteX19" fmla="*/ 694480 w 1174829"/>
                  <a:gd name="connsiteY19" fmla="*/ 231494 h 298048"/>
                  <a:gd name="connsiteX20" fmla="*/ 694480 w 1174829"/>
                  <a:gd name="connsiteY20" fmla="*/ 257537 h 298048"/>
                  <a:gd name="connsiteX21" fmla="*/ 798652 w 1174829"/>
                  <a:gd name="connsiteY21" fmla="*/ 257537 h 298048"/>
                  <a:gd name="connsiteX22" fmla="*/ 798652 w 1174829"/>
                  <a:gd name="connsiteY22" fmla="*/ 280686 h 298048"/>
                  <a:gd name="connsiteX23" fmla="*/ 847844 w 1174829"/>
                  <a:gd name="connsiteY23" fmla="*/ 280686 h 298048"/>
                  <a:gd name="connsiteX24" fmla="*/ 865206 w 1174829"/>
                  <a:gd name="connsiteY24" fmla="*/ 298048 h 298048"/>
                  <a:gd name="connsiteX25" fmla="*/ 1174829 w 1174829"/>
                  <a:gd name="connsiteY25" fmla="*/ 298048 h 298048"/>
                  <a:gd name="connsiteX0" fmla="*/ 0 w 1174829"/>
                  <a:gd name="connsiteY0" fmla="*/ 0 h 298048"/>
                  <a:gd name="connsiteX1" fmla="*/ 118639 w 1174829"/>
                  <a:gd name="connsiteY1" fmla="*/ 1 h 298048"/>
                  <a:gd name="connsiteX2" fmla="*/ 124427 w 1174829"/>
                  <a:gd name="connsiteY2" fmla="*/ 28937 h 298048"/>
                  <a:gd name="connsiteX3" fmla="*/ 234386 w 1174829"/>
                  <a:gd name="connsiteY3" fmla="*/ 26043 h 298048"/>
                  <a:gd name="connsiteX4" fmla="*/ 234386 w 1174829"/>
                  <a:gd name="connsiteY4" fmla="*/ 60767 h 298048"/>
                  <a:gd name="connsiteX5" fmla="*/ 306728 w 1174829"/>
                  <a:gd name="connsiteY5" fmla="*/ 60767 h 298048"/>
                  <a:gd name="connsiteX6" fmla="*/ 306728 w 1174829"/>
                  <a:gd name="connsiteY6" fmla="*/ 92598 h 298048"/>
                  <a:gd name="connsiteX7" fmla="*/ 376176 w 1174829"/>
                  <a:gd name="connsiteY7" fmla="*/ 92598 h 298048"/>
                  <a:gd name="connsiteX8" fmla="*/ 379070 w 1174829"/>
                  <a:gd name="connsiteY8" fmla="*/ 101279 h 298048"/>
                  <a:gd name="connsiteX9" fmla="*/ 408006 w 1174829"/>
                  <a:gd name="connsiteY9" fmla="*/ 101279 h 298048"/>
                  <a:gd name="connsiteX10" fmla="*/ 408006 w 1174829"/>
                  <a:gd name="connsiteY10" fmla="*/ 127322 h 298048"/>
                  <a:gd name="connsiteX11" fmla="*/ 477455 w 1174829"/>
                  <a:gd name="connsiteY11" fmla="*/ 127322 h 298048"/>
                  <a:gd name="connsiteX12" fmla="*/ 477455 w 1174829"/>
                  <a:gd name="connsiteY12" fmla="*/ 153365 h 298048"/>
                  <a:gd name="connsiteX13" fmla="*/ 520860 w 1174829"/>
                  <a:gd name="connsiteY13" fmla="*/ 153365 h 298048"/>
                  <a:gd name="connsiteX14" fmla="*/ 520860 w 1174829"/>
                  <a:gd name="connsiteY14" fmla="*/ 176514 h 298048"/>
                  <a:gd name="connsiteX15" fmla="*/ 564265 w 1174829"/>
                  <a:gd name="connsiteY15" fmla="*/ 176514 h 298048"/>
                  <a:gd name="connsiteX16" fmla="*/ 564265 w 1174829"/>
                  <a:gd name="connsiteY16" fmla="*/ 202557 h 298048"/>
                  <a:gd name="connsiteX17" fmla="*/ 653968 w 1174829"/>
                  <a:gd name="connsiteY17" fmla="*/ 202557 h 298048"/>
                  <a:gd name="connsiteX18" fmla="*/ 653968 w 1174829"/>
                  <a:gd name="connsiteY18" fmla="*/ 231494 h 298048"/>
                  <a:gd name="connsiteX19" fmla="*/ 694480 w 1174829"/>
                  <a:gd name="connsiteY19" fmla="*/ 231494 h 298048"/>
                  <a:gd name="connsiteX20" fmla="*/ 694480 w 1174829"/>
                  <a:gd name="connsiteY20" fmla="*/ 257537 h 298048"/>
                  <a:gd name="connsiteX21" fmla="*/ 798652 w 1174829"/>
                  <a:gd name="connsiteY21" fmla="*/ 257537 h 298048"/>
                  <a:gd name="connsiteX22" fmla="*/ 798652 w 1174829"/>
                  <a:gd name="connsiteY22" fmla="*/ 280686 h 298048"/>
                  <a:gd name="connsiteX23" fmla="*/ 847844 w 1174829"/>
                  <a:gd name="connsiteY23" fmla="*/ 280686 h 298048"/>
                  <a:gd name="connsiteX24" fmla="*/ 865206 w 1174829"/>
                  <a:gd name="connsiteY24" fmla="*/ 298048 h 298048"/>
                  <a:gd name="connsiteX25" fmla="*/ 1174829 w 1174829"/>
                  <a:gd name="connsiteY25" fmla="*/ 298048 h 298048"/>
                  <a:gd name="connsiteX0" fmla="*/ 0 w 1174829"/>
                  <a:gd name="connsiteY0" fmla="*/ 0 h 298048"/>
                  <a:gd name="connsiteX1" fmla="*/ 118639 w 1174829"/>
                  <a:gd name="connsiteY1" fmla="*/ 1 h 298048"/>
                  <a:gd name="connsiteX2" fmla="*/ 124427 w 1174829"/>
                  <a:gd name="connsiteY2" fmla="*/ 31831 h 298048"/>
                  <a:gd name="connsiteX3" fmla="*/ 234386 w 1174829"/>
                  <a:gd name="connsiteY3" fmla="*/ 26043 h 298048"/>
                  <a:gd name="connsiteX4" fmla="*/ 234386 w 1174829"/>
                  <a:gd name="connsiteY4" fmla="*/ 60767 h 298048"/>
                  <a:gd name="connsiteX5" fmla="*/ 306728 w 1174829"/>
                  <a:gd name="connsiteY5" fmla="*/ 60767 h 298048"/>
                  <a:gd name="connsiteX6" fmla="*/ 306728 w 1174829"/>
                  <a:gd name="connsiteY6" fmla="*/ 92598 h 298048"/>
                  <a:gd name="connsiteX7" fmla="*/ 376176 w 1174829"/>
                  <a:gd name="connsiteY7" fmla="*/ 92598 h 298048"/>
                  <a:gd name="connsiteX8" fmla="*/ 379070 w 1174829"/>
                  <a:gd name="connsiteY8" fmla="*/ 101279 h 298048"/>
                  <a:gd name="connsiteX9" fmla="*/ 408006 w 1174829"/>
                  <a:gd name="connsiteY9" fmla="*/ 101279 h 298048"/>
                  <a:gd name="connsiteX10" fmla="*/ 408006 w 1174829"/>
                  <a:gd name="connsiteY10" fmla="*/ 127322 h 298048"/>
                  <a:gd name="connsiteX11" fmla="*/ 477455 w 1174829"/>
                  <a:gd name="connsiteY11" fmla="*/ 127322 h 298048"/>
                  <a:gd name="connsiteX12" fmla="*/ 477455 w 1174829"/>
                  <a:gd name="connsiteY12" fmla="*/ 153365 h 298048"/>
                  <a:gd name="connsiteX13" fmla="*/ 520860 w 1174829"/>
                  <a:gd name="connsiteY13" fmla="*/ 153365 h 298048"/>
                  <a:gd name="connsiteX14" fmla="*/ 520860 w 1174829"/>
                  <a:gd name="connsiteY14" fmla="*/ 176514 h 298048"/>
                  <a:gd name="connsiteX15" fmla="*/ 564265 w 1174829"/>
                  <a:gd name="connsiteY15" fmla="*/ 176514 h 298048"/>
                  <a:gd name="connsiteX16" fmla="*/ 564265 w 1174829"/>
                  <a:gd name="connsiteY16" fmla="*/ 202557 h 298048"/>
                  <a:gd name="connsiteX17" fmla="*/ 653968 w 1174829"/>
                  <a:gd name="connsiteY17" fmla="*/ 202557 h 298048"/>
                  <a:gd name="connsiteX18" fmla="*/ 653968 w 1174829"/>
                  <a:gd name="connsiteY18" fmla="*/ 231494 h 298048"/>
                  <a:gd name="connsiteX19" fmla="*/ 694480 w 1174829"/>
                  <a:gd name="connsiteY19" fmla="*/ 231494 h 298048"/>
                  <a:gd name="connsiteX20" fmla="*/ 694480 w 1174829"/>
                  <a:gd name="connsiteY20" fmla="*/ 257537 h 298048"/>
                  <a:gd name="connsiteX21" fmla="*/ 798652 w 1174829"/>
                  <a:gd name="connsiteY21" fmla="*/ 257537 h 298048"/>
                  <a:gd name="connsiteX22" fmla="*/ 798652 w 1174829"/>
                  <a:gd name="connsiteY22" fmla="*/ 280686 h 298048"/>
                  <a:gd name="connsiteX23" fmla="*/ 847844 w 1174829"/>
                  <a:gd name="connsiteY23" fmla="*/ 280686 h 298048"/>
                  <a:gd name="connsiteX24" fmla="*/ 865206 w 1174829"/>
                  <a:gd name="connsiteY24" fmla="*/ 298048 h 298048"/>
                  <a:gd name="connsiteX25" fmla="*/ 1174829 w 1174829"/>
                  <a:gd name="connsiteY25" fmla="*/ 298048 h 298048"/>
                  <a:gd name="connsiteX0" fmla="*/ 0 w 1174829"/>
                  <a:gd name="connsiteY0" fmla="*/ 0 h 298048"/>
                  <a:gd name="connsiteX1" fmla="*/ 118639 w 1174829"/>
                  <a:gd name="connsiteY1" fmla="*/ 1 h 298048"/>
                  <a:gd name="connsiteX2" fmla="*/ 124427 w 1174829"/>
                  <a:gd name="connsiteY2" fmla="*/ 26044 h 298048"/>
                  <a:gd name="connsiteX3" fmla="*/ 234386 w 1174829"/>
                  <a:gd name="connsiteY3" fmla="*/ 26043 h 298048"/>
                  <a:gd name="connsiteX4" fmla="*/ 234386 w 1174829"/>
                  <a:gd name="connsiteY4" fmla="*/ 60767 h 298048"/>
                  <a:gd name="connsiteX5" fmla="*/ 306728 w 1174829"/>
                  <a:gd name="connsiteY5" fmla="*/ 60767 h 298048"/>
                  <a:gd name="connsiteX6" fmla="*/ 306728 w 1174829"/>
                  <a:gd name="connsiteY6" fmla="*/ 92598 h 298048"/>
                  <a:gd name="connsiteX7" fmla="*/ 376176 w 1174829"/>
                  <a:gd name="connsiteY7" fmla="*/ 92598 h 298048"/>
                  <a:gd name="connsiteX8" fmla="*/ 379070 w 1174829"/>
                  <a:gd name="connsiteY8" fmla="*/ 101279 h 298048"/>
                  <a:gd name="connsiteX9" fmla="*/ 408006 w 1174829"/>
                  <a:gd name="connsiteY9" fmla="*/ 101279 h 298048"/>
                  <a:gd name="connsiteX10" fmla="*/ 408006 w 1174829"/>
                  <a:gd name="connsiteY10" fmla="*/ 127322 h 298048"/>
                  <a:gd name="connsiteX11" fmla="*/ 477455 w 1174829"/>
                  <a:gd name="connsiteY11" fmla="*/ 127322 h 298048"/>
                  <a:gd name="connsiteX12" fmla="*/ 477455 w 1174829"/>
                  <a:gd name="connsiteY12" fmla="*/ 153365 h 298048"/>
                  <a:gd name="connsiteX13" fmla="*/ 520860 w 1174829"/>
                  <a:gd name="connsiteY13" fmla="*/ 153365 h 298048"/>
                  <a:gd name="connsiteX14" fmla="*/ 520860 w 1174829"/>
                  <a:gd name="connsiteY14" fmla="*/ 176514 h 298048"/>
                  <a:gd name="connsiteX15" fmla="*/ 564265 w 1174829"/>
                  <a:gd name="connsiteY15" fmla="*/ 176514 h 298048"/>
                  <a:gd name="connsiteX16" fmla="*/ 564265 w 1174829"/>
                  <a:gd name="connsiteY16" fmla="*/ 202557 h 298048"/>
                  <a:gd name="connsiteX17" fmla="*/ 653968 w 1174829"/>
                  <a:gd name="connsiteY17" fmla="*/ 202557 h 298048"/>
                  <a:gd name="connsiteX18" fmla="*/ 653968 w 1174829"/>
                  <a:gd name="connsiteY18" fmla="*/ 231494 h 298048"/>
                  <a:gd name="connsiteX19" fmla="*/ 694480 w 1174829"/>
                  <a:gd name="connsiteY19" fmla="*/ 231494 h 298048"/>
                  <a:gd name="connsiteX20" fmla="*/ 694480 w 1174829"/>
                  <a:gd name="connsiteY20" fmla="*/ 257537 h 298048"/>
                  <a:gd name="connsiteX21" fmla="*/ 798652 w 1174829"/>
                  <a:gd name="connsiteY21" fmla="*/ 257537 h 298048"/>
                  <a:gd name="connsiteX22" fmla="*/ 798652 w 1174829"/>
                  <a:gd name="connsiteY22" fmla="*/ 280686 h 298048"/>
                  <a:gd name="connsiteX23" fmla="*/ 847844 w 1174829"/>
                  <a:gd name="connsiteY23" fmla="*/ 280686 h 298048"/>
                  <a:gd name="connsiteX24" fmla="*/ 865206 w 1174829"/>
                  <a:gd name="connsiteY24" fmla="*/ 298048 h 298048"/>
                  <a:gd name="connsiteX25" fmla="*/ 1174829 w 1174829"/>
                  <a:gd name="connsiteY25" fmla="*/ 298048 h 298048"/>
                  <a:gd name="connsiteX0" fmla="*/ 0 w 1174829"/>
                  <a:gd name="connsiteY0" fmla="*/ 0 h 298048"/>
                  <a:gd name="connsiteX1" fmla="*/ 118639 w 1174829"/>
                  <a:gd name="connsiteY1" fmla="*/ 1 h 298048"/>
                  <a:gd name="connsiteX2" fmla="*/ 118639 w 1174829"/>
                  <a:gd name="connsiteY2" fmla="*/ 26044 h 298048"/>
                  <a:gd name="connsiteX3" fmla="*/ 234386 w 1174829"/>
                  <a:gd name="connsiteY3" fmla="*/ 26043 h 298048"/>
                  <a:gd name="connsiteX4" fmla="*/ 234386 w 1174829"/>
                  <a:gd name="connsiteY4" fmla="*/ 60767 h 298048"/>
                  <a:gd name="connsiteX5" fmla="*/ 306728 w 1174829"/>
                  <a:gd name="connsiteY5" fmla="*/ 60767 h 298048"/>
                  <a:gd name="connsiteX6" fmla="*/ 306728 w 1174829"/>
                  <a:gd name="connsiteY6" fmla="*/ 92598 h 298048"/>
                  <a:gd name="connsiteX7" fmla="*/ 376176 w 1174829"/>
                  <a:gd name="connsiteY7" fmla="*/ 92598 h 298048"/>
                  <a:gd name="connsiteX8" fmla="*/ 379070 w 1174829"/>
                  <a:gd name="connsiteY8" fmla="*/ 101279 h 298048"/>
                  <a:gd name="connsiteX9" fmla="*/ 408006 w 1174829"/>
                  <a:gd name="connsiteY9" fmla="*/ 101279 h 298048"/>
                  <a:gd name="connsiteX10" fmla="*/ 408006 w 1174829"/>
                  <a:gd name="connsiteY10" fmla="*/ 127322 h 298048"/>
                  <a:gd name="connsiteX11" fmla="*/ 477455 w 1174829"/>
                  <a:gd name="connsiteY11" fmla="*/ 127322 h 298048"/>
                  <a:gd name="connsiteX12" fmla="*/ 477455 w 1174829"/>
                  <a:gd name="connsiteY12" fmla="*/ 153365 h 298048"/>
                  <a:gd name="connsiteX13" fmla="*/ 520860 w 1174829"/>
                  <a:gd name="connsiteY13" fmla="*/ 153365 h 298048"/>
                  <a:gd name="connsiteX14" fmla="*/ 520860 w 1174829"/>
                  <a:gd name="connsiteY14" fmla="*/ 176514 h 298048"/>
                  <a:gd name="connsiteX15" fmla="*/ 564265 w 1174829"/>
                  <a:gd name="connsiteY15" fmla="*/ 176514 h 298048"/>
                  <a:gd name="connsiteX16" fmla="*/ 564265 w 1174829"/>
                  <a:gd name="connsiteY16" fmla="*/ 202557 h 298048"/>
                  <a:gd name="connsiteX17" fmla="*/ 653968 w 1174829"/>
                  <a:gd name="connsiteY17" fmla="*/ 202557 h 298048"/>
                  <a:gd name="connsiteX18" fmla="*/ 653968 w 1174829"/>
                  <a:gd name="connsiteY18" fmla="*/ 231494 h 298048"/>
                  <a:gd name="connsiteX19" fmla="*/ 694480 w 1174829"/>
                  <a:gd name="connsiteY19" fmla="*/ 231494 h 298048"/>
                  <a:gd name="connsiteX20" fmla="*/ 694480 w 1174829"/>
                  <a:gd name="connsiteY20" fmla="*/ 257537 h 298048"/>
                  <a:gd name="connsiteX21" fmla="*/ 798652 w 1174829"/>
                  <a:gd name="connsiteY21" fmla="*/ 257537 h 298048"/>
                  <a:gd name="connsiteX22" fmla="*/ 798652 w 1174829"/>
                  <a:gd name="connsiteY22" fmla="*/ 280686 h 298048"/>
                  <a:gd name="connsiteX23" fmla="*/ 847844 w 1174829"/>
                  <a:gd name="connsiteY23" fmla="*/ 280686 h 298048"/>
                  <a:gd name="connsiteX24" fmla="*/ 865206 w 1174829"/>
                  <a:gd name="connsiteY24" fmla="*/ 298048 h 298048"/>
                  <a:gd name="connsiteX25" fmla="*/ 1174829 w 1174829"/>
                  <a:gd name="connsiteY25" fmla="*/ 298048 h 298048"/>
                  <a:gd name="connsiteX0" fmla="*/ 0 w 1174829"/>
                  <a:gd name="connsiteY0" fmla="*/ 0 h 298048"/>
                  <a:gd name="connsiteX1" fmla="*/ 118639 w 1174829"/>
                  <a:gd name="connsiteY1" fmla="*/ 1 h 298048"/>
                  <a:gd name="connsiteX2" fmla="*/ 124426 w 1174829"/>
                  <a:gd name="connsiteY2" fmla="*/ 26044 h 298048"/>
                  <a:gd name="connsiteX3" fmla="*/ 234386 w 1174829"/>
                  <a:gd name="connsiteY3" fmla="*/ 26043 h 298048"/>
                  <a:gd name="connsiteX4" fmla="*/ 234386 w 1174829"/>
                  <a:gd name="connsiteY4" fmla="*/ 60767 h 298048"/>
                  <a:gd name="connsiteX5" fmla="*/ 306728 w 1174829"/>
                  <a:gd name="connsiteY5" fmla="*/ 60767 h 298048"/>
                  <a:gd name="connsiteX6" fmla="*/ 306728 w 1174829"/>
                  <a:gd name="connsiteY6" fmla="*/ 92598 h 298048"/>
                  <a:gd name="connsiteX7" fmla="*/ 376176 w 1174829"/>
                  <a:gd name="connsiteY7" fmla="*/ 92598 h 298048"/>
                  <a:gd name="connsiteX8" fmla="*/ 379070 w 1174829"/>
                  <a:gd name="connsiteY8" fmla="*/ 101279 h 298048"/>
                  <a:gd name="connsiteX9" fmla="*/ 408006 w 1174829"/>
                  <a:gd name="connsiteY9" fmla="*/ 101279 h 298048"/>
                  <a:gd name="connsiteX10" fmla="*/ 408006 w 1174829"/>
                  <a:gd name="connsiteY10" fmla="*/ 127322 h 298048"/>
                  <a:gd name="connsiteX11" fmla="*/ 477455 w 1174829"/>
                  <a:gd name="connsiteY11" fmla="*/ 127322 h 298048"/>
                  <a:gd name="connsiteX12" fmla="*/ 477455 w 1174829"/>
                  <a:gd name="connsiteY12" fmla="*/ 153365 h 298048"/>
                  <a:gd name="connsiteX13" fmla="*/ 520860 w 1174829"/>
                  <a:gd name="connsiteY13" fmla="*/ 153365 h 298048"/>
                  <a:gd name="connsiteX14" fmla="*/ 520860 w 1174829"/>
                  <a:gd name="connsiteY14" fmla="*/ 176514 h 298048"/>
                  <a:gd name="connsiteX15" fmla="*/ 564265 w 1174829"/>
                  <a:gd name="connsiteY15" fmla="*/ 176514 h 298048"/>
                  <a:gd name="connsiteX16" fmla="*/ 564265 w 1174829"/>
                  <a:gd name="connsiteY16" fmla="*/ 202557 h 298048"/>
                  <a:gd name="connsiteX17" fmla="*/ 653968 w 1174829"/>
                  <a:gd name="connsiteY17" fmla="*/ 202557 h 298048"/>
                  <a:gd name="connsiteX18" fmla="*/ 653968 w 1174829"/>
                  <a:gd name="connsiteY18" fmla="*/ 231494 h 298048"/>
                  <a:gd name="connsiteX19" fmla="*/ 694480 w 1174829"/>
                  <a:gd name="connsiteY19" fmla="*/ 231494 h 298048"/>
                  <a:gd name="connsiteX20" fmla="*/ 694480 w 1174829"/>
                  <a:gd name="connsiteY20" fmla="*/ 257537 h 298048"/>
                  <a:gd name="connsiteX21" fmla="*/ 798652 w 1174829"/>
                  <a:gd name="connsiteY21" fmla="*/ 257537 h 298048"/>
                  <a:gd name="connsiteX22" fmla="*/ 798652 w 1174829"/>
                  <a:gd name="connsiteY22" fmla="*/ 280686 h 298048"/>
                  <a:gd name="connsiteX23" fmla="*/ 847844 w 1174829"/>
                  <a:gd name="connsiteY23" fmla="*/ 280686 h 298048"/>
                  <a:gd name="connsiteX24" fmla="*/ 865206 w 1174829"/>
                  <a:gd name="connsiteY24" fmla="*/ 298048 h 298048"/>
                  <a:gd name="connsiteX25" fmla="*/ 1174829 w 1174829"/>
                  <a:gd name="connsiteY25" fmla="*/ 298048 h 298048"/>
                  <a:gd name="connsiteX0" fmla="*/ 0 w 1174829"/>
                  <a:gd name="connsiteY0" fmla="*/ 0 h 298048"/>
                  <a:gd name="connsiteX1" fmla="*/ 118639 w 1174829"/>
                  <a:gd name="connsiteY1" fmla="*/ 1 h 298048"/>
                  <a:gd name="connsiteX2" fmla="*/ 124426 w 1174829"/>
                  <a:gd name="connsiteY2" fmla="*/ 26044 h 298048"/>
                  <a:gd name="connsiteX3" fmla="*/ 234386 w 1174829"/>
                  <a:gd name="connsiteY3" fmla="*/ 26043 h 298048"/>
                  <a:gd name="connsiteX4" fmla="*/ 234386 w 1174829"/>
                  <a:gd name="connsiteY4" fmla="*/ 60767 h 298048"/>
                  <a:gd name="connsiteX5" fmla="*/ 306728 w 1174829"/>
                  <a:gd name="connsiteY5" fmla="*/ 60767 h 298048"/>
                  <a:gd name="connsiteX6" fmla="*/ 306728 w 1174829"/>
                  <a:gd name="connsiteY6" fmla="*/ 92598 h 298048"/>
                  <a:gd name="connsiteX7" fmla="*/ 376176 w 1174829"/>
                  <a:gd name="connsiteY7" fmla="*/ 92598 h 298048"/>
                  <a:gd name="connsiteX8" fmla="*/ 379070 w 1174829"/>
                  <a:gd name="connsiteY8" fmla="*/ 101279 h 298048"/>
                  <a:gd name="connsiteX9" fmla="*/ 408006 w 1174829"/>
                  <a:gd name="connsiteY9" fmla="*/ 101279 h 298048"/>
                  <a:gd name="connsiteX10" fmla="*/ 408006 w 1174829"/>
                  <a:gd name="connsiteY10" fmla="*/ 127322 h 298048"/>
                  <a:gd name="connsiteX11" fmla="*/ 477455 w 1174829"/>
                  <a:gd name="connsiteY11" fmla="*/ 127322 h 298048"/>
                  <a:gd name="connsiteX12" fmla="*/ 477455 w 1174829"/>
                  <a:gd name="connsiteY12" fmla="*/ 153365 h 298048"/>
                  <a:gd name="connsiteX13" fmla="*/ 520860 w 1174829"/>
                  <a:gd name="connsiteY13" fmla="*/ 153365 h 298048"/>
                  <a:gd name="connsiteX14" fmla="*/ 520860 w 1174829"/>
                  <a:gd name="connsiteY14" fmla="*/ 176514 h 298048"/>
                  <a:gd name="connsiteX15" fmla="*/ 564265 w 1174829"/>
                  <a:gd name="connsiteY15" fmla="*/ 176514 h 298048"/>
                  <a:gd name="connsiteX16" fmla="*/ 564265 w 1174829"/>
                  <a:gd name="connsiteY16" fmla="*/ 202557 h 298048"/>
                  <a:gd name="connsiteX17" fmla="*/ 653968 w 1174829"/>
                  <a:gd name="connsiteY17" fmla="*/ 202557 h 298048"/>
                  <a:gd name="connsiteX18" fmla="*/ 653968 w 1174829"/>
                  <a:gd name="connsiteY18" fmla="*/ 231494 h 298048"/>
                  <a:gd name="connsiteX19" fmla="*/ 694480 w 1174829"/>
                  <a:gd name="connsiteY19" fmla="*/ 231494 h 298048"/>
                  <a:gd name="connsiteX20" fmla="*/ 694480 w 1174829"/>
                  <a:gd name="connsiteY20" fmla="*/ 257537 h 298048"/>
                  <a:gd name="connsiteX21" fmla="*/ 798652 w 1174829"/>
                  <a:gd name="connsiteY21" fmla="*/ 257537 h 298048"/>
                  <a:gd name="connsiteX22" fmla="*/ 798652 w 1174829"/>
                  <a:gd name="connsiteY22" fmla="*/ 280686 h 298048"/>
                  <a:gd name="connsiteX23" fmla="*/ 847844 w 1174829"/>
                  <a:gd name="connsiteY23" fmla="*/ 280686 h 298048"/>
                  <a:gd name="connsiteX24" fmla="*/ 865206 w 1174829"/>
                  <a:gd name="connsiteY24" fmla="*/ 298048 h 298048"/>
                  <a:gd name="connsiteX25" fmla="*/ 1174829 w 1174829"/>
                  <a:gd name="connsiteY25" fmla="*/ 298048 h 298048"/>
                  <a:gd name="connsiteX0" fmla="*/ 0 w 1174829"/>
                  <a:gd name="connsiteY0" fmla="*/ 0 h 298048"/>
                  <a:gd name="connsiteX1" fmla="*/ 118639 w 1174829"/>
                  <a:gd name="connsiteY1" fmla="*/ 1 h 298048"/>
                  <a:gd name="connsiteX2" fmla="*/ 115745 w 1174829"/>
                  <a:gd name="connsiteY2" fmla="*/ 26044 h 298048"/>
                  <a:gd name="connsiteX3" fmla="*/ 234386 w 1174829"/>
                  <a:gd name="connsiteY3" fmla="*/ 26043 h 298048"/>
                  <a:gd name="connsiteX4" fmla="*/ 234386 w 1174829"/>
                  <a:gd name="connsiteY4" fmla="*/ 60767 h 298048"/>
                  <a:gd name="connsiteX5" fmla="*/ 306728 w 1174829"/>
                  <a:gd name="connsiteY5" fmla="*/ 60767 h 298048"/>
                  <a:gd name="connsiteX6" fmla="*/ 306728 w 1174829"/>
                  <a:gd name="connsiteY6" fmla="*/ 92598 h 298048"/>
                  <a:gd name="connsiteX7" fmla="*/ 376176 w 1174829"/>
                  <a:gd name="connsiteY7" fmla="*/ 92598 h 298048"/>
                  <a:gd name="connsiteX8" fmla="*/ 379070 w 1174829"/>
                  <a:gd name="connsiteY8" fmla="*/ 101279 h 298048"/>
                  <a:gd name="connsiteX9" fmla="*/ 408006 w 1174829"/>
                  <a:gd name="connsiteY9" fmla="*/ 101279 h 298048"/>
                  <a:gd name="connsiteX10" fmla="*/ 408006 w 1174829"/>
                  <a:gd name="connsiteY10" fmla="*/ 127322 h 298048"/>
                  <a:gd name="connsiteX11" fmla="*/ 477455 w 1174829"/>
                  <a:gd name="connsiteY11" fmla="*/ 127322 h 298048"/>
                  <a:gd name="connsiteX12" fmla="*/ 477455 w 1174829"/>
                  <a:gd name="connsiteY12" fmla="*/ 153365 h 298048"/>
                  <a:gd name="connsiteX13" fmla="*/ 520860 w 1174829"/>
                  <a:gd name="connsiteY13" fmla="*/ 153365 h 298048"/>
                  <a:gd name="connsiteX14" fmla="*/ 520860 w 1174829"/>
                  <a:gd name="connsiteY14" fmla="*/ 176514 h 298048"/>
                  <a:gd name="connsiteX15" fmla="*/ 564265 w 1174829"/>
                  <a:gd name="connsiteY15" fmla="*/ 176514 h 298048"/>
                  <a:gd name="connsiteX16" fmla="*/ 564265 w 1174829"/>
                  <a:gd name="connsiteY16" fmla="*/ 202557 h 298048"/>
                  <a:gd name="connsiteX17" fmla="*/ 653968 w 1174829"/>
                  <a:gd name="connsiteY17" fmla="*/ 202557 h 298048"/>
                  <a:gd name="connsiteX18" fmla="*/ 653968 w 1174829"/>
                  <a:gd name="connsiteY18" fmla="*/ 231494 h 298048"/>
                  <a:gd name="connsiteX19" fmla="*/ 694480 w 1174829"/>
                  <a:gd name="connsiteY19" fmla="*/ 231494 h 298048"/>
                  <a:gd name="connsiteX20" fmla="*/ 694480 w 1174829"/>
                  <a:gd name="connsiteY20" fmla="*/ 257537 h 298048"/>
                  <a:gd name="connsiteX21" fmla="*/ 798652 w 1174829"/>
                  <a:gd name="connsiteY21" fmla="*/ 257537 h 298048"/>
                  <a:gd name="connsiteX22" fmla="*/ 798652 w 1174829"/>
                  <a:gd name="connsiteY22" fmla="*/ 280686 h 298048"/>
                  <a:gd name="connsiteX23" fmla="*/ 847844 w 1174829"/>
                  <a:gd name="connsiteY23" fmla="*/ 280686 h 298048"/>
                  <a:gd name="connsiteX24" fmla="*/ 865206 w 1174829"/>
                  <a:gd name="connsiteY24" fmla="*/ 298048 h 298048"/>
                  <a:gd name="connsiteX25" fmla="*/ 1174829 w 1174829"/>
                  <a:gd name="connsiteY25" fmla="*/ 298048 h 298048"/>
                  <a:gd name="connsiteX0" fmla="*/ 0 w 1174829"/>
                  <a:gd name="connsiteY0" fmla="*/ 0 h 298048"/>
                  <a:gd name="connsiteX1" fmla="*/ 118639 w 1174829"/>
                  <a:gd name="connsiteY1" fmla="*/ 1 h 298048"/>
                  <a:gd name="connsiteX2" fmla="*/ 124426 w 1174829"/>
                  <a:gd name="connsiteY2" fmla="*/ 26044 h 298048"/>
                  <a:gd name="connsiteX3" fmla="*/ 234386 w 1174829"/>
                  <a:gd name="connsiteY3" fmla="*/ 26043 h 298048"/>
                  <a:gd name="connsiteX4" fmla="*/ 234386 w 1174829"/>
                  <a:gd name="connsiteY4" fmla="*/ 60767 h 298048"/>
                  <a:gd name="connsiteX5" fmla="*/ 306728 w 1174829"/>
                  <a:gd name="connsiteY5" fmla="*/ 60767 h 298048"/>
                  <a:gd name="connsiteX6" fmla="*/ 306728 w 1174829"/>
                  <a:gd name="connsiteY6" fmla="*/ 92598 h 298048"/>
                  <a:gd name="connsiteX7" fmla="*/ 376176 w 1174829"/>
                  <a:gd name="connsiteY7" fmla="*/ 92598 h 298048"/>
                  <a:gd name="connsiteX8" fmla="*/ 379070 w 1174829"/>
                  <a:gd name="connsiteY8" fmla="*/ 101279 h 298048"/>
                  <a:gd name="connsiteX9" fmla="*/ 408006 w 1174829"/>
                  <a:gd name="connsiteY9" fmla="*/ 101279 h 298048"/>
                  <a:gd name="connsiteX10" fmla="*/ 408006 w 1174829"/>
                  <a:gd name="connsiteY10" fmla="*/ 127322 h 298048"/>
                  <a:gd name="connsiteX11" fmla="*/ 477455 w 1174829"/>
                  <a:gd name="connsiteY11" fmla="*/ 127322 h 298048"/>
                  <a:gd name="connsiteX12" fmla="*/ 477455 w 1174829"/>
                  <a:gd name="connsiteY12" fmla="*/ 153365 h 298048"/>
                  <a:gd name="connsiteX13" fmla="*/ 520860 w 1174829"/>
                  <a:gd name="connsiteY13" fmla="*/ 153365 h 298048"/>
                  <a:gd name="connsiteX14" fmla="*/ 520860 w 1174829"/>
                  <a:gd name="connsiteY14" fmla="*/ 176514 h 298048"/>
                  <a:gd name="connsiteX15" fmla="*/ 564265 w 1174829"/>
                  <a:gd name="connsiteY15" fmla="*/ 176514 h 298048"/>
                  <a:gd name="connsiteX16" fmla="*/ 564265 w 1174829"/>
                  <a:gd name="connsiteY16" fmla="*/ 202557 h 298048"/>
                  <a:gd name="connsiteX17" fmla="*/ 653968 w 1174829"/>
                  <a:gd name="connsiteY17" fmla="*/ 202557 h 298048"/>
                  <a:gd name="connsiteX18" fmla="*/ 653968 w 1174829"/>
                  <a:gd name="connsiteY18" fmla="*/ 231494 h 298048"/>
                  <a:gd name="connsiteX19" fmla="*/ 694480 w 1174829"/>
                  <a:gd name="connsiteY19" fmla="*/ 231494 h 298048"/>
                  <a:gd name="connsiteX20" fmla="*/ 694480 w 1174829"/>
                  <a:gd name="connsiteY20" fmla="*/ 257537 h 298048"/>
                  <a:gd name="connsiteX21" fmla="*/ 798652 w 1174829"/>
                  <a:gd name="connsiteY21" fmla="*/ 257537 h 298048"/>
                  <a:gd name="connsiteX22" fmla="*/ 798652 w 1174829"/>
                  <a:gd name="connsiteY22" fmla="*/ 280686 h 298048"/>
                  <a:gd name="connsiteX23" fmla="*/ 847844 w 1174829"/>
                  <a:gd name="connsiteY23" fmla="*/ 280686 h 298048"/>
                  <a:gd name="connsiteX24" fmla="*/ 865206 w 1174829"/>
                  <a:gd name="connsiteY24" fmla="*/ 298048 h 298048"/>
                  <a:gd name="connsiteX25" fmla="*/ 1174829 w 1174829"/>
                  <a:gd name="connsiteY25" fmla="*/ 298048 h 298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74829" h="298048">
                    <a:moveTo>
                      <a:pt x="0" y="0"/>
                    </a:moveTo>
                    <a:lnTo>
                      <a:pt x="118639" y="1"/>
                    </a:lnTo>
                    <a:lnTo>
                      <a:pt x="124426" y="26044"/>
                    </a:lnTo>
                    <a:lnTo>
                      <a:pt x="234386" y="26043"/>
                    </a:lnTo>
                    <a:lnTo>
                      <a:pt x="234386" y="60767"/>
                    </a:lnTo>
                    <a:lnTo>
                      <a:pt x="306728" y="60767"/>
                    </a:lnTo>
                    <a:lnTo>
                      <a:pt x="306728" y="92598"/>
                    </a:lnTo>
                    <a:lnTo>
                      <a:pt x="376176" y="92598"/>
                    </a:lnTo>
                    <a:lnTo>
                      <a:pt x="379070" y="101279"/>
                    </a:lnTo>
                    <a:lnTo>
                      <a:pt x="408006" y="101279"/>
                    </a:lnTo>
                    <a:lnTo>
                      <a:pt x="408006" y="127322"/>
                    </a:lnTo>
                    <a:lnTo>
                      <a:pt x="477455" y="127322"/>
                    </a:lnTo>
                    <a:lnTo>
                      <a:pt x="477455" y="153365"/>
                    </a:lnTo>
                    <a:lnTo>
                      <a:pt x="520860" y="153365"/>
                    </a:lnTo>
                    <a:lnTo>
                      <a:pt x="520860" y="176514"/>
                    </a:lnTo>
                    <a:lnTo>
                      <a:pt x="564265" y="176514"/>
                    </a:lnTo>
                    <a:lnTo>
                      <a:pt x="564265" y="202557"/>
                    </a:lnTo>
                    <a:lnTo>
                      <a:pt x="653968" y="202557"/>
                    </a:lnTo>
                    <a:lnTo>
                      <a:pt x="653968" y="231494"/>
                    </a:lnTo>
                    <a:lnTo>
                      <a:pt x="694480" y="231494"/>
                    </a:lnTo>
                    <a:lnTo>
                      <a:pt x="694480" y="257537"/>
                    </a:lnTo>
                    <a:lnTo>
                      <a:pt x="798652" y="257537"/>
                    </a:lnTo>
                    <a:lnTo>
                      <a:pt x="798652" y="280686"/>
                    </a:lnTo>
                    <a:lnTo>
                      <a:pt x="847844" y="280686"/>
                    </a:lnTo>
                    <a:lnTo>
                      <a:pt x="865206" y="298048"/>
                    </a:lnTo>
                    <a:lnTo>
                      <a:pt x="1174829" y="298048"/>
                    </a:lnTo>
                  </a:path>
                </a:pathLst>
              </a:custGeom>
              <a:noFill/>
              <a:ln w="38100">
                <a:solidFill>
                  <a:srgbClr val="BDBD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Freeform: Shape 85">
                <a:extLst>
                  <a:ext uri="{FF2B5EF4-FFF2-40B4-BE49-F238E27FC236}">
                    <a16:creationId xmlns:a16="http://schemas.microsoft.com/office/drawing/2014/main" id="{D7A4A77A-CDC7-4499-8B27-B02F36252E10}"/>
                  </a:ext>
                </a:extLst>
              </p:cNvPr>
              <p:cNvSpPr/>
              <p:nvPr/>
            </p:nvSpPr>
            <p:spPr>
              <a:xfrm>
                <a:off x="6544504" y="1495050"/>
                <a:ext cx="3339846" cy="1121474"/>
              </a:xfrm>
              <a:custGeom>
                <a:avLst/>
                <a:gdLst>
                  <a:gd name="connsiteX0" fmla="*/ 0 w 3304572"/>
                  <a:gd name="connsiteY0" fmla="*/ 0 h 1145894"/>
                  <a:gd name="connsiteX1" fmla="*/ 104172 w 3304572"/>
                  <a:gd name="connsiteY1" fmla="*/ 0 h 1145894"/>
                  <a:gd name="connsiteX2" fmla="*/ 104172 w 3304572"/>
                  <a:gd name="connsiteY2" fmla="*/ 107066 h 1145894"/>
                  <a:gd name="connsiteX3" fmla="*/ 130215 w 3304572"/>
                  <a:gd name="connsiteY3" fmla="*/ 107066 h 1145894"/>
                  <a:gd name="connsiteX4" fmla="*/ 130215 w 3304572"/>
                  <a:gd name="connsiteY4" fmla="*/ 144684 h 1145894"/>
                  <a:gd name="connsiteX5" fmla="*/ 153364 w 3304572"/>
                  <a:gd name="connsiteY5" fmla="*/ 144684 h 1145894"/>
                  <a:gd name="connsiteX6" fmla="*/ 153364 w 3304572"/>
                  <a:gd name="connsiteY6" fmla="*/ 164939 h 1145894"/>
                  <a:gd name="connsiteX7" fmla="*/ 373283 w 3304572"/>
                  <a:gd name="connsiteY7" fmla="*/ 164939 h 1145894"/>
                  <a:gd name="connsiteX8" fmla="*/ 373283 w 3304572"/>
                  <a:gd name="connsiteY8" fmla="*/ 190982 h 1145894"/>
                  <a:gd name="connsiteX9" fmla="*/ 373283 w 3304572"/>
                  <a:gd name="connsiteY9" fmla="*/ 190982 h 1145894"/>
                  <a:gd name="connsiteX10" fmla="*/ 390645 w 3304572"/>
                  <a:gd name="connsiteY10" fmla="*/ 208344 h 1145894"/>
                  <a:gd name="connsiteX11" fmla="*/ 465881 w 3304572"/>
                  <a:gd name="connsiteY11" fmla="*/ 208344 h 1145894"/>
                  <a:gd name="connsiteX12" fmla="*/ 465881 w 3304572"/>
                  <a:gd name="connsiteY12" fmla="*/ 231494 h 1145894"/>
                  <a:gd name="connsiteX13" fmla="*/ 486136 w 3304572"/>
                  <a:gd name="connsiteY13" fmla="*/ 231494 h 1145894"/>
                  <a:gd name="connsiteX14" fmla="*/ 486136 w 3304572"/>
                  <a:gd name="connsiteY14" fmla="*/ 251750 h 1145894"/>
                  <a:gd name="connsiteX15" fmla="*/ 784184 w 3304572"/>
                  <a:gd name="connsiteY15" fmla="*/ 251750 h 1145894"/>
                  <a:gd name="connsiteX16" fmla="*/ 784184 w 3304572"/>
                  <a:gd name="connsiteY16" fmla="*/ 306729 h 1145894"/>
                  <a:gd name="connsiteX17" fmla="*/ 902825 w 3304572"/>
                  <a:gd name="connsiteY17" fmla="*/ 306729 h 1145894"/>
                  <a:gd name="connsiteX18" fmla="*/ 902825 w 3304572"/>
                  <a:gd name="connsiteY18" fmla="*/ 353028 h 1145894"/>
                  <a:gd name="connsiteX19" fmla="*/ 920187 w 3304572"/>
                  <a:gd name="connsiteY19" fmla="*/ 353028 h 1145894"/>
                  <a:gd name="connsiteX20" fmla="*/ 920187 w 3304572"/>
                  <a:gd name="connsiteY20" fmla="*/ 416689 h 1145894"/>
                  <a:gd name="connsiteX21" fmla="*/ 978060 w 3304572"/>
                  <a:gd name="connsiteY21" fmla="*/ 416689 h 1145894"/>
                  <a:gd name="connsiteX22" fmla="*/ 978060 w 3304572"/>
                  <a:gd name="connsiteY22" fmla="*/ 465881 h 1145894"/>
                  <a:gd name="connsiteX23" fmla="*/ 1027253 w 3304572"/>
                  <a:gd name="connsiteY23" fmla="*/ 465881 h 1145894"/>
                  <a:gd name="connsiteX24" fmla="*/ 1027253 w 3304572"/>
                  <a:gd name="connsiteY24" fmla="*/ 503499 h 1145894"/>
                  <a:gd name="connsiteX25" fmla="*/ 1192192 w 3304572"/>
                  <a:gd name="connsiteY25" fmla="*/ 503499 h 1145894"/>
                  <a:gd name="connsiteX26" fmla="*/ 1192192 w 3304572"/>
                  <a:gd name="connsiteY26" fmla="*/ 541117 h 1145894"/>
                  <a:gd name="connsiteX27" fmla="*/ 1212448 w 3304572"/>
                  <a:gd name="connsiteY27" fmla="*/ 541117 h 1145894"/>
                  <a:gd name="connsiteX28" fmla="*/ 1212448 w 3304572"/>
                  <a:gd name="connsiteY28" fmla="*/ 613458 h 1145894"/>
                  <a:gd name="connsiteX29" fmla="*/ 1226916 w 3304572"/>
                  <a:gd name="connsiteY29" fmla="*/ 613458 h 1145894"/>
                  <a:gd name="connsiteX30" fmla="*/ 1226916 w 3304572"/>
                  <a:gd name="connsiteY30" fmla="*/ 630820 h 1145894"/>
                  <a:gd name="connsiteX31" fmla="*/ 1261640 w 3304572"/>
                  <a:gd name="connsiteY31" fmla="*/ 630820 h 1145894"/>
                  <a:gd name="connsiteX32" fmla="*/ 1261640 w 3304572"/>
                  <a:gd name="connsiteY32" fmla="*/ 703162 h 1145894"/>
                  <a:gd name="connsiteX33" fmla="*/ 1281896 w 3304572"/>
                  <a:gd name="connsiteY33" fmla="*/ 703162 h 1145894"/>
                  <a:gd name="connsiteX34" fmla="*/ 1281896 w 3304572"/>
                  <a:gd name="connsiteY34" fmla="*/ 792866 h 1145894"/>
                  <a:gd name="connsiteX35" fmla="*/ 1305045 w 3304572"/>
                  <a:gd name="connsiteY35" fmla="*/ 792866 h 1145894"/>
                  <a:gd name="connsiteX36" fmla="*/ 1305045 w 3304572"/>
                  <a:gd name="connsiteY36" fmla="*/ 830484 h 1145894"/>
                  <a:gd name="connsiteX37" fmla="*/ 1432367 w 3304572"/>
                  <a:gd name="connsiteY37" fmla="*/ 830484 h 1145894"/>
                  <a:gd name="connsiteX38" fmla="*/ 1432367 w 3304572"/>
                  <a:gd name="connsiteY38" fmla="*/ 902826 h 1145894"/>
                  <a:gd name="connsiteX39" fmla="*/ 1579944 w 3304572"/>
                  <a:gd name="connsiteY39" fmla="*/ 902826 h 1145894"/>
                  <a:gd name="connsiteX40" fmla="*/ 1579944 w 3304572"/>
                  <a:gd name="connsiteY40" fmla="*/ 937550 h 1145894"/>
                  <a:gd name="connsiteX41" fmla="*/ 1623349 w 3304572"/>
                  <a:gd name="connsiteY41" fmla="*/ 937550 h 1145894"/>
                  <a:gd name="connsiteX42" fmla="*/ 1623349 w 3304572"/>
                  <a:gd name="connsiteY42" fmla="*/ 995423 h 1145894"/>
                  <a:gd name="connsiteX43" fmla="*/ 1672541 w 3304572"/>
                  <a:gd name="connsiteY43" fmla="*/ 995423 h 1145894"/>
                  <a:gd name="connsiteX44" fmla="*/ 1672541 w 3304572"/>
                  <a:gd name="connsiteY44" fmla="*/ 1145894 h 1145894"/>
                  <a:gd name="connsiteX45" fmla="*/ 3304572 w 3304572"/>
                  <a:gd name="connsiteY45" fmla="*/ 1145894 h 1145894"/>
                  <a:gd name="connsiteX46" fmla="*/ 3304572 w 3304572"/>
                  <a:gd name="connsiteY46" fmla="*/ 1134319 h 1145894"/>
                  <a:gd name="connsiteX0" fmla="*/ 0 w 3304572"/>
                  <a:gd name="connsiteY0" fmla="*/ 0 h 1145894"/>
                  <a:gd name="connsiteX1" fmla="*/ 104172 w 3304572"/>
                  <a:gd name="connsiteY1" fmla="*/ 0 h 1145894"/>
                  <a:gd name="connsiteX2" fmla="*/ 104172 w 3304572"/>
                  <a:gd name="connsiteY2" fmla="*/ 107066 h 1145894"/>
                  <a:gd name="connsiteX3" fmla="*/ 130215 w 3304572"/>
                  <a:gd name="connsiteY3" fmla="*/ 107066 h 1145894"/>
                  <a:gd name="connsiteX4" fmla="*/ 130215 w 3304572"/>
                  <a:gd name="connsiteY4" fmla="*/ 144684 h 1145894"/>
                  <a:gd name="connsiteX5" fmla="*/ 153364 w 3304572"/>
                  <a:gd name="connsiteY5" fmla="*/ 144684 h 1145894"/>
                  <a:gd name="connsiteX6" fmla="*/ 153364 w 3304572"/>
                  <a:gd name="connsiteY6" fmla="*/ 164939 h 1145894"/>
                  <a:gd name="connsiteX7" fmla="*/ 373283 w 3304572"/>
                  <a:gd name="connsiteY7" fmla="*/ 164939 h 1145894"/>
                  <a:gd name="connsiteX8" fmla="*/ 373283 w 3304572"/>
                  <a:gd name="connsiteY8" fmla="*/ 190982 h 1145894"/>
                  <a:gd name="connsiteX9" fmla="*/ 373283 w 3304572"/>
                  <a:gd name="connsiteY9" fmla="*/ 190982 h 1145894"/>
                  <a:gd name="connsiteX10" fmla="*/ 390645 w 3304572"/>
                  <a:gd name="connsiteY10" fmla="*/ 208344 h 1145894"/>
                  <a:gd name="connsiteX11" fmla="*/ 465881 w 3304572"/>
                  <a:gd name="connsiteY11" fmla="*/ 208344 h 1145894"/>
                  <a:gd name="connsiteX12" fmla="*/ 465881 w 3304572"/>
                  <a:gd name="connsiteY12" fmla="*/ 231494 h 1145894"/>
                  <a:gd name="connsiteX13" fmla="*/ 486136 w 3304572"/>
                  <a:gd name="connsiteY13" fmla="*/ 231494 h 1145894"/>
                  <a:gd name="connsiteX14" fmla="*/ 486136 w 3304572"/>
                  <a:gd name="connsiteY14" fmla="*/ 251750 h 1145894"/>
                  <a:gd name="connsiteX15" fmla="*/ 784184 w 3304572"/>
                  <a:gd name="connsiteY15" fmla="*/ 251750 h 1145894"/>
                  <a:gd name="connsiteX16" fmla="*/ 784184 w 3304572"/>
                  <a:gd name="connsiteY16" fmla="*/ 306729 h 1145894"/>
                  <a:gd name="connsiteX17" fmla="*/ 902825 w 3304572"/>
                  <a:gd name="connsiteY17" fmla="*/ 306729 h 1145894"/>
                  <a:gd name="connsiteX18" fmla="*/ 902825 w 3304572"/>
                  <a:gd name="connsiteY18" fmla="*/ 353028 h 1145894"/>
                  <a:gd name="connsiteX19" fmla="*/ 920187 w 3304572"/>
                  <a:gd name="connsiteY19" fmla="*/ 353028 h 1145894"/>
                  <a:gd name="connsiteX20" fmla="*/ 920187 w 3304572"/>
                  <a:gd name="connsiteY20" fmla="*/ 416689 h 1145894"/>
                  <a:gd name="connsiteX21" fmla="*/ 978060 w 3304572"/>
                  <a:gd name="connsiteY21" fmla="*/ 416689 h 1145894"/>
                  <a:gd name="connsiteX22" fmla="*/ 978060 w 3304572"/>
                  <a:gd name="connsiteY22" fmla="*/ 465881 h 1145894"/>
                  <a:gd name="connsiteX23" fmla="*/ 1027253 w 3304572"/>
                  <a:gd name="connsiteY23" fmla="*/ 465881 h 1145894"/>
                  <a:gd name="connsiteX24" fmla="*/ 1027253 w 3304572"/>
                  <a:gd name="connsiteY24" fmla="*/ 503499 h 1145894"/>
                  <a:gd name="connsiteX25" fmla="*/ 1192192 w 3304572"/>
                  <a:gd name="connsiteY25" fmla="*/ 503499 h 1145894"/>
                  <a:gd name="connsiteX26" fmla="*/ 1192192 w 3304572"/>
                  <a:gd name="connsiteY26" fmla="*/ 541117 h 1145894"/>
                  <a:gd name="connsiteX27" fmla="*/ 1212448 w 3304572"/>
                  <a:gd name="connsiteY27" fmla="*/ 541117 h 1145894"/>
                  <a:gd name="connsiteX28" fmla="*/ 1212448 w 3304572"/>
                  <a:gd name="connsiteY28" fmla="*/ 613458 h 1145894"/>
                  <a:gd name="connsiteX29" fmla="*/ 1226916 w 3304572"/>
                  <a:gd name="connsiteY29" fmla="*/ 613458 h 1145894"/>
                  <a:gd name="connsiteX30" fmla="*/ 1226916 w 3304572"/>
                  <a:gd name="connsiteY30" fmla="*/ 630820 h 1145894"/>
                  <a:gd name="connsiteX31" fmla="*/ 1261640 w 3304572"/>
                  <a:gd name="connsiteY31" fmla="*/ 630820 h 1145894"/>
                  <a:gd name="connsiteX32" fmla="*/ 1261640 w 3304572"/>
                  <a:gd name="connsiteY32" fmla="*/ 703162 h 1145894"/>
                  <a:gd name="connsiteX33" fmla="*/ 1281896 w 3304572"/>
                  <a:gd name="connsiteY33" fmla="*/ 703162 h 1145894"/>
                  <a:gd name="connsiteX34" fmla="*/ 1281896 w 3304572"/>
                  <a:gd name="connsiteY34" fmla="*/ 792866 h 1145894"/>
                  <a:gd name="connsiteX35" fmla="*/ 1305045 w 3304572"/>
                  <a:gd name="connsiteY35" fmla="*/ 792866 h 1145894"/>
                  <a:gd name="connsiteX36" fmla="*/ 1305045 w 3304572"/>
                  <a:gd name="connsiteY36" fmla="*/ 830484 h 1145894"/>
                  <a:gd name="connsiteX37" fmla="*/ 1432367 w 3304572"/>
                  <a:gd name="connsiteY37" fmla="*/ 830484 h 1145894"/>
                  <a:gd name="connsiteX38" fmla="*/ 1432367 w 3304572"/>
                  <a:gd name="connsiteY38" fmla="*/ 902826 h 1145894"/>
                  <a:gd name="connsiteX39" fmla="*/ 1579944 w 3304572"/>
                  <a:gd name="connsiteY39" fmla="*/ 902826 h 1145894"/>
                  <a:gd name="connsiteX40" fmla="*/ 1579944 w 3304572"/>
                  <a:gd name="connsiteY40" fmla="*/ 937550 h 1145894"/>
                  <a:gd name="connsiteX41" fmla="*/ 1623349 w 3304572"/>
                  <a:gd name="connsiteY41" fmla="*/ 937550 h 1145894"/>
                  <a:gd name="connsiteX42" fmla="*/ 1623349 w 3304572"/>
                  <a:gd name="connsiteY42" fmla="*/ 995423 h 1145894"/>
                  <a:gd name="connsiteX43" fmla="*/ 1672541 w 3304572"/>
                  <a:gd name="connsiteY43" fmla="*/ 995423 h 1145894"/>
                  <a:gd name="connsiteX44" fmla="*/ 1672541 w 3304572"/>
                  <a:gd name="connsiteY44" fmla="*/ 1145894 h 1145894"/>
                  <a:gd name="connsiteX45" fmla="*/ 3304572 w 3304572"/>
                  <a:gd name="connsiteY45" fmla="*/ 1145894 h 1145894"/>
                  <a:gd name="connsiteX0" fmla="*/ 0 w 3312712"/>
                  <a:gd name="connsiteY0" fmla="*/ 21707 h 1145894"/>
                  <a:gd name="connsiteX1" fmla="*/ 112312 w 3312712"/>
                  <a:gd name="connsiteY1" fmla="*/ 0 h 1145894"/>
                  <a:gd name="connsiteX2" fmla="*/ 112312 w 3312712"/>
                  <a:gd name="connsiteY2" fmla="*/ 107066 h 1145894"/>
                  <a:gd name="connsiteX3" fmla="*/ 138355 w 3312712"/>
                  <a:gd name="connsiteY3" fmla="*/ 107066 h 1145894"/>
                  <a:gd name="connsiteX4" fmla="*/ 138355 w 3312712"/>
                  <a:gd name="connsiteY4" fmla="*/ 144684 h 1145894"/>
                  <a:gd name="connsiteX5" fmla="*/ 161504 w 3312712"/>
                  <a:gd name="connsiteY5" fmla="*/ 144684 h 1145894"/>
                  <a:gd name="connsiteX6" fmla="*/ 161504 w 3312712"/>
                  <a:gd name="connsiteY6" fmla="*/ 164939 h 1145894"/>
                  <a:gd name="connsiteX7" fmla="*/ 381423 w 3312712"/>
                  <a:gd name="connsiteY7" fmla="*/ 164939 h 1145894"/>
                  <a:gd name="connsiteX8" fmla="*/ 381423 w 3312712"/>
                  <a:gd name="connsiteY8" fmla="*/ 190982 h 1145894"/>
                  <a:gd name="connsiteX9" fmla="*/ 381423 w 3312712"/>
                  <a:gd name="connsiteY9" fmla="*/ 190982 h 1145894"/>
                  <a:gd name="connsiteX10" fmla="*/ 398785 w 3312712"/>
                  <a:gd name="connsiteY10" fmla="*/ 208344 h 1145894"/>
                  <a:gd name="connsiteX11" fmla="*/ 474021 w 3312712"/>
                  <a:gd name="connsiteY11" fmla="*/ 208344 h 1145894"/>
                  <a:gd name="connsiteX12" fmla="*/ 474021 w 3312712"/>
                  <a:gd name="connsiteY12" fmla="*/ 231494 h 1145894"/>
                  <a:gd name="connsiteX13" fmla="*/ 494276 w 3312712"/>
                  <a:gd name="connsiteY13" fmla="*/ 231494 h 1145894"/>
                  <a:gd name="connsiteX14" fmla="*/ 494276 w 3312712"/>
                  <a:gd name="connsiteY14" fmla="*/ 251750 h 1145894"/>
                  <a:gd name="connsiteX15" fmla="*/ 792324 w 3312712"/>
                  <a:gd name="connsiteY15" fmla="*/ 251750 h 1145894"/>
                  <a:gd name="connsiteX16" fmla="*/ 792324 w 3312712"/>
                  <a:gd name="connsiteY16" fmla="*/ 306729 h 1145894"/>
                  <a:gd name="connsiteX17" fmla="*/ 910965 w 3312712"/>
                  <a:gd name="connsiteY17" fmla="*/ 306729 h 1145894"/>
                  <a:gd name="connsiteX18" fmla="*/ 910965 w 3312712"/>
                  <a:gd name="connsiteY18" fmla="*/ 353028 h 1145894"/>
                  <a:gd name="connsiteX19" fmla="*/ 928327 w 3312712"/>
                  <a:gd name="connsiteY19" fmla="*/ 353028 h 1145894"/>
                  <a:gd name="connsiteX20" fmla="*/ 928327 w 3312712"/>
                  <a:gd name="connsiteY20" fmla="*/ 416689 h 1145894"/>
                  <a:gd name="connsiteX21" fmla="*/ 986200 w 3312712"/>
                  <a:gd name="connsiteY21" fmla="*/ 416689 h 1145894"/>
                  <a:gd name="connsiteX22" fmla="*/ 986200 w 3312712"/>
                  <a:gd name="connsiteY22" fmla="*/ 465881 h 1145894"/>
                  <a:gd name="connsiteX23" fmla="*/ 1035393 w 3312712"/>
                  <a:gd name="connsiteY23" fmla="*/ 465881 h 1145894"/>
                  <a:gd name="connsiteX24" fmla="*/ 1035393 w 3312712"/>
                  <a:gd name="connsiteY24" fmla="*/ 503499 h 1145894"/>
                  <a:gd name="connsiteX25" fmla="*/ 1200332 w 3312712"/>
                  <a:gd name="connsiteY25" fmla="*/ 503499 h 1145894"/>
                  <a:gd name="connsiteX26" fmla="*/ 1200332 w 3312712"/>
                  <a:gd name="connsiteY26" fmla="*/ 541117 h 1145894"/>
                  <a:gd name="connsiteX27" fmla="*/ 1220588 w 3312712"/>
                  <a:gd name="connsiteY27" fmla="*/ 541117 h 1145894"/>
                  <a:gd name="connsiteX28" fmla="*/ 1220588 w 3312712"/>
                  <a:gd name="connsiteY28" fmla="*/ 613458 h 1145894"/>
                  <a:gd name="connsiteX29" fmla="*/ 1235056 w 3312712"/>
                  <a:gd name="connsiteY29" fmla="*/ 613458 h 1145894"/>
                  <a:gd name="connsiteX30" fmla="*/ 1235056 w 3312712"/>
                  <a:gd name="connsiteY30" fmla="*/ 630820 h 1145894"/>
                  <a:gd name="connsiteX31" fmla="*/ 1269780 w 3312712"/>
                  <a:gd name="connsiteY31" fmla="*/ 630820 h 1145894"/>
                  <a:gd name="connsiteX32" fmla="*/ 1269780 w 3312712"/>
                  <a:gd name="connsiteY32" fmla="*/ 703162 h 1145894"/>
                  <a:gd name="connsiteX33" fmla="*/ 1290036 w 3312712"/>
                  <a:gd name="connsiteY33" fmla="*/ 703162 h 1145894"/>
                  <a:gd name="connsiteX34" fmla="*/ 1290036 w 3312712"/>
                  <a:gd name="connsiteY34" fmla="*/ 792866 h 1145894"/>
                  <a:gd name="connsiteX35" fmla="*/ 1313185 w 3312712"/>
                  <a:gd name="connsiteY35" fmla="*/ 792866 h 1145894"/>
                  <a:gd name="connsiteX36" fmla="*/ 1313185 w 3312712"/>
                  <a:gd name="connsiteY36" fmla="*/ 830484 h 1145894"/>
                  <a:gd name="connsiteX37" fmla="*/ 1440507 w 3312712"/>
                  <a:gd name="connsiteY37" fmla="*/ 830484 h 1145894"/>
                  <a:gd name="connsiteX38" fmla="*/ 1440507 w 3312712"/>
                  <a:gd name="connsiteY38" fmla="*/ 902826 h 1145894"/>
                  <a:gd name="connsiteX39" fmla="*/ 1588084 w 3312712"/>
                  <a:gd name="connsiteY39" fmla="*/ 902826 h 1145894"/>
                  <a:gd name="connsiteX40" fmla="*/ 1588084 w 3312712"/>
                  <a:gd name="connsiteY40" fmla="*/ 937550 h 1145894"/>
                  <a:gd name="connsiteX41" fmla="*/ 1631489 w 3312712"/>
                  <a:gd name="connsiteY41" fmla="*/ 937550 h 1145894"/>
                  <a:gd name="connsiteX42" fmla="*/ 1631489 w 3312712"/>
                  <a:gd name="connsiteY42" fmla="*/ 995423 h 1145894"/>
                  <a:gd name="connsiteX43" fmla="*/ 1680681 w 3312712"/>
                  <a:gd name="connsiteY43" fmla="*/ 995423 h 1145894"/>
                  <a:gd name="connsiteX44" fmla="*/ 1680681 w 3312712"/>
                  <a:gd name="connsiteY44" fmla="*/ 1145894 h 1145894"/>
                  <a:gd name="connsiteX45" fmla="*/ 3312712 w 3312712"/>
                  <a:gd name="connsiteY45" fmla="*/ 1145894 h 1145894"/>
                  <a:gd name="connsiteX0" fmla="*/ 0 w 3312712"/>
                  <a:gd name="connsiteY0" fmla="*/ 0 h 1124187"/>
                  <a:gd name="connsiteX1" fmla="*/ 106885 w 3312712"/>
                  <a:gd name="connsiteY1" fmla="*/ 0 h 1124187"/>
                  <a:gd name="connsiteX2" fmla="*/ 112312 w 3312712"/>
                  <a:gd name="connsiteY2" fmla="*/ 85359 h 1124187"/>
                  <a:gd name="connsiteX3" fmla="*/ 138355 w 3312712"/>
                  <a:gd name="connsiteY3" fmla="*/ 85359 h 1124187"/>
                  <a:gd name="connsiteX4" fmla="*/ 138355 w 3312712"/>
                  <a:gd name="connsiteY4" fmla="*/ 122977 h 1124187"/>
                  <a:gd name="connsiteX5" fmla="*/ 161504 w 3312712"/>
                  <a:gd name="connsiteY5" fmla="*/ 122977 h 1124187"/>
                  <a:gd name="connsiteX6" fmla="*/ 161504 w 3312712"/>
                  <a:gd name="connsiteY6" fmla="*/ 143232 h 1124187"/>
                  <a:gd name="connsiteX7" fmla="*/ 381423 w 3312712"/>
                  <a:gd name="connsiteY7" fmla="*/ 143232 h 1124187"/>
                  <a:gd name="connsiteX8" fmla="*/ 381423 w 3312712"/>
                  <a:gd name="connsiteY8" fmla="*/ 169275 h 1124187"/>
                  <a:gd name="connsiteX9" fmla="*/ 381423 w 3312712"/>
                  <a:gd name="connsiteY9" fmla="*/ 169275 h 1124187"/>
                  <a:gd name="connsiteX10" fmla="*/ 398785 w 3312712"/>
                  <a:gd name="connsiteY10" fmla="*/ 186637 h 1124187"/>
                  <a:gd name="connsiteX11" fmla="*/ 474021 w 3312712"/>
                  <a:gd name="connsiteY11" fmla="*/ 186637 h 1124187"/>
                  <a:gd name="connsiteX12" fmla="*/ 474021 w 3312712"/>
                  <a:gd name="connsiteY12" fmla="*/ 209787 h 1124187"/>
                  <a:gd name="connsiteX13" fmla="*/ 494276 w 3312712"/>
                  <a:gd name="connsiteY13" fmla="*/ 209787 h 1124187"/>
                  <a:gd name="connsiteX14" fmla="*/ 494276 w 3312712"/>
                  <a:gd name="connsiteY14" fmla="*/ 230043 h 1124187"/>
                  <a:gd name="connsiteX15" fmla="*/ 792324 w 3312712"/>
                  <a:gd name="connsiteY15" fmla="*/ 230043 h 1124187"/>
                  <a:gd name="connsiteX16" fmla="*/ 792324 w 3312712"/>
                  <a:gd name="connsiteY16" fmla="*/ 285022 h 1124187"/>
                  <a:gd name="connsiteX17" fmla="*/ 910965 w 3312712"/>
                  <a:gd name="connsiteY17" fmla="*/ 285022 h 1124187"/>
                  <a:gd name="connsiteX18" fmla="*/ 910965 w 3312712"/>
                  <a:gd name="connsiteY18" fmla="*/ 331321 h 1124187"/>
                  <a:gd name="connsiteX19" fmla="*/ 928327 w 3312712"/>
                  <a:gd name="connsiteY19" fmla="*/ 331321 h 1124187"/>
                  <a:gd name="connsiteX20" fmla="*/ 928327 w 3312712"/>
                  <a:gd name="connsiteY20" fmla="*/ 394982 h 1124187"/>
                  <a:gd name="connsiteX21" fmla="*/ 986200 w 3312712"/>
                  <a:gd name="connsiteY21" fmla="*/ 394982 h 1124187"/>
                  <a:gd name="connsiteX22" fmla="*/ 986200 w 3312712"/>
                  <a:gd name="connsiteY22" fmla="*/ 444174 h 1124187"/>
                  <a:gd name="connsiteX23" fmla="*/ 1035393 w 3312712"/>
                  <a:gd name="connsiteY23" fmla="*/ 444174 h 1124187"/>
                  <a:gd name="connsiteX24" fmla="*/ 1035393 w 3312712"/>
                  <a:gd name="connsiteY24" fmla="*/ 481792 h 1124187"/>
                  <a:gd name="connsiteX25" fmla="*/ 1200332 w 3312712"/>
                  <a:gd name="connsiteY25" fmla="*/ 481792 h 1124187"/>
                  <a:gd name="connsiteX26" fmla="*/ 1200332 w 3312712"/>
                  <a:gd name="connsiteY26" fmla="*/ 519410 h 1124187"/>
                  <a:gd name="connsiteX27" fmla="*/ 1220588 w 3312712"/>
                  <a:gd name="connsiteY27" fmla="*/ 519410 h 1124187"/>
                  <a:gd name="connsiteX28" fmla="*/ 1220588 w 3312712"/>
                  <a:gd name="connsiteY28" fmla="*/ 591751 h 1124187"/>
                  <a:gd name="connsiteX29" fmla="*/ 1235056 w 3312712"/>
                  <a:gd name="connsiteY29" fmla="*/ 591751 h 1124187"/>
                  <a:gd name="connsiteX30" fmla="*/ 1235056 w 3312712"/>
                  <a:gd name="connsiteY30" fmla="*/ 609113 h 1124187"/>
                  <a:gd name="connsiteX31" fmla="*/ 1269780 w 3312712"/>
                  <a:gd name="connsiteY31" fmla="*/ 609113 h 1124187"/>
                  <a:gd name="connsiteX32" fmla="*/ 1269780 w 3312712"/>
                  <a:gd name="connsiteY32" fmla="*/ 681455 h 1124187"/>
                  <a:gd name="connsiteX33" fmla="*/ 1290036 w 3312712"/>
                  <a:gd name="connsiteY33" fmla="*/ 681455 h 1124187"/>
                  <a:gd name="connsiteX34" fmla="*/ 1290036 w 3312712"/>
                  <a:gd name="connsiteY34" fmla="*/ 771159 h 1124187"/>
                  <a:gd name="connsiteX35" fmla="*/ 1313185 w 3312712"/>
                  <a:gd name="connsiteY35" fmla="*/ 771159 h 1124187"/>
                  <a:gd name="connsiteX36" fmla="*/ 1313185 w 3312712"/>
                  <a:gd name="connsiteY36" fmla="*/ 808777 h 1124187"/>
                  <a:gd name="connsiteX37" fmla="*/ 1440507 w 3312712"/>
                  <a:gd name="connsiteY37" fmla="*/ 808777 h 1124187"/>
                  <a:gd name="connsiteX38" fmla="*/ 1440507 w 3312712"/>
                  <a:gd name="connsiteY38" fmla="*/ 881119 h 1124187"/>
                  <a:gd name="connsiteX39" fmla="*/ 1588084 w 3312712"/>
                  <a:gd name="connsiteY39" fmla="*/ 881119 h 1124187"/>
                  <a:gd name="connsiteX40" fmla="*/ 1588084 w 3312712"/>
                  <a:gd name="connsiteY40" fmla="*/ 915843 h 1124187"/>
                  <a:gd name="connsiteX41" fmla="*/ 1631489 w 3312712"/>
                  <a:gd name="connsiteY41" fmla="*/ 915843 h 1124187"/>
                  <a:gd name="connsiteX42" fmla="*/ 1631489 w 3312712"/>
                  <a:gd name="connsiteY42" fmla="*/ 973716 h 1124187"/>
                  <a:gd name="connsiteX43" fmla="*/ 1680681 w 3312712"/>
                  <a:gd name="connsiteY43" fmla="*/ 973716 h 1124187"/>
                  <a:gd name="connsiteX44" fmla="*/ 1680681 w 3312712"/>
                  <a:gd name="connsiteY44" fmla="*/ 1124187 h 1124187"/>
                  <a:gd name="connsiteX45" fmla="*/ 3312712 w 3312712"/>
                  <a:gd name="connsiteY45" fmla="*/ 1124187 h 1124187"/>
                  <a:gd name="connsiteX0" fmla="*/ 0 w 3339846"/>
                  <a:gd name="connsiteY0" fmla="*/ 0 h 1124187"/>
                  <a:gd name="connsiteX1" fmla="*/ 134019 w 3339846"/>
                  <a:gd name="connsiteY1" fmla="*/ 0 h 1124187"/>
                  <a:gd name="connsiteX2" fmla="*/ 139446 w 3339846"/>
                  <a:gd name="connsiteY2" fmla="*/ 85359 h 1124187"/>
                  <a:gd name="connsiteX3" fmla="*/ 165489 w 3339846"/>
                  <a:gd name="connsiteY3" fmla="*/ 85359 h 1124187"/>
                  <a:gd name="connsiteX4" fmla="*/ 165489 w 3339846"/>
                  <a:gd name="connsiteY4" fmla="*/ 122977 h 1124187"/>
                  <a:gd name="connsiteX5" fmla="*/ 188638 w 3339846"/>
                  <a:gd name="connsiteY5" fmla="*/ 122977 h 1124187"/>
                  <a:gd name="connsiteX6" fmla="*/ 188638 w 3339846"/>
                  <a:gd name="connsiteY6" fmla="*/ 143232 h 1124187"/>
                  <a:gd name="connsiteX7" fmla="*/ 408557 w 3339846"/>
                  <a:gd name="connsiteY7" fmla="*/ 143232 h 1124187"/>
                  <a:gd name="connsiteX8" fmla="*/ 408557 w 3339846"/>
                  <a:gd name="connsiteY8" fmla="*/ 169275 h 1124187"/>
                  <a:gd name="connsiteX9" fmla="*/ 408557 w 3339846"/>
                  <a:gd name="connsiteY9" fmla="*/ 169275 h 1124187"/>
                  <a:gd name="connsiteX10" fmla="*/ 425919 w 3339846"/>
                  <a:gd name="connsiteY10" fmla="*/ 186637 h 1124187"/>
                  <a:gd name="connsiteX11" fmla="*/ 501155 w 3339846"/>
                  <a:gd name="connsiteY11" fmla="*/ 186637 h 1124187"/>
                  <a:gd name="connsiteX12" fmla="*/ 501155 w 3339846"/>
                  <a:gd name="connsiteY12" fmla="*/ 209787 h 1124187"/>
                  <a:gd name="connsiteX13" fmla="*/ 521410 w 3339846"/>
                  <a:gd name="connsiteY13" fmla="*/ 209787 h 1124187"/>
                  <a:gd name="connsiteX14" fmla="*/ 521410 w 3339846"/>
                  <a:gd name="connsiteY14" fmla="*/ 230043 h 1124187"/>
                  <a:gd name="connsiteX15" fmla="*/ 819458 w 3339846"/>
                  <a:gd name="connsiteY15" fmla="*/ 230043 h 1124187"/>
                  <a:gd name="connsiteX16" fmla="*/ 819458 w 3339846"/>
                  <a:gd name="connsiteY16" fmla="*/ 285022 h 1124187"/>
                  <a:gd name="connsiteX17" fmla="*/ 938099 w 3339846"/>
                  <a:gd name="connsiteY17" fmla="*/ 285022 h 1124187"/>
                  <a:gd name="connsiteX18" fmla="*/ 938099 w 3339846"/>
                  <a:gd name="connsiteY18" fmla="*/ 331321 h 1124187"/>
                  <a:gd name="connsiteX19" fmla="*/ 955461 w 3339846"/>
                  <a:gd name="connsiteY19" fmla="*/ 331321 h 1124187"/>
                  <a:gd name="connsiteX20" fmla="*/ 955461 w 3339846"/>
                  <a:gd name="connsiteY20" fmla="*/ 394982 h 1124187"/>
                  <a:gd name="connsiteX21" fmla="*/ 1013334 w 3339846"/>
                  <a:gd name="connsiteY21" fmla="*/ 394982 h 1124187"/>
                  <a:gd name="connsiteX22" fmla="*/ 1013334 w 3339846"/>
                  <a:gd name="connsiteY22" fmla="*/ 444174 h 1124187"/>
                  <a:gd name="connsiteX23" fmla="*/ 1062527 w 3339846"/>
                  <a:gd name="connsiteY23" fmla="*/ 444174 h 1124187"/>
                  <a:gd name="connsiteX24" fmla="*/ 1062527 w 3339846"/>
                  <a:gd name="connsiteY24" fmla="*/ 481792 h 1124187"/>
                  <a:gd name="connsiteX25" fmla="*/ 1227466 w 3339846"/>
                  <a:gd name="connsiteY25" fmla="*/ 481792 h 1124187"/>
                  <a:gd name="connsiteX26" fmla="*/ 1227466 w 3339846"/>
                  <a:gd name="connsiteY26" fmla="*/ 519410 h 1124187"/>
                  <a:gd name="connsiteX27" fmla="*/ 1247722 w 3339846"/>
                  <a:gd name="connsiteY27" fmla="*/ 519410 h 1124187"/>
                  <a:gd name="connsiteX28" fmla="*/ 1247722 w 3339846"/>
                  <a:gd name="connsiteY28" fmla="*/ 591751 h 1124187"/>
                  <a:gd name="connsiteX29" fmla="*/ 1262190 w 3339846"/>
                  <a:gd name="connsiteY29" fmla="*/ 591751 h 1124187"/>
                  <a:gd name="connsiteX30" fmla="*/ 1262190 w 3339846"/>
                  <a:gd name="connsiteY30" fmla="*/ 609113 h 1124187"/>
                  <a:gd name="connsiteX31" fmla="*/ 1296914 w 3339846"/>
                  <a:gd name="connsiteY31" fmla="*/ 609113 h 1124187"/>
                  <a:gd name="connsiteX32" fmla="*/ 1296914 w 3339846"/>
                  <a:gd name="connsiteY32" fmla="*/ 681455 h 1124187"/>
                  <a:gd name="connsiteX33" fmla="*/ 1317170 w 3339846"/>
                  <a:gd name="connsiteY33" fmla="*/ 681455 h 1124187"/>
                  <a:gd name="connsiteX34" fmla="*/ 1317170 w 3339846"/>
                  <a:gd name="connsiteY34" fmla="*/ 771159 h 1124187"/>
                  <a:gd name="connsiteX35" fmla="*/ 1340319 w 3339846"/>
                  <a:gd name="connsiteY35" fmla="*/ 771159 h 1124187"/>
                  <a:gd name="connsiteX36" fmla="*/ 1340319 w 3339846"/>
                  <a:gd name="connsiteY36" fmla="*/ 808777 h 1124187"/>
                  <a:gd name="connsiteX37" fmla="*/ 1467641 w 3339846"/>
                  <a:gd name="connsiteY37" fmla="*/ 808777 h 1124187"/>
                  <a:gd name="connsiteX38" fmla="*/ 1467641 w 3339846"/>
                  <a:gd name="connsiteY38" fmla="*/ 881119 h 1124187"/>
                  <a:gd name="connsiteX39" fmla="*/ 1615218 w 3339846"/>
                  <a:gd name="connsiteY39" fmla="*/ 881119 h 1124187"/>
                  <a:gd name="connsiteX40" fmla="*/ 1615218 w 3339846"/>
                  <a:gd name="connsiteY40" fmla="*/ 915843 h 1124187"/>
                  <a:gd name="connsiteX41" fmla="*/ 1658623 w 3339846"/>
                  <a:gd name="connsiteY41" fmla="*/ 915843 h 1124187"/>
                  <a:gd name="connsiteX42" fmla="*/ 1658623 w 3339846"/>
                  <a:gd name="connsiteY42" fmla="*/ 973716 h 1124187"/>
                  <a:gd name="connsiteX43" fmla="*/ 1707815 w 3339846"/>
                  <a:gd name="connsiteY43" fmla="*/ 973716 h 1124187"/>
                  <a:gd name="connsiteX44" fmla="*/ 1707815 w 3339846"/>
                  <a:gd name="connsiteY44" fmla="*/ 1124187 h 1124187"/>
                  <a:gd name="connsiteX45" fmla="*/ 3339846 w 3339846"/>
                  <a:gd name="connsiteY45" fmla="*/ 1124187 h 1124187"/>
                  <a:gd name="connsiteX0" fmla="*/ 0 w 3339846"/>
                  <a:gd name="connsiteY0" fmla="*/ 0 h 1124187"/>
                  <a:gd name="connsiteX1" fmla="*/ 128592 w 3339846"/>
                  <a:gd name="connsiteY1" fmla="*/ 8140 h 1124187"/>
                  <a:gd name="connsiteX2" fmla="*/ 139446 w 3339846"/>
                  <a:gd name="connsiteY2" fmla="*/ 85359 h 1124187"/>
                  <a:gd name="connsiteX3" fmla="*/ 165489 w 3339846"/>
                  <a:gd name="connsiteY3" fmla="*/ 85359 h 1124187"/>
                  <a:gd name="connsiteX4" fmla="*/ 165489 w 3339846"/>
                  <a:gd name="connsiteY4" fmla="*/ 122977 h 1124187"/>
                  <a:gd name="connsiteX5" fmla="*/ 188638 w 3339846"/>
                  <a:gd name="connsiteY5" fmla="*/ 122977 h 1124187"/>
                  <a:gd name="connsiteX6" fmla="*/ 188638 w 3339846"/>
                  <a:gd name="connsiteY6" fmla="*/ 143232 h 1124187"/>
                  <a:gd name="connsiteX7" fmla="*/ 408557 w 3339846"/>
                  <a:gd name="connsiteY7" fmla="*/ 143232 h 1124187"/>
                  <a:gd name="connsiteX8" fmla="*/ 408557 w 3339846"/>
                  <a:gd name="connsiteY8" fmla="*/ 169275 h 1124187"/>
                  <a:gd name="connsiteX9" fmla="*/ 408557 w 3339846"/>
                  <a:gd name="connsiteY9" fmla="*/ 169275 h 1124187"/>
                  <a:gd name="connsiteX10" fmla="*/ 425919 w 3339846"/>
                  <a:gd name="connsiteY10" fmla="*/ 186637 h 1124187"/>
                  <a:gd name="connsiteX11" fmla="*/ 501155 w 3339846"/>
                  <a:gd name="connsiteY11" fmla="*/ 186637 h 1124187"/>
                  <a:gd name="connsiteX12" fmla="*/ 501155 w 3339846"/>
                  <a:gd name="connsiteY12" fmla="*/ 209787 h 1124187"/>
                  <a:gd name="connsiteX13" fmla="*/ 521410 w 3339846"/>
                  <a:gd name="connsiteY13" fmla="*/ 209787 h 1124187"/>
                  <a:gd name="connsiteX14" fmla="*/ 521410 w 3339846"/>
                  <a:gd name="connsiteY14" fmla="*/ 230043 h 1124187"/>
                  <a:gd name="connsiteX15" fmla="*/ 819458 w 3339846"/>
                  <a:gd name="connsiteY15" fmla="*/ 230043 h 1124187"/>
                  <a:gd name="connsiteX16" fmla="*/ 819458 w 3339846"/>
                  <a:gd name="connsiteY16" fmla="*/ 285022 h 1124187"/>
                  <a:gd name="connsiteX17" fmla="*/ 938099 w 3339846"/>
                  <a:gd name="connsiteY17" fmla="*/ 285022 h 1124187"/>
                  <a:gd name="connsiteX18" fmla="*/ 938099 w 3339846"/>
                  <a:gd name="connsiteY18" fmla="*/ 331321 h 1124187"/>
                  <a:gd name="connsiteX19" fmla="*/ 955461 w 3339846"/>
                  <a:gd name="connsiteY19" fmla="*/ 331321 h 1124187"/>
                  <a:gd name="connsiteX20" fmla="*/ 955461 w 3339846"/>
                  <a:gd name="connsiteY20" fmla="*/ 394982 h 1124187"/>
                  <a:gd name="connsiteX21" fmla="*/ 1013334 w 3339846"/>
                  <a:gd name="connsiteY21" fmla="*/ 394982 h 1124187"/>
                  <a:gd name="connsiteX22" fmla="*/ 1013334 w 3339846"/>
                  <a:gd name="connsiteY22" fmla="*/ 444174 h 1124187"/>
                  <a:gd name="connsiteX23" fmla="*/ 1062527 w 3339846"/>
                  <a:gd name="connsiteY23" fmla="*/ 444174 h 1124187"/>
                  <a:gd name="connsiteX24" fmla="*/ 1062527 w 3339846"/>
                  <a:gd name="connsiteY24" fmla="*/ 481792 h 1124187"/>
                  <a:gd name="connsiteX25" fmla="*/ 1227466 w 3339846"/>
                  <a:gd name="connsiteY25" fmla="*/ 481792 h 1124187"/>
                  <a:gd name="connsiteX26" fmla="*/ 1227466 w 3339846"/>
                  <a:gd name="connsiteY26" fmla="*/ 519410 h 1124187"/>
                  <a:gd name="connsiteX27" fmla="*/ 1247722 w 3339846"/>
                  <a:gd name="connsiteY27" fmla="*/ 519410 h 1124187"/>
                  <a:gd name="connsiteX28" fmla="*/ 1247722 w 3339846"/>
                  <a:gd name="connsiteY28" fmla="*/ 591751 h 1124187"/>
                  <a:gd name="connsiteX29" fmla="*/ 1262190 w 3339846"/>
                  <a:gd name="connsiteY29" fmla="*/ 591751 h 1124187"/>
                  <a:gd name="connsiteX30" fmla="*/ 1262190 w 3339846"/>
                  <a:gd name="connsiteY30" fmla="*/ 609113 h 1124187"/>
                  <a:gd name="connsiteX31" fmla="*/ 1296914 w 3339846"/>
                  <a:gd name="connsiteY31" fmla="*/ 609113 h 1124187"/>
                  <a:gd name="connsiteX32" fmla="*/ 1296914 w 3339846"/>
                  <a:gd name="connsiteY32" fmla="*/ 681455 h 1124187"/>
                  <a:gd name="connsiteX33" fmla="*/ 1317170 w 3339846"/>
                  <a:gd name="connsiteY33" fmla="*/ 681455 h 1124187"/>
                  <a:gd name="connsiteX34" fmla="*/ 1317170 w 3339846"/>
                  <a:gd name="connsiteY34" fmla="*/ 771159 h 1124187"/>
                  <a:gd name="connsiteX35" fmla="*/ 1340319 w 3339846"/>
                  <a:gd name="connsiteY35" fmla="*/ 771159 h 1124187"/>
                  <a:gd name="connsiteX36" fmla="*/ 1340319 w 3339846"/>
                  <a:gd name="connsiteY36" fmla="*/ 808777 h 1124187"/>
                  <a:gd name="connsiteX37" fmla="*/ 1467641 w 3339846"/>
                  <a:gd name="connsiteY37" fmla="*/ 808777 h 1124187"/>
                  <a:gd name="connsiteX38" fmla="*/ 1467641 w 3339846"/>
                  <a:gd name="connsiteY38" fmla="*/ 881119 h 1124187"/>
                  <a:gd name="connsiteX39" fmla="*/ 1615218 w 3339846"/>
                  <a:gd name="connsiteY39" fmla="*/ 881119 h 1124187"/>
                  <a:gd name="connsiteX40" fmla="*/ 1615218 w 3339846"/>
                  <a:gd name="connsiteY40" fmla="*/ 915843 h 1124187"/>
                  <a:gd name="connsiteX41" fmla="*/ 1658623 w 3339846"/>
                  <a:gd name="connsiteY41" fmla="*/ 915843 h 1124187"/>
                  <a:gd name="connsiteX42" fmla="*/ 1658623 w 3339846"/>
                  <a:gd name="connsiteY42" fmla="*/ 973716 h 1124187"/>
                  <a:gd name="connsiteX43" fmla="*/ 1707815 w 3339846"/>
                  <a:gd name="connsiteY43" fmla="*/ 973716 h 1124187"/>
                  <a:gd name="connsiteX44" fmla="*/ 1707815 w 3339846"/>
                  <a:gd name="connsiteY44" fmla="*/ 1124187 h 1124187"/>
                  <a:gd name="connsiteX45" fmla="*/ 3339846 w 3339846"/>
                  <a:gd name="connsiteY45" fmla="*/ 1124187 h 1124187"/>
                  <a:gd name="connsiteX0" fmla="*/ 0 w 3339846"/>
                  <a:gd name="connsiteY0" fmla="*/ 0 h 1124187"/>
                  <a:gd name="connsiteX1" fmla="*/ 144872 w 3339846"/>
                  <a:gd name="connsiteY1" fmla="*/ 8140 h 1124187"/>
                  <a:gd name="connsiteX2" fmla="*/ 139446 w 3339846"/>
                  <a:gd name="connsiteY2" fmla="*/ 85359 h 1124187"/>
                  <a:gd name="connsiteX3" fmla="*/ 165489 w 3339846"/>
                  <a:gd name="connsiteY3" fmla="*/ 85359 h 1124187"/>
                  <a:gd name="connsiteX4" fmla="*/ 165489 w 3339846"/>
                  <a:gd name="connsiteY4" fmla="*/ 122977 h 1124187"/>
                  <a:gd name="connsiteX5" fmla="*/ 188638 w 3339846"/>
                  <a:gd name="connsiteY5" fmla="*/ 122977 h 1124187"/>
                  <a:gd name="connsiteX6" fmla="*/ 188638 w 3339846"/>
                  <a:gd name="connsiteY6" fmla="*/ 143232 h 1124187"/>
                  <a:gd name="connsiteX7" fmla="*/ 408557 w 3339846"/>
                  <a:gd name="connsiteY7" fmla="*/ 143232 h 1124187"/>
                  <a:gd name="connsiteX8" fmla="*/ 408557 w 3339846"/>
                  <a:gd name="connsiteY8" fmla="*/ 169275 h 1124187"/>
                  <a:gd name="connsiteX9" fmla="*/ 408557 w 3339846"/>
                  <a:gd name="connsiteY9" fmla="*/ 169275 h 1124187"/>
                  <a:gd name="connsiteX10" fmla="*/ 425919 w 3339846"/>
                  <a:gd name="connsiteY10" fmla="*/ 186637 h 1124187"/>
                  <a:gd name="connsiteX11" fmla="*/ 501155 w 3339846"/>
                  <a:gd name="connsiteY11" fmla="*/ 186637 h 1124187"/>
                  <a:gd name="connsiteX12" fmla="*/ 501155 w 3339846"/>
                  <a:gd name="connsiteY12" fmla="*/ 209787 h 1124187"/>
                  <a:gd name="connsiteX13" fmla="*/ 521410 w 3339846"/>
                  <a:gd name="connsiteY13" fmla="*/ 209787 h 1124187"/>
                  <a:gd name="connsiteX14" fmla="*/ 521410 w 3339846"/>
                  <a:gd name="connsiteY14" fmla="*/ 230043 h 1124187"/>
                  <a:gd name="connsiteX15" fmla="*/ 819458 w 3339846"/>
                  <a:gd name="connsiteY15" fmla="*/ 230043 h 1124187"/>
                  <a:gd name="connsiteX16" fmla="*/ 819458 w 3339846"/>
                  <a:gd name="connsiteY16" fmla="*/ 285022 h 1124187"/>
                  <a:gd name="connsiteX17" fmla="*/ 938099 w 3339846"/>
                  <a:gd name="connsiteY17" fmla="*/ 285022 h 1124187"/>
                  <a:gd name="connsiteX18" fmla="*/ 938099 w 3339846"/>
                  <a:gd name="connsiteY18" fmla="*/ 331321 h 1124187"/>
                  <a:gd name="connsiteX19" fmla="*/ 955461 w 3339846"/>
                  <a:gd name="connsiteY19" fmla="*/ 331321 h 1124187"/>
                  <a:gd name="connsiteX20" fmla="*/ 955461 w 3339846"/>
                  <a:gd name="connsiteY20" fmla="*/ 394982 h 1124187"/>
                  <a:gd name="connsiteX21" fmla="*/ 1013334 w 3339846"/>
                  <a:gd name="connsiteY21" fmla="*/ 394982 h 1124187"/>
                  <a:gd name="connsiteX22" fmla="*/ 1013334 w 3339846"/>
                  <a:gd name="connsiteY22" fmla="*/ 444174 h 1124187"/>
                  <a:gd name="connsiteX23" fmla="*/ 1062527 w 3339846"/>
                  <a:gd name="connsiteY23" fmla="*/ 444174 h 1124187"/>
                  <a:gd name="connsiteX24" fmla="*/ 1062527 w 3339846"/>
                  <a:gd name="connsiteY24" fmla="*/ 481792 h 1124187"/>
                  <a:gd name="connsiteX25" fmla="*/ 1227466 w 3339846"/>
                  <a:gd name="connsiteY25" fmla="*/ 481792 h 1124187"/>
                  <a:gd name="connsiteX26" fmla="*/ 1227466 w 3339846"/>
                  <a:gd name="connsiteY26" fmla="*/ 519410 h 1124187"/>
                  <a:gd name="connsiteX27" fmla="*/ 1247722 w 3339846"/>
                  <a:gd name="connsiteY27" fmla="*/ 519410 h 1124187"/>
                  <a:gd name="connsiteX28" fmla="*/ 1247722 w 3339846"/>
                  <a:gd name="connsiteY28" fmla="*/ 591751 h 1124187"/>
                  <a:gd name="connsiteX29" fmla="*/ 1262190 w 3339846"/>
                  <a:gd name="connsiteY29" fmla="*/ 591751 h 1124187"/>
                  <a:gd name="connsiteX30" fmla="*/ 1262190 w 3339846"/>
                  <a:gd name="connsiteY30" fmla="*/ 609113 h 1124187"/>
                  <a:gd name="connsiteX31" fmla="*/ 1296914 w 3339846"/>
                  <a:gd name="connsiteY31" fmla="*/ 609113 h 1124187"/>
                  <a:gd name="connsiteX32" fmla="*/ 1296914 w 3339846"/>
                  <a:gd name="connsiteY32" fmla="*/ 681455 h 1124187"/>
                  <a:gd name="connsiteX33" fmla="*/ 1317170 w 3339846"/>
                  <a:gd name="connsiteY33" fmla="*/ 681455 h 1124187"/>
                  <a:gd name="connsiteX34" fmla="*/ 1317170 w 3339846"/>
                  <a:gd name="connsiteY34" fmla="*/ 771159 h 1124187"/>
                  <a:gd name="connsiteX35" fmla="*/ 1340319 w 3339846"/>
                  <a:gd name="connsiteY35" fmla="*/ 771159 h 1124187"/>
                  <a:gd name="connsiteX36" fmla="*/ 1340319 w 3339846"/>
                  <a:gd name="connsiteY36" fmla="*/ 808777 h 1124187"/>
                  <a:gd name="connsiteX37" fmla="*/ 1467641 w 3339846"/>
                  <a:gd name="connsiteY37" fmla="*/ 808777 h 1124187"/>
                  <a:gd name="connsiteX38" fmla="*/ 1467641 w 3339846"/>
                  <a:gd name="connsiteY38" fmla="*/ 881119 h 1124187"/>
                  <a:gd name="connsiteX39" fmla="*/ 1615218 w 3339846"/>
                  <a:gd name="connsiteY39" fmla="*/ 881119 h 1124187"/>
                  <a:gd name="connsiteX40" fmla="*/ 1615218 w 3339846"/>
                  <a:gd name="connsiteY40" fmla="*/ 915843 h 1124187"/>
                  <a:gd name="connsiteX41" fmla="*/ 1658623 w 3339846"/>
                  <a:gd name="connsiteY41" fmla="*/ 915843 h 1124187"/>
                  <a:gd name="connsiteX42" fmla="*/ 1658623 w 3339846"/>
                  <a:gd name="connsiteY42" fmla="*/ 973716 h 1124187"/>
                  <a:gd name="connsiteX43" fmla="*/ 1707815 w 3339846"/>
                  <a:gd name="connsiteY43" fmla="*/ 973716 h 1124187"/>
                  <a:gd name="connsiteX44" fmla="*/ 1707815 w 3339846"/>
                  <a:gd name="connsiteY44" fmla="*/ 1124187 h 1124187"/>
                  <a:gd name="connsiteX45" fmla="*/ 3339846 w 3339846"/>
                  <a:gd name="connsiteY45" fmla="*/ 1124187 h 1124187"/>
                  <a:gd name="connsiteX0" fmla="*/ 0 w 3339846"/>
                  <a:gd name="connsiteY0" fmla="*/ 0 h 1124187"/>
                  <a:gd name="connsiteX1" fmla="*/ 144872 w 3339846"/>
                  <a:gd name="connsiteY1" fmla="*/ 8140 h 1124187"/>
                  <a:gd name="connsiteX2" fmla="*/ 139446 w 3339846"/>
                  <a:gd name="connsiteY2" fmla="*/ 85359 h 1124187"/>
                  <a:gd name="connsiteX3" fmla="*/ 165489 w 3339846"/>
                  <a:gd name="connsiteY3" fmla="*/ 85359 h 1124187"/>
                  <a:gd name="connsiteX4" fmla="*/ 165489 w 3339846"/>
                  <a:gd name="connsiteY4" fmla="*/ 122977 h 1124187"/>
                  <a:gd name="connsiteX5" fmla="*/ 188638 w 3339846"/>
                  <a:gd name="connsiteY5" fmla="*/ 122977 h 1124187"/>
                  <a:gd name="connsiteX6" fmla="*/ 188638 w 3339846"/>
                  <a:gd name="connsiteY6" fmla="*/ 143232 h 1124187"/>
                  <a:gd name="connsiteX7" fmla="*/ 408557 w 3339846"/>
                  <a:gd name="connsiteY7" fmla="*/ 143232 h 1124187"/>
                  <a:gd name="connsiteX8" fmla="*/ 408557 w 3339846"/>
                  <a:gd name="connsiteY8" fmla="*/ 169275 h 1124187"/>
                  <a:gd name="connsiteX9" fmla="*/ 408557 w 3339846"/>
                  <a:gd name="connsiteY9" fmla="*/ 169275 h 1124187"/>
                  <a:gd name="connsiteX10" fmla="*/ 425919 w 3339846"/>
                  <a:gd name="connsiteY10" fmla="*/ 186637 h 1124187"/>
                  <a:gd name="connsiteX11" fmla="*/ 501155 w 3339846"/>
                  <a:gd name="connsiteY11" fmla="*/ 186637 h 1124187"/>
                  <a:gd name="connsiteX12" fmla="*/ 501155 w 3339846"/>
                  <a:gd name="connsiteY12" fmla="*/ 209787 h 1124187"/>
                  <a:gd name="connsiteX13" fmla="*/ 521410 w 3339846"/>
                  <a:gd name="connsiteY13" fmla="*/ 209787 h 1124187"/>
                  <a:gd name="connsiteX14" fmla="*/ 521410 w 3339846"/>
                  <a:gd name="connsiteY14" fmla="*/ 230043 h 1124187"/>
                  <a:gd name="connsiteX15" fmla="*/ 819458 w 3339846"/>
                  <a:gd name="connsiteY15" fmla="*/ 230043 h 1124187"/>
                  <a:gd name="connsiteX16" fmla="*/ 819458 w 3339846"/>
                  <a:gd name="connsiteY16" fmla="*/ 285022 h 1124187"/>
                  <a:gd name="connsiteX17" fmla="*/ 938099 w 3339846"/>
                  <a:gd name="connsiteY17" fmla="*/ 285022 h 1124187"/>
                  <a:gd name="connsiteX18" fmla="*/ 938099 w 3339846"/>
                  <a:gd name="connsiteY18" fmla="*/ 331321 h 1124187"/>
                  <a:gd name="connsiteX19" fmla="*/ 955461 w 3339846"/>
                  <a:gd name="connsiteY19" fmla="*/ 331321 h 1124187"/>
                  <a:gd name="connsiteX20" fmla="*/ 955461 w 3339846"/>
                  <a:gd name="connsiteY20" fmla="*/ 394982 h 1124187"/>
                  <a:gd name="connsiteX21" fmla="*/ 1013334 w 3339846"/>
                  <a:gd name="connsiteY21" fmla="*/ 394982 h 1124187"/>
                  <a:gd name="connsiteX22" fmla="*/ 1013334 w 3339846"/>
                  <a:gd name="connsiteY22" fmla="*/ 444174 h 1124187"/>
                  <a:gd name="connsiteX23" fmla="*/ 1062527 w 3339846"/>
                  <a:gd name="connsiteY23" fmla="*/ 444174 h 1124187"/>
                  <a:gd name="connsiteX24" fmla="*/ 1062527 w 3339846"/>
                  <a:gd name="connsiteY24" fmla="*/ 481792 h 1124187"/>
                  <a:gd name="connsiteX25" fmla="*/ 1227466 w 3339846"/>
                  <a:gd name="connsiteY25" fmla="*/ 481792 h 1124187"/>
                  <a:gd name="connsiteX26" fmla="*/ 1227466 w 3339846"/>
                  <a:gd name="connsiteY26" fmla="*/ 519410 h 1124187"/>
                  <a:gd name="connsiteX27" fmla="*/ 1247722 w 3339846"/>
                  <a:gd name="connsiteY27" fmla="*/ 519410 h 1124187"/>
                  <a:gd name="connsiteX28" fmla="*/ 1247722 w 3339846"/>
                  <a:gd name="connsiteY28" fmla="*/ 591751 h 1124187"/>
                  <a:gd name="connsiteX29" fmla="*/ 1262190 w 3339846"/>
                  <a:gd name="connsiteY29" fmla="*/ 591751 h 1124187"/>
                  <a:gd name="connsiteX30" fmla="*/ 1262190 w 3339846"/>
                  <a:gd name="connsiteY30" fmla="*/ 609113 h 1124187"/>
                  <a:gd name="connsiteX31" fmla="*/ 1296914 w 3339846"/>
                  <a:gd name="connsiteY31" fmla="*/ 609113 h 1124187"/>
                  <a:gd name="connsiteX32" fmla="*/ 1296914 w 3339846"/>
                  <a:gd name="connsiteY32" fmla="*/ 681455 h 1124187"/>
                  <a:gd name="connsiteX33" fmla="*/ 1317170 w 3339846"/>
                  <a:gd name="connsiteY33" fmla="*/ 681455 h 1124187"/>
                  <a:gd name="connsiteX34" fmla="*/ 1317170 w 3339846"/>
                  <a:gd name="connsiteY34" fmla="*/ 771159 h 1124187"/>
                  <a:gd name="connsiteX35" fmla="*/ 1340319 w 3339846"/>
                  <a:gd name="connsiteY35" fmla="*/ 771159 h 1124187"/>
                  <a:gd name="connsiteX36" fmla="*/ 1340319 w 3339846"/>
                  <a:gd name="connsiteY36" fmla="*/ 808777 h 1124187"/>
                  <a:gd name="connsiteX37" fmla="*/ 1467641 w 3339846"/>
                  <a:gd name="connsiteY37" fmla="*/ 808777 h 1124187"/>
                  <a:gd name="connsiteX38" fmla="*/ 1467641 w 3339846"/>
                  <a:gd name="connsiteY38" fmla="*/ 881119 h 1124187"/>
                  <a:gd name="connsiteX39" fmla="*/ 1615218 w 3339846"/>
                  <a:gd name="connsiteY39" fmla="*/ 881119 h 1124187"/>
                  <a:gd name="connsiteX40" fmla="*/ 1615218 w 3339846"/>
                  <a:gd name="connsiteY40" fmla="*/ 915843 h 1124187"/>
                  <a:gd name="connsiteX41" fmla="*/ 1658623 w 3339846"/>
                  <a:gd name="connsiteY41" fmla="*/ 915843 h 1124187"/>
                  <a:gd name="connsiteX42" fmla="*/ 1658623 w 3339846"/>
                  <a:gd name="connsiteY42" fmla="*/ 973716 h 1124187"/>
                  <a:gd name="connsiteX43" fmla="*/ 1707815 w 3339846"/>
                  <a:gd name="connsiteY43" fmla="*/ 973716 h 1124187"/>
                  <a:gd name="connsiteX44" fmla="*/ 1707815 w 3339846"/>
                  <a:gd name="connsiteY44" fmla="*/ 1124187 h 1124187"/>
                  <a:gd name="connsiteX45" fmla="*/ 3339846 w 3339846"/>
                  <a:gd name="connsiteY45" fmla="*/ 1124187 h 1124187"/>
                  <a:gd name="connsiteX0" fmla="*/ 0 w 3339846"/>
                  <a:gd name="connsiteY0" fmla="*/ 0 h 1124187"/>
                  <a:gd name="connsiteX1" fmla="*/ 134019 w 3339846"/>
                  <a:gd name="connsiteY1" fmla="*/ 8140 h 1124187"/>
                  <a:gd name="connsiteX2" fmla="*/ 139446 w 3339846"/>
                  <a:gd name="connsiteY2" fmla="*/ 85359 h 1124187"/>
                  <a:gd name="connsiteX3" fmla="*/ 165489 w 3339846"/>
                  <a:gd name="connsiteY3" fmla="*/ 85359 h 1124187"/>
                  <a:gd name="connsiteX4" fmla="*/ 165489 w 3339846"/>
                  <a:gd name="connsiteY4" fmla="*/ 122977 h 1124187"/>
                  <a:gd name="connsiteX5" fmla="*/ 188638 w 3339846"/>
                  <a:gd name="connsiteY5" fmla="*/ 122977 h 1124187"/>
                  <a:gd name="connsiteX6" fmla="*/ 188638 w 3339846"/>
                  <a:gd name="connsiteY6" fmla="*/ 143232 h 1124187"/>
                  <a:gd name="connsiteX7" fmla="*/ 408557 w 3339846"/>
                  <a:gd name="connsiteY7" fmla="*/ 143232 h 1124187"/>
                  <a:gd name="connsiteX8" fmla="*/ 408557 w 3339846"/>
                  <a:gd name="connsiteY8" fmla="*/ 169275 h 1124187"/>
                  <a:gd name="connsiteX9" fmla="*/ 408557 w 3339846"/>
                  <a:gd name="connsiteY9" fmla="*/ 169275 h 1124187"/>
                  <a:gd name="connsiteX10" fmla="*/ 425919 w 3339846"/>
                  <a:gd name="connsiteY10" fmla="*/ 186637 h 1124187"/>
                  <a:gd name="connsiteX11" fmla="*/ 501155 w 3339846"/>
                  <a:gd name="connsiteY11" fmla="*/ 186637 h 1124187"/>
                  <a:gd name="connsiteX12" fmla="*/ 501155 w 3339846"/>
                  <a:gd name="connsiteY12" fmla="*/ 209787 h 1124187"/>
                  <a:gd name="connsiteX13" fmla="*/ 521410 w 3339846"/>
                  <a:gd name="connsiteY13" fmla="*/ 209787 h 1124187"/>
                  <a:gd name="connsiteX14" fmla="*/ 521410 w 3339846"/>
                  <a:gd name="connsiteY14" fmla="*/ 230043 h 1124187"/>
                  <a:gd name="connsiteX15" fmla="*/ 819458 w 3339846"/>
                  <a:gd name="connsiteY15" fmla="*/ 230043 h 1124187"/>
                  <a:gd name="connsiteX16" fmla="*/ 819458 w 3339846"/>
                  <a:gd name="connsiteY16" fmla="*/ 285022 h 1124187"/>
                  <a:gd name="connsiteX17" fmla="*/ 938099 w 3339846"/>
                  <a:gd name="connsiteY17" fmla="*/ 285022 h 1124187"/>
                  <a:gd name="connsiteX18" fmla="*/ 938099 w 3339846"/>
                  <a:gd name="connsiteY18" fmla="*/ 331321 h 1124187"/>
                  <a:gd name="connsiteX19" fmla="*/ 955461 w 3339846"/>
                  <a:gd name="connsiteY19" fmla="*/ 331321 h 1124187"/>
                  <a:gd name="connsiteX20" fmla="*/ 955461 w 3339846"/>
                  <a:gd name="connsiteY20" fmla="*/ 394982 h 1124187"/>
                  <a:gd name="connsiteX21" fmla="*/ 1013334 w 3339846"/>
                  <a:gd name="connsiteY21" fmla="*/ 394982 h 1124187"/>
                  <a:gd name="connsiteX22" fmla="*/ 1013334 w 3339846"/>
                  <a:gd name="connsiteY22" fmla="*/ 444174 h 1124187"/>
                  <a:gd name="connsiteX23" fmla="*/ 1062527 w 3339846"/>
                  <a:gd name="connsiteY23" fmla="*/ 444174 h 1124187"/>
                  <a:gd name="connsiteX24" fmla="*/ 1062527 w 3339846"/>
                  <a:gd name="connsiteY24" fmla="*/ 481792 h 1124187"/>
                  <a:gd name="connsiteX25" fmla="*/ 1227466 w 3339846"/>
                  <a:gd name="connsiteY25" fmla="*/ 481792 h 1124187"/>
                  <a:gd name="connsiteX26" fmla="*/ 1227466 w 3339846"/>
                  <a:gd name="connsiteY26" fmla="*/ 519410 h 1124187"/>
                  <a:gd name="connsiteX27" fmla="*/ 1247722 w 3339846"/>
                  <a:gd name="connsiteY27" fmla="*/ 519410 h 1124187"/>
                  <a:gd name="connsiteX28" fmla="*/ 1247722 w 3339846"/>
                  <a:gd name="connsiteY28" fmla="*/ 591751 h 1124187"/>
                  <a:gd name="connsiteX29" fmla="*/ 1262190 w 3339846"/>
                  <a:gd name="connsiteY29" fmla="*/ 591751 h 1124187"/>
                  <a:gd name="connsiteX30" fmla="*/ 1262190 w 3339846"/>
                  <a:gd name="connsiteY30" fmla="*/ 609113 h 1124187"/>
                  <a:gd name="connsiteX31" fmla="*/ 1296914 w 3339846"/>
                  <a:gd name="connsiteY31" fmla="*/ 609113 h 1124187"/>
                  <a:gd name="connsiteX32" fmla="*/ 1296914 w 3339846"/>
                  <a:gd name="connsiteY32" fmla="*/ 681455 h 1124187"/>
                  <a:gd name="connsiteX33" fmla="*/ 1317170 w 3339846"/>
                  <a:gd name="connsiteY33" fmla="*/ 681455 h 1124187"/>
                  <a:gd name="connsiteX34" fmla="*/ 1317170 w 3339846"/>
                  <a:gd name="connsiteY34" fmla="*/ 771159 h 1124187"/>
                  <a:gd name="connsiteX35" fmla="*/ 1340319 w 3339846"/>
                  <a:gd name="connsiteY35" fmla="*/ 771159 h 1124187"/>
                  <a:gd name="connsiteX36" fmla="*/ 1340319 w 3339846"/>
                  <a:gd name="connsiteY36" fmla="*/ 808777 h 1124187"/>
                  <a:gd name="connsiteX37" fmla="*/ 1467641 w 3339846"/>
                  <a:gd name="connsiteY37" fmla="*/ 808777 h 1124187"/>
                  <a:gd name="connsiteX38" fmla="*/ 1467641 w 3339846"/>
                  <a:gd name="connsiteY38" fmla="*/ 881119 h 1124187"/>
                  <a:gd name="connsiteX39" fmla="*/ 1615218 w 3339846"/>
                  <a:gd name="connsiteY39" fmla="*/ 881119 h 1124187"/>
                  <a:gd name="connsiteX40" fmla="*/ 1615218 w 3339846"/>
                  <a:gd name="connsiteY40" fmla="*/ 915843 h 1124187"/>
                  <a:gd name="connsiteX41" fmla="*/ 1658623 w 3339846"/>
                  <a:gd name="connsiteY41" fmla="*/ 915843 h 1124187"/>
                  <a:gd name="connsiteX42" fmla="*/ 1658623 w 3339846"/>
                  <a:gd name="connsiteY42" fmla="*/ 973716 h 1124187"/>
                  <a:gd name="connsiteX43" fmla="*/ 1707815 w 3339846"/>
                  <a:gd name="connsiteY43" fmla="*/ 973716 h 1124187"/>
                  <a:gd name="connsiteX44" fmla="*/ 1707815 w 3339846"/>
                  <a:gd name="connsiteY44" fmla="*/ 1124187 h 1124187"/>
                  <a:gd name="connsiteX45" fmla="*/ 3339846 w 3339846"/>
                  <a:gd name="connsiteY45" fmla="*/ 1124187 h 1124187"/>
                  <a:gd name="connsiteX0" fmla="*/ 0 w 3339846"/>
                  <a:gd name="connsiteY0" fmla="*/ 0 h 1124187"/>
                  <a:gd name="connsiteX1" fmla="*/ 144872 w 3339846"/>
                  <a:gd name="connsiteY1" fmla="*/ 8140 h 1124187"/>
                  <a:gd name="connsiteX2" fmla="*/ 139446 w 3339846"/>
                  <a:gd name="connsiteY2" fmla="*/ 85359 h 1124187"/>
                  <a:gd name="connsiteX3" fmla="*/ 165489 w 3339846"/>
                  <a:gd name="connsiteY3" fmla="*/ 85359 h 1124187"/>
                  <a:gd name="connsiteX4" fmla="*/ 165489 w 3339846"/>
                  <a:gd name="connsiteY4" fmla="*/ 122977 h 1124187"/>
                  <a:gd name="connsiteX5" fmla="*/ 188638 w 3339846"/>
                  <a:gd name="connsiteY5" fmla="*/ 122977 h 1124187"/>
                  <a:gd name="connsiteX6" fmla="*/ 188638 w 3339846"/>
                  <a:gd name="connsiteY6" fmla="*/ 143232 h 1124187"/>
                  <a:gd name="connsiteX7" fmla="*/ 408557 w 3339846"/>
                  <a:gd name="connsiteY7" fmla="*/ 143232 h 1124187"/>
                  <a:gd name="connsiteX8" fmla="*/ 408557 w 3339846"/>
                  <a:gd name="connsiteY8" fmla="*/ 169275 h 1124187"/>
                  <a:gd name="connsiteX9" fmla="*/ 408557 w 3339846"/>
                  <a:gd name="connsiteY9" fmla="*/ 169275 h 1124187"/>
                  <a:gd name="connsiteX10" fmla="*/ 425919 w 3339846"/>
                  <a:gd name="connsiteY10" fmla="*/ 186637 h 1124187"/>
                  <a:gd name="connsiteX11" fmla="*/ 501155 w 3339846"/>
                  <a:gd name="connsiteY11" fmla="*/ 186637 h 1124187"/>
                  <a:gd name="connsiteX12" fmla="*/ 501155 w 3339846"/>
                  <a:gd name="connsiteY12" fmla="*/ 209787 h 1124187"/>
                  <a:gd name="connsiteX13" fmla="*/ 521410 w 3339846"/>
                  <a:gd name="connsiteY13" fmla="*/ 209787 h 1124187"/>
                  <a:gd name="connsiteX14" fmla="*/ 521410 w 3339846"/>
                  <a:gd name="connsiteY14" fmla="*/ 230043 h 1124187"/>
                  <a:gd name="connsiteX15" fmla="*/ 819458 w 3339846"/>
                  <a:gd name="connsiteY15" fmla="*/ 230043 h 1124187"/>
                  <a:gd name="connsiteX16" fmla="*/ 819458 w 3339846"/>
                  <a:gd name="connsiteY16" fmla="*/ 285022 h 1124187"/>
                  <a:gd name="connsiteX17" fmla="*/ 938099 w 3339846"/>
                  <a:gd name="connsiteY17" fmla="*/ 285022 h 1124187"/>
                  <a:gd name="connsiteX18" fmla="*/ 938099 w 3339846"/>
                  <a:gd name="connsiteY18" fmla="*/ 331321 h 1124187"/>
                  <a:gd name="connsiteX19" fmla="*/ 955461 w 3339846"/>
                  <a:gd name="connsiteY19" fmla="*/ 331321 h 1124187"/>
                  <a:gd name="connsiteX20" fmla="*/ 955461 w 3339846"/>
                  <a:gd name="connsiteY20" fmla="*/ 394982 h 1124187"/>
                  <a:gd name="connsiteX21" fmla="*/ 1013334 w 3339846"/>
                  <a:gd name="connsiteY21" fmla="*/ 394982 h 1124187"/>
                  <a:gd name="connsiteX22" fmla="*/ 1013334 w 3339846"/>
                  <a:gd name="connsiteY22" fmla="*/ 444174 h 1124187"/>
                  <a:gd name="connsiteX23" fmla="*/ 1062527 w 3339846"/>
                  <a:gd name="connsiteY23" fmla="*/ 444174 h 1124187"/>
                  <a:gd name="connsiteX24" fmla="*/ 1062527 w 3339846"/>
                  <a:gd name="connsiteY24" fmla="*/ 481792 h 1124187"/>
                  <a:gd name="connsiteX25" fmla="*/ 1227466 w 3339846"/>
                  <a:gd name="connsiteY25" fmla="*/ 481792 h 1124187"/>
                  <a:gd name="connsiteX26" fmla="*/ 1227466 w 3339846"/>
                  <a:gd name="connsiteY26" fmla="*/ 519410 h 1124187"/>
                  <a:gd name="connsiteX27" fmla="*/ 1247722 w 3339846"/>
                  <a:gd name="connsiteY27" fmla="*/ 519410 h 1124187"/>
                  <a:gd name="connsiteX28" fmla="*/ 1247722 w 3339846"/>
                  <a:gd name="connsiteY28" fmla="*/ 591751 h 1124187"/>
                  <a:gd name="connsiteX29" fmla="*/ 1262190 w 3339846"/>
                  <a:gd name="connsiteY29" fmla="*/ 591751 h 1124187"/>
                  <a:gd name="connsiteX30" fmla="*/ 1262190 w 3339846"/>
                  <a:gd name="connsiteY30" fmla="*/ 609113 h 1124187"/>
                  <a:gd name="connsiteX31" fmla="*/ 1296914 w 3339846"/>
                  <a:gd name="connsiteY31" fmla="*/ 609113 h 1124187"/>
                  <a:gd name="connsiteX32" fmla="*/ 1296914 w 3339846"/>
                  <a:gd name="connsiteY32" fmla="*/ 681455 h 1124187"/>
                  <a:gd name="connsiteX33" fmla="*/ 1317170 w 3339846"/>
                  <a:gd name="connsiteY33" fmla="*/ 681455 h 1124187"/>
                  <a:gd name="connsiteX34" fmla="*/ 1317170 w 3339846"/>
                  <a:gd name="connsiteY34" fmla="*/ 771159 h 1124187"/>
                  <a:gd name="connsiteX35" fmla="*/ 1340319 w 3339846"/>
                  <a:gd name="connsiteY35" fmla="*/ 771159 h 1124187"/>
                  <a:gd name="connsiteX36" fmla="*/ 1340319 w 3339846"/>
                  <a:gd name="connsiteY36" fmla="*/ 808777 h 1124187"/>
                  <a:gd name="connsiteX37" fmla="*/ 1467641 w 3339846"/>
                  <a:gd name="connsiteY37" fmla="*/ 808777 h 1124187"/>
                  <a:gd name="connsiteX38" fmla="*/ 1467641 w 3339846"/>
                  <a:gd name="connsiteY38" fmla="*/ 881119 h 1124187"/>
                  <a:gd name="connsiteX39" fmla="*/ 1615218 w 3339846"/>
                  <a:gd name="connsiteY39" fmla="*/ 881119 h 1124187"/>
                  <a:gd name="connsiteX40" fmla="*/ 1615218 w 3339846"/>
                  <a:gd name="connsiteY40" fmla="*/ 915843 h 1124187"/>
                  <a:gd name="connsiteX41" fmla="*/ 1658623 w 3339846"/>
                  <a:gd name="connsiteY41" fmla="*/ 915843 h 1124187"/>
                  <a:gd name="connsiteX42" fmla="*/ 1658623 w 3339846"/>
                  <a:gd name="connsiteY42" fmla="*/ 973716 h 1124187"/>
                  <a:gd name="connsiteX43" fmla="*/ 1707815 w 3339846"/>
                  <a:gd name="connsiteY43" fmla="*/ 973716 h 1124187"/>
                  <a:gd name="connsiteX44" fmla="*/ 1707815 w 3339846"/>
                  <a:gd name="connsiteY44" fmla="*/ 1124187 h 1124187"/>
                  <a:gd name="connsiteX45" fmla="*/ 3339846 w 3339846"/>
                  <a:gd name="connsiteY45" fmla="*/ 1124187 h 1124187"/>
                  <a:gd name="connsiteX0" fmla="*/ 0 w 3339846"/>
                  <a:gd name="connsiteY0" fmla="*/ 0 h 1124187"/>
                  <a:gd name="connsiteX1" fmla="*/ 144872 w 3339846"/>
                  <a:gd name="connsiteY1" fmla="*/ 8140 h 1124187"/>
                  <a:gd name="connsiteX2" fmla="*/ 139446 w 3339846"/>
                  <a:gd name="connsiteY2" fmla="*/ 85359 h 1124187"/>
                  <a:gd name="connsiteX3" fmla="*/ 165489 w 3339846"/>
                  <a:gd name="connsiteY3" fmla="*/ 85359 h 1124187"/>
                  <a:gd name="connsiteX4" fmla="*/ 165489 w 3339846"/>
                  <a:gd name="connsiteY4" fmla="*/ 122977 h 1124187"/>
                  <a:gd name="connsiteX5" fmla="*/ 188638 w 3339846"/>
                  <a:gd name="connsiteY5" fmla="*/ 122977 h 1124187"/>
                  <a:gd name="connsiteX6" fmla="*/ 188638 w 3339846"/>
                  <a:gd name="connsiteY6" fmla="*/ 143232 h 1124187"/>
                  <a:gd name="connsiteX7" fmla="*/ 408557 w 3339846"/>
                  <a:gd name="connsiteY7" fmla="*/ 143232 h 1124187"/>
                  <a:gd name="connsiteX8" fmla="*/ 408557 w 3339846"/>
                  <a:gd name="connsiteY8" fmla="*/ 169275 h 1124187"/>
                  <a:gd name="connsiteX9" fmla="*/ 408557 w 3339846"/>
                  <a:gd name="connsiteY9" fmla="*/ 169275 h 1124187"/>
                  <a:gd name="connsiteX10" fmla="*/ 425919 w 3339846"/>
                  <a:gd name="connsiteY10" fmla="*/ 186637 h 1124187"/>
                  <a:gd name="connsiteX11" fmla="*/ 501155 w 3339846"/>
                  <a:gd name="connsiteY11" fmla="*/ 186637 h 1124187"/>
                  <a:gd name="connsiteX12" fmla="*/ 501155 w 3339846"/>
                  <a:gd name="connsiteY12" fmla="*/ 209787 h 1124187"/>
                  <a:gd name="connsiteX13" fmla="*/ 521410 w 3339846"/>
                  <a:gd name="connsiteY13" fmla="*/ 209787 h 1124187"/>
                  <a:gd name="connsiteX14" fmla="*/ 521410 w 3339846"/>
                  <a:gd name="connsiteY14" fmla="*/ 230043 h 1124187"/>
                  <a:gd name="connsiteX15" fmla="*/ 819458 w 3339846"/>
                  <a:gd name="connsiteY15" fmla="*/ 230043 h 1124187"/>
                  <a:gd name="connsiteX16" fmla="*/ 819458 w 3339846"/>
                  <a:gd name="connsiteY16" fmla="*/ 285022 h 1124187"/>
                  <a:gd name="connsiteX17" fmla="*/ 938099 w 3339846"/>
                  <a:gd name="connsiteY17" fmla="*/ 285022 h 1124187"/>
                  <a:gd name="connsiteX18" fmla="*/ 938099 w 3339846"/>
                  <a:gd name="connsiteY18" fmla="*/ 331321 h 1124187"/>
                  <a:gd name="connsiteX19" fmla="*/ 955461 w 3339846"/>
                  <a:gd name="connsiteY19" fmla="*/ 331321 h 1124187"/>
                  <a:gd name="connsiteX20" fmla="*/ 955461 w 3339846"/>
                  <a:gd name="connsiteY20" fmla="*/ 394982 h 1124187"/>
                  <a:gd name="connsiteX21" fmla="*/ 1013334 w 3339846"/>
                  <a:gd name="connsiteY21" fmla="*/ 394982 h 1124187"/>
                  <a:gd name="connsiteX22" fmla="*/ 1013334 w 3339846"/>
                  <a:gd name="connsiteY22" fmla="*/ 444174 h 1124187"/>
                  <a:gd name="connsiteX23" fmla="*/ 1062527 w 3339846"/>
                  <a:gd name="connsiteY23" fmla="*/ 444174 h 1124187"/>
                  <a:gd name="connsiteX24" fmla="*/ 1062527 w 3339846"/>
                  <a:gd name="connsiteY24" fmla="*/ 481792 h 1124187"/>
                  <a:gd name="connsiteX25" fmla="*/ 1227466 w 3339846"/>
                  <a:gd name="connsiteY25" fmla="*/ 481792 h 1124187"/>
                  <a:gd name="connsiteX26" fmla="*/ 1227466 w 3339846"/>
                  <a:gd name="connsiteY26" fmla="*/ 519410 h 1124187"/>
                  <a:gd name="connsiteX27" fmla="*/ 1247722 w 3339846"/>
                  <a:gd name="connsiteY27" fmla="*/ 519410 h 1124187"/>
                  <a:gd name="connsiteX28" fmla="*/ 1247722 w 3339846"/>
                  <a:gd name="connsiteY28" fmla="*/ 591751 h 1124187"/>
                  <a:gd name="connsiteX29" fmla="*/ 1262190 w 3339846"/>
                  <a:gd name="connsiteY29" fmla="*/ 591751 h 1124187"/>
                  <a:gd name="connsiteX30" fmla="*/ 1262190 w 3339846"/>
                  <a:gd name="connsiteY30" fmla="*/ 609113 h 1124187"/>
                  <a:gd name="connsiteX31" fmla="*/ 1296914 w 3339846"/>
                  <a:gd name="connsiteY31" fmla="*/ 609113 h 1124187"/>
                  <a:gd name="connsiteX32" fmla="*/ 1296914 w 3339846"/>
                  <a:gd name="connsiteY32" fmla="*/ 681455 h 1124187"/>
                  <a:gd name="connsiteX33" fmla="*/ 1317170 w 3339846"/>
                  <a:gd name="connsiteY33" fmla="*/ 681455 h 1124187"/>
                  <a:gd name="connsiteX34" fmla="*/ 1317170 w 3339846"/>
                  <a:gd name="connsiteY34" fmla="*/ 771159 h 1124187"/>
                  <a:gd name="connsiteX35" fmla="*/ 1340319 w 3339846"/>
                  <a:gd name="connsiteY35" fmla="*/ 771159 h 1124187"/>
                  <a:gd name="connsiteX36" fmla="*/ 1340319 w 3339846"/>
                  <a:gd name="connsiteY36" fmla="*/ 808777 h 1124187"/>
                  <a:gd name="connsiteX37" fmla="*/ 1467641 w 3339846"/>
                  <a:gd name="connsiteY37" fmla="*/ 808777 h 1124187"/>
                  <a:gd name="connsiteX38" fmla="*/ 1467641 w 3339846"/>
                  <a:gd name="connsiteY38" fmla="*/ 881119 h 1124187"/>
                  <a:gd name="connsiteX39" fmla="*/ 1615218 w 3339846"/>
                  <a:gd name="connsiteY39" fmla="*/ 881119 h 1124187"/>
                  <a:gd name="connsiteX40" fmla="*/ 1615218 w 3339846"/>
                  <a:gd name="connsiteY40" fmla="*/ 915843 h 1124187"/>
                  <a:gd name="connsiteX41" fmla="*/ 1658623 w 3339846"/>
                  <a:gd name="connsiteY41" fmla="*/ 915843 h 1124187"/>
                  <a:gd name="connsiteX42" fmla="*/ 1658623 w 3339846"/>
                  <a:gd name="connsiteY42" fmla="*/ 973716 h 1124187"/>
                  <a:gd name="connsiteX43" fmla="*/ 1707815 w 3339846"/>
                  <a:gd name="connsiteY43" fmla="*/ 973716 h 1124187"/>
                  <a:gd name="connsiteX44" fmla="*/ 1707815 w 3339846"/>
                  <a:gd name="connsiteY44" fmla="*/ 1124187 h 1124187"/>
                  <a:gd name="connsiteX45" fmla="*/ 3339846 w 3339846"/>
                  <a:gd name="connsiteY45" fmla="*/ 1124187 h 1124187"/>
                  <a:gd name="connsiteX0" fmla="*/ 0 w 3339846"/>
                  <a:gd name="connsiteY0" fmla="*/ 0 h 1124187"/>
                  <a:gd name="connsiteX1" fmla="*/ 139445 w 3339846"/>
                  <a:gd name="connsiteY1" fmla="*/ 8140 h 1124187"/>
                  <a:gd name="connsiteX2" fmla="*/ 139446 w 3339846"/>
                  <a:gd name="connsiteY2" fmla="*/ 85359 h 1124187"/>
                  <a:gd name="connsiteX3" fmla="*/ 165489 w 3339846"/>
                  <a:gd name="connsiteY3" fmla="*/ 85359 h 1124187"/>
                  <a:gd name="connsiteX4" fmla="*/ 165489 w 3339846"/>
                  <a:gd name="connsiteY4" fmla="*/ 122977 h 1124187"/>
                  <a:gd name="connsiteX5" fmla="*/ 188638 w 3339846"/>
                  <a:gd name="connsiteY5" fmla="*/ 122977 h 1124187"/>
                  <a:gd name="connsiteX6" fmla="*/ 188638 w 3339846"/>
                  <a:gd name="connsiteY6" fmla="*/ 143232 h 1124187"/>
                  <a:gd name="connsiteX7" fmla="*/ 408557 w 3339846"/>
                  <a:gd name="connsiteY7" fmla="*/ 143232 h 1124187"/>
                  <a:gd name="connsiteX8" fmla="*/ 408557 w 3339846"/>
                  <a:gd name="connsiteY8" fmla="*/ 169275 h 1124187"/>
                  <a:gd name="connsiteX9" fmla="*/ 408557 w 3339846"/>
                  <a:gd name="connsiteY9" fmla="*/ 169275 h 1124187"/>
                  <a:gd name="connsiteX10" fmla="*/ 425919 w 3339846"/>
                  <a:gd name="connsiteY10" fmla="*/ 186637 h 1124187"/>
                  <a:gd name="connsiteX11" fmla="*/ 501155 w 3339846"/>
                  <a:gd name="connsiteY11" fmla="*/ 186637 h 1124187"/>
                  <a:gd name="connsiteX12" fmla="*/ 501155 w 3339846"/>
                  <a:gd name="connsiteY12" fmla="*/ 209787 h 1124187"/>
                  <a:gd name="connsiteX13" fmla="*/ 521410 w 3339846"/>
                  <a:gd name="connsiteY13" fmla="*/ 209787 h 1124187"/>
                  <a:gd name="connsiteX14" fmla="*/ 521410 w 3339846"/>
                  <a:gd name="connsiteY14" fmla="*/ 230043 h 1124187"/>
                  <a:gd name="connsiteX15" fmla="*/ 819458 w 3339846"/>
                  <a:gd name="connsiteY15" fmla="*/ 230043 h 1124187"/>
                  <a:gd name="connsiteX16" fmla="*/ 819458 w 3339846"/>
                  <a:gd name="connsiteY16" fmla="*/ 285022 h 1124187"/>
                  <a:gd name="connsiteX17" fmla="*/ 938099 w 3339846"/>
                  <a:gd name="connsiteY17" fmla="*/ 285022 h 1124187"/>
                  <a:gd name="connsiteX18" fmla="*/ 938099 w 3339846"/>
                  <a:gd name="connsiteY18" fmla="*/ 331321 h 1124187"/>
                  <a:gd name="connsiteX19" fmla="*/ 955461 w 3339846"/>
                  <a:gd name="connsiteY19" fmla="*/ 331321 h 1124187"/>
                  <a:gd name="connsiteX20" fmla="*/ 955461 w 3339846"/>
                  <a:gd name="connsiteY20" fmla="*/ 394982 h 1124187"/>
                  <a:gd name="connsiteX21" fmla="*/ 1013334 w 3339846"/>
                  <a:gd name="connsiteY21" fmla="*/ 394982 h 1124187"/>
                  <a:gd name="connsiteX22" fmla="*/ 1013334 w 3339846"/>
                  <a:gd name="connsiteY22" fmla="*/ 444174 h 1124187"/>
                  <a:gd name="connsiteX23" fmla="*/ 1062527 w 3339846"/>
                  <a:gd name="connsiteY23" fmla="*/ 444174 h 1124187"/>
                  <a:gd name="connsiteX24" fmla="*/ 1062527 w 3339846"/>
                  <a:gd name="connsiteY24" fmla="*/ 481792 h 1124187"/>
                  <a:gd name="connsiteX25" fmla="*/ 1227466 w 3339846"/>
                  <a:gd name="connsiteY25" fmla="*/ 481792 h 1124187"/>
                  <a:gd name="connsiteX26" fmla="*/ 1227466 w 3339846"/>
                  <a:gd name="connsiteY26" fmla="*/ 519410 h 1124187"/>
                  <a:gd name="connsiteX27" fmla="*/ 1247722 w 3339846"/>
                  <a:gd name="connsiteY27" fmla="*/ 519410 h 1124187"/>
                  <a:gd name="connsiteX28" fmla="*/ 1247722 w 3339846"/>
                  <a:gd name="connsiteY28" fmla="*/ 591751 h 1124187"/>
                  <a:gd name="connsiteX29" fmla="*/ 1262190 w 3339846"/>
                  <a:gd name="connsiteY29" fmla="*/ 591751 h 1124187"/>
                  <a:gd name="connsiteX30" fmla="*/ 1262190 w 3339846"/>
                  <a:gd name="connsiteY30" fmla="*/ 609113 h 1124187"/>
                  <a:gd name="connsiteX31" fmla="*/ 1296914 w 3339846"/>
                  <a:gd name="connsiteY31" fmla="*/ 609113 h 1124187"/>
                  <a:gd name="connsiteX32" fmla="*/ 1296914 w 3339846"/>
                  <a:gd name="connsiteY32" fmla="*/ 681455 h 1124187"/>
                  <a:gd name="connsiteX33" fmla="*/ 1317170 w 3339846"/>
                  <a:gd name="connsiteY33" fmla="*/ 681455 h 1124187"/>
                  <a:gd name="connsiteX34" fmla="*/ 1317170 w 3339846"/>
                  <a:gd name="connsiteY34" fmla="*/ 771159 h 1124187"/>
                  <a:gd name="connsiteX35" fmla="*/ 1340319 w 3339846"/>
                  <a:gd name="connsiteY35" fmla="*/ 771159 h 1124187"/>
                  <a:gd name="connsiteX36" fmla="*/ 1340319 w 3339846"/>
                  <a:gd name="connsiteY36" fmla="*/ 808777 h 1124187"/>
                  <a:gd name="connsiteX37" fmla="*/ 1467641 w 3339846"/>
                  <a:gd name="connsiteY37" fmla="*/ 808777 h 1124187"/>
                  <a:gd name="connsiteX38" fmla="*/ 1467641 w 3339846"/>
                  <a:gd name="connsiteY38" fmla="*/ 881119 h 1124187"/>
                  <a:gd name="connsiteX39" fmla="*/ 1615218 w 3339846"/>
                  <a:gd name="connsiteY39" fmla="*/ 881119 h 1124187"/>
                  <a:gd name="connsiteX40" fmla="*/ 1615218 w 3339846"/>
                  <a:gd name="connsiteY40" fmla="*/ 915843 h 1124187"/>
                  <a:gd name="connsiteX41" fmla="*/ 1658623 w 3339846"/>
                  <a:gd name="connsiteY41" fmla="*/ 915843 h 1124187"/>
                  <a:gd name="connsiteX42" fmla="*/ 1658623 w 3339846"/>
                  <a:gd name="connsiteY42" fmla="*/ 973716 h 1124187"/>
                  <a:gd name="connsiteX43" fmla="*/ 1707815 w 3339846"/>
                  <a:gd name="connsiteY43" fmla="*/ 973716 h 1124187"/>
                  <a:gd name="connsiteX44" fmla="*/ 1707815 w 3339846"/>
                  <a:gd name="connsiteY44" fmla="*/ 1124187 h 1124187"/>
                  <a:gd name="connsiteX45" fmla="*/ 3339846 w 3339846"/>
                  <a:gd name="connsiteY45" fmla="*/ 1124187 h 1124187"/>
                  <a:gd name="connsiteX0" fmla="*/ 0 w 3339846"/>
                  <a:gd name="connsiteY0" fmla="*/ 0 h 1124187"/>
                  <a:gd name="connsiteX1" fmla="*/ 139445 w 3339846"/>
                  <a:gd name="connsiteY1" fmla="*/ 8140 h 1124187"/>
                  <a:gd name="connsiteX2" fmla="*/ 139446 w 3339846"/>
                  <a:gd name="connsiteY2" fmla="*/ 85359 h 1124187"/>
                  <a:gd name="connsiteX3" fmla="*/ 165489 w 3339846"/>
                  <a:gd name="connsiteY3" fmla="*/ 85359 h 1124187"/>
                  <a:gd name="connsiteX4" fmla="*/ 165489 w 3339846"/>
                  <a:gd name="connsiteY4" fmla="*/ 122977 h 1124187"/>
                  <a:gd name="connsiteX5" fmla="*/ 188638 w 3339846"/>
                  <a:gd name="connsiteY5" fmla="*/ 122977 h 1124187"/>
                  <a:gd name="connsiteX6" fmla="*/ 188638 w 3339846"/>
                  <a:gd name="connsiteY6" fmla="*/ 143232 h 1124187"/>
                  <a:gd name="connsiteX7" fmla="*/ 408557 w 3339846"/>
                  <a:gd name="connsiteY7" fmla="*/ 143232 h 1124187"/>
                  <a:gd name="connsiteX8" fmla="*/ 408557 w 3339846"/>
                  <a:gd name="connsiteY8" fmla="*/ 169275 h 1124187"/>
                  <a:gd name="connsiteX9" fmla="*/ 408557 w 3339846"/>
                  <a:gd name="connsiteY9" fmla="*/ 169275 h 1124187"/>
                  <a:gd name="connsiteX10" fmla="*/ 425919 w 3339846"/>
                  <a:gd name="connsiteY10" fmla="*/ 186637 h 1124187"/>
                  <a:gd name="connsiteX11" fmla="*/ 501155 w 3339846"/>
                  <a:gd name="connsiteY11" fmla="*/ 186637 h 1124187"/>
                  <a:gd name="connsiteX12" fmla="*/ 501155 w 3339846"/>
                  <a:gd name="connsiteY12" fmla="*/ 209787 h 1124187"/>
                  <a:gd name="connsiteX13" fmla="*/ 521410 w 3339846"/>
                  <a:gd name="connsiteY13" fmla="*/ 209787 h 1124187"/>
                  <a:gd name="connsiteX14" fmla="*/ 521410 w 3339846"/>
                  <a:gd name="connsiteY14" fmla="*/ 230043 h 1124187"/>
                  <a:gd name="connsiteX15" fmla="*/ 819458 w 3339846"/>
                  <a:gd name="connsiteY15" fmla="*/ 230043 h 1124187"/>
                  <a:gd name="connsiteX16" fmla="*/ 819458 w 3339846"/>
                  <a:gd name="connsiteY16" fmla="*/ 285022 h 1124187"/>
                  <a:gd name="connsiteX17" fmla="*/ 938099 w 3339846"/>
                  <a:gd name="connsiteY17" fmla="*/ 285022 h 1124187"/>
                  <a:gd name="connsiteX18" fmla="*/ 938099 w 3339846"/>
                  <a:gd name="connsiteY18" fmla="*/ 331321 h 1124187"/>
                  <a:gd name="connsiteX19" fmla="*/ 955461 w 3339846"/>
                  <a:gd name="connsiteY19" fmla="*/ 331321 h 1124187"/>
                  <a:gd name="connsiteX20" fmla="*/ 955461 w 3339846"/>
                  <a:gd name="connsiteY20" fmla="*/ 394982 h 1124187"/>
                  <a:gd name="connsiteX21" fmla="*/ 1013334 w 3339846"/>
                  <a:gd name="connsiteY21" fmla="*/ 394982 h 1124187"/>
                  <a:gd name="connsiteX22" fmla="*/ 1013334 w 3339846"/>
                  <a:gd name="connsiteY22" fmla="*/ 444174 h 1124187"/>
                  <a:gd name="connsiteX23" fmla="*/ 1062527 w 3339846"/>
                  <a:gd name="connsiteY23" fmla="*/ 444174 h 1124187"/>
                  <a:gd name="connsiteX24" fmla="*/ 1062527 w 3339846"/>
                  <a:gd name="connsiteY24" fmla="*/ 481792 h 1124187"/>
                  <a:gd name="connsiteX25" fmla="*/ 1227466 w 3339846"/>
                  <a:gd name="connsiteY25" fmla="*/ 481792 h 1124187"/>
                  <a:gd name="connsiteX26" fmla="*/ 1227466 w 3339846"/>
                  <a:gd name="connsiteY26" fmla="*/ 519410 h 1124187"/>
                  <a:gd name="connsiteX27" fmla="*/ 1247722 w 3339846"/>
                  <a:gd name="connsiteY27" fmla="*/ 519410 h 1124187"/>
                  <a:gd name="connsiteX28" fmla="*/ 1247722 w 3339846"/>
                  <a:gd name="connsiteY28" fmla="*/ 591751 h 1124187"/>
                  <a:gd name="connsiteX29" fmla="*/ 1262190 w 3339846"/>
                  <a:gd name="connsiteY29" fmla="*/ 591751 h 1124187"/>
                  <a:gd name="connsiteX30" fmla="*/ 1262190 w 3339846"/>
                  <a:gd name="connsiteY30" fmla="*/ 609113 h 1124187"/>
                  <a:gd name="connsiteX31" fmla="*/ 1296914 w 3339846"/>
                  <a:gd name="connsiteY31" fmla="*/ 609113 h 1124187"/>
                  <a:gd name="connsiteX32" fmla="*/ 1296914 w 3339846"/>
                  <a:gd name="connsiteY32" fmla="*/ 681455 h 1124187"/>
                  <a:gd name="connsiteX33" fmla="*/ 1317170 w 3339846"/>
                  <a:gd name="connsiteY33" fmla="*/ 681455 h 1124187"/>
                  <a:gd name="connsiteX34" fmla="*/ 1317170 w 3339846"/>
                  <a:gd name="connsiteY34" fmla="*/ 771159 h 1124187"/>
                  <a:gd name="connsiteX35" fmla="*/ 1340319 w 3339846"/>
                  <a:gd name="connsiteY35" fmla="*/ 771159 h 1124187"/>
                  <a:gd name="connsiteX36" fmla="*/ 1340319 w 3339846"/>
                  <a:gd name="connsiteY36" fmla="*/ 808777 h 1124187"/>
                  <a:gd name="connsiteX37" fmla="*/ 1467641 w 3339846"/>
                  <a:gd name="connsiteY37" fmla="*/ 808777 h 1124187"/>
                  <a:gd name="connsiteX38" fmla="*/ 1467641 w 3339846"/>
                  <a:gd name="connsiteY38" fmla="*/ 881119 h 1124187"/>
                  <a:gd name="connsiteX39" fmla="*/ 1615218 w 3339846"/>
                  <a:gd name="connsiteY39" fmla="*/ 881119 h 1124187"/>
                  <a:gd name="connsiteX40" fmla="*/ 1615218 w 3339846"/>
                  <a:gd name="connsiteY40" fmla="*/ 915843 h 1124187"/>
                  <a:gd name="connsiteX41" fmla="*/ 1658623 w 3339846"/>
                  <a:gd name="connsiteY41" fmla="*/ 915843 h 1124187"/>
                  <a:gd name="connsiteX42" fmla="*/ 1658623 w 3339846"/>
                  <a:gd name="connsiteY42" fmla="*/ 973716 h 1124187"/>
                  <a:gd name="connsiteX43" fmla="*/ 1707815 w 3339846"/>
                  <a:gd name="connsiteY43" fmla="*/ 973716 h 1124187"/>
                  <a:gd name="connsiteX44" fmla="*/ 1707815 w 3339846"/>
                  <a:gd name="connsiteY44" fmla="*/ 1124187 h 1124187"/>
                  <a:gd name="connsiteX45" fmla="*/ 3339846 w 3339846"/>
                  <a:gd name="connsiteY45" fmla="*/ 1124187 h 1124187"/>
                  <a:gd name="connsiteX0" fmla="*/ 0 w 3339846"/>
                  <a:gd name="connsiteY0" fmla="*/ 0 h 1121474"/>
                  <a:gd name="connsiteX1" fmla="*/ 139445 w 3339846"/>
                  <a:gd name="connsiteY1" fmla="*/ 5427 h 1121474"/>
                  <a:gd name="connsiteX2" fmla="*/ 139446 w 3339846"/>
                  <a:gd name="connsiteY2" fmla="*/ 82646 h 1121474"/>
                  <a:gd name="connsiteX3" fmla="*/ 165489 w 3339846"/>
                  <a:gd name="connsiteY3" fmla="*/ 82646 h 1121474"/>
                  <a:gd name="connsiteX4" fmla="*/ 165489 w 3339846"/>
                  <a:gd name="connsiteY4" fmla="*/ 120264 h 1121474"/>
                  <a:gd name="connsiteX5" fmla="*/ 188638 w 3339846"/>
                  <a:gd name="connsiteY5" fmla="*/ 120264 h 1121474"/>
                  <a:gd name="connsiteX6" fmla="*/ 188638 w 3339846"/>
                  <a:gd name="connsiteY6" fmla="*/ 140519 h 1121474"/>
                  <a:gd name="connsiteX7" fmla="*/ 408557 w 3339846"/>
                  <a:gd name="connsiteY7" fmla="*/ 140519 h 1121474"/>
                  <a:gd name="connsiteX8" fmla="*/ 408557 w 3339846"/>
                  <a:gd name="connsiteY8" fmla="*/ 166562 h 1121474"/>
                  <a:gd name="connsiteX9" fmla="*/ 408557 w 3339846"/>
                  <a:gd name="connsiteY9" fmla="*/ 166562 h 1121474"/>
                  <a:gd name="connsiteX10" fmla="*/ 425919 w 3339846"/>
                  <a:gd name="connsiteY10" fmla="*/ 183924 h 1121474"/>
                  <a:gd name="connsiteX11" fmla="*/ 501155 w 3339846"/>
                  <a:gd name="connsiteY11" fmla="*/ 183924 h 1121474"/>
                  <a:gd name="connsiteX12" fmla="*/ 501155 w 3339846"/>
                  <a:gd name="connsiteY12" fmla="*/ 207074 h 1121474"/>
                  <a:gd name="connsiteX13" fmla="*/ 521410 w 3339846"/>
                  <a:gd name="connsiteY13" fmla="*/ 207074 h 1121474"/>
                  <a:gd name="connsiteX14" fmla="*/ 521410 w 3339846"/>
                  <a:gd name="connsiteY14" fmla="*/ 227330 h 1121474"/>
                  <a:gd name="connsiteX15" fmla="*/ 819458 w 3339846"/>
                  <a:gd name="connsiteY15" fmla="*/ 227330 h 1121474"/>
                  <a:gd name="connsiteX16" fmla="*/ 819458 w 3339846"/>
                  <a:gd name="connsiteY16" fmla="*/ 282309 h 1121474"/>
                  <a:gd name="connsiteX17" fmla="*/ 938099 w 3339846"/>
                  <a:gd name="connsiteY17" fmla="*/ 282309 h 1121474"/>
                  <a:gd name="connsiteX18" fmla="*/ 938099 w 3339846"/>
                  <a:gd name="connsiteY18" fmla="*/ 328608 h 1121474"/>
                  <a:gd name="connsiteX19" fmla="*/ 955461 w 3339846"/>
                  <a:gd name="connsiteY19" fmla="*/ 328608 h 1121474"/>
                  <a:gd name="connsiteX20" fmla="*/ 955461 w 3339846"/>
                  <a:gd name="connsiteY20" fmla="*/ 392269 h 1121474"/>
                  <a:gd name="connsiteX21" fmla="*/ 1013334 w 3339846"/>
                  <a:gd name="connsiteY21" fmla="*/ 392269 h 1121474"/>
                  <a:gd name="connsiteX22" fmla="*/ 1013334 w 3339846"/>
                  <a:gd name="connsiteY22" fmla="*/ 441461 h 1121474"/>
                  <a:gd name="connsiteX23" fmla="*/ 1062527 w 3339846"/>
                  <a:gd name="connsiteY23" fmla="*/ 441461 h 1121474"/>
                  <a:gd name="connsiteX24" fmla="*/ 1062527 w 3339846"/>
                  <a:gd name="connsiteY24" fmla="*/ 479079 h 1121474"/>
                  <a:gd name="connsiteX25" fmla="*/ 1227466 w 3339846"/>
                  <a:gd name="connsiteY25" fmla="*/ 479079 h 1121474"/>
                  <a:gd name="connsiteX26" fmla="*/ 1227466 w 3339846"/>
                  <a:gd name="connsiteY26" fmla="*/ 516697 h 1121474"/>
                  <a:gd name="connsiteX27" fmla="*/ 1247722 w 3339846"/>
                  <a:gd name="connsiteY27" fmla="*/ 516697 h 1121474"/>
                  <a:gd name="connsiteX28" fmla="*/ 1247722 w 3339846"/>
                  <a:gd name="connsiteY28" fmla="*/ 589038 h 1121474"/>
                  <a:gd name="connsiteX29" fmla="*/ 1262190 w 3339846"/>
                  <a:gd name="connsiteY29" fmla="*/ 589038 h 1121474"/>
                  <a:gd name="connsiteX30" fmla="*/ 1262190 w 3339846"/>
                  <a:gd name="connsiteY30" fmla="*/ 606400 h 1121474"/>
                  <a:gd name="connsiteX31" fmla="*/ 1296914 w 3339846"/>
                  <a:gd name="connsiteY31" fmla="*/ 606400 h 1121474"/>
                  <a:gd name="connsiteX32" fmla="*/ 1296914 w 3339846"/>
                  <a:gd name="connsiteY32" fmla="*/ 678742 h 1121474"/>
                  <a:gd name="connsiteX33" fmla="*/ 1317170 w 3339846"/>
                  <a:gd name="connsiteY33" fmla="*/ 678742 h 1121474"/>
                  <a:gd name="connsiteX34" fmla="*/ 1317170 w 3339846"/>
                  <a:gd name="connsiteY34" fmla="*/ 768446 h 1121474"/>
                  <a:gd name="connsiteX35" fmla="*/ 1340319 w 3339846"/>
                  <a:gd name="connsiteY35" fmla="*/ 768446 h 1121474"/>
                  <a:gd name="connsiteX36" fmla="*/ 1340319 w 3339846"/>
                  <a:gd name="connsiteY36" fmla="*/ 806064 h 1121474"/>
                  <a:gd name="connsiteX37" fmla="*/ 1467641 w 3339846"/>
                  <a:gd name="connsiteY37" fmla="*/ 806064 h 1121474"/>
                  <a:gd name="connsiteX38" fmla="*/ 1467641 w 3339846"/>
                  <a:gd name="connsiteY38" fmla="*/ 878406 h 1121474"/>
                  <a:gd name="connsiteX39" fmla="*/ 1615218 w 3339846"/>
                  <a:gd name="connsiteY39" fmla="*/ 878406 h 1121474"/>
                  <a:gd name="connsiteX40" fmla="*/ 1615218 w 3339846"/>
                  <a:gd name="connsiteY40" fmla="*/ 913130 h 1121474"/>
                  <a:gd name="connsiteX41" fmla="*/ 1658623 w 3339846"/>
                  <a:gd name="connsiteY41" fmla="*/ 913130 h 1121474"/>
                  <a:gd name="connsiteX42" fmla="*/ 1658623 w 3339846"/>
                  <a:gd name="connsiteY42" fmla="*/ 971003 h 1121474"/>
                  <a:gd name="connsiteX43" fmla="*/ 1707815 w 3339846"/>
                  <a:gd name="connsiteY43" fmla="*/ 971003 h 1121474"/>
                  <a:gd name="connsiteX44" fmla="*/ 1707815 w 3339846"/>
                  <a:gd name="connsiteY44" fmla="*/ 1121474 h 1121474"/>
                  <a:gd name="connsiteX45" fmla="*/ 3339846 w 3339846"/>
                  <a:gd name="connsiteY45" fmla="*/ 1121474 h 1121474"/>
                  <a:gd name="connsiteX0" fmla="*/ 0 w 3339846"/>
                  <a:gd name="connsiteY0" fmla="*/ 0 h 1121474"/>
                  <a:gd name="connsiteX1" fmla="*/ 139445 w 3339846"/>
                  <a:gd name="connsiteY1" fmla="*/ 1 h 1121474"/>
                  <a:gd name="connsiteX2" fmla="*/ 139446 w 3339846"/>
                  <a:gd name="connsiteY2" fmla="*/ 82646 h 1121474"/>
                  <a:gd name="connsiteX3" fmla="*/ 165489 w 3339846"/>
                  <a:gd name="connsiteY3" fmla="*/ 82646 h 1121474"/>
                  <a:gd name="connsiteX4" fmla="*/ 165489 w 3339846"/>
                  <a:gd name="connsiteY4" fmla="*/ 120264 h 1121474"/>
                  <a:gd name="connsiteX5" fmla="*/ 188638 w 3339846"/>
                  <a:gd name="connsiteY5" fmla="*/ 120264 h 1121474"/>
                  <a:gd name="connsiteX6" fmla="*/ 188638 w 3339846"/>
                  <a:gd name="connsiteY6" fmla="*/ 140519 h 1121474"/>
                  <a:gd name="connsiteX7" fmla="*/ 408557 w 3339846"/>
                  <a:gd name="connsiteY7" fmla="*/ 140519 h 1121474"/>
                  <a:gd name="connsiteX8" fmla="*/ 408557 w 3339846"/>
                  <a:gd name="connsiteY8" fmla="*/ 166562 h 1121474"/>
                  <a:gd name="connsiteX9" fmla="*/ 408557 w 3339846"/>
                  <a:gd name="connsiteY9" fmla="*/ 166562 h 1121474"/>
                  <a:gd name="connsiteX10" fmla="*/ 425919 w 3339846"/>
                  <a:gd name="connsiteY10" fmla="*/ 183924 h 1121474"/>
                  <a:gd name="connsiteX11" fmla="*/ 501155 w 3339846"/>
                  <a:gd name="connsiteY11" fmla="*/ 183924 h 1121474"/>
                  <a:gd name="connsiteX12" fmla="*/ 501155 w 3339846"/>
                  <a:gd name="connsiteY12" fmla="*/ 207074 h 1121474"/>
                  <a:gd name="connsiteX13" fmla="*/ 521410 w 3339846"/>
                  <a:gd name="connsiteY13" fmla="*/ 207074 h 1121474"/>
                  <a:gd name="connsiteX14" fmla="*/ 521410 w 3339846"/>
                  <a:gd name="connsiteY14" fmla="*/ 227330 h 1121474"/>
                  <a:gd name="connsiteX15" fmla="*/ 819458 w 3339846"/>
                  <a:gd name="connsiteY15" fmla="*/ 227330 h 1121474"/>
                  <a:gd name="connsiteX16" fmla="*/ 819458 w 3339846"/>
                  <a:gd name="connsiteY16" fmla="*/ 282309 h 1121474"/>
                  <a:gd name="connsiteX17" fmla="*/ 938099 w 3339846"/>
                  <a:gd name="connsiteY17" fmla="*/ 282309 h 1121474"/>
                  <a:gd name="connsiteX18" fmla="*/ 938099 w 3339846"/>
                  <a:gd name="connsiteY18" fmla="*/ 328608 h 1121474"/>
                  <a:gd name="connsiteX19" fmla="*/ 955461 w 3339846"/>
                  <a:gd name="connsiteY19" fmla="*/ 328608 h 1121474"/>
                  <a:gd name="connsiteX20" fmla="*/ 955461 w 3339846"/>
                  <a:gd name="connsiteY20" fmla="*/ 392269 h 1121474"/>
                  <a:gd name="connsiteX21" fmla="*/ 1013334 w 3339846"/>
                  <a:gd name="connsiteY21" fmla="*/ 392269 h 1121474"/>
                  <a:gd name="connsiteX22" fmla="*/ 1013334 w 3339846"/>
                  <a:gd name="connsiteY22" fmla="*/ 441461 h 1121474"/>
                  <a:gd name="connsiteX23" fmla="*/ 1062527 w 3339846"/>
                  <a:gd name="connsiteY23" fmla="*/ 441461 h 1121474"/>
                  <a:gd name="connsiteX24" fmla="*/ 1062527 w 3339846"/>
                  <a:gd name="connsiteY24" fmla="*/ 479079 h 1121474"/>
                  <a:gd name="connsiteX25" fmla="*/ 1227466 w 3339846"/>
                  <a:gd name="connsiteY25" fmla="*/ 479079 h 1121474"/>
                  <a:gd name="connsiteX26" fmla="*/ 1227466 w 3339846"/>
                  <a:gd name="connsiteY26" fmla="*/ 516697 h 1121474"/>
                  <a:gd name="connsiteX27" fmla="*/ 1247722 w 3339846"/>
                  <a:gd name="connsiteY27" fmla="*/ 516697 h 1121474"/>
                  <a:gd name="connsiteX28" fmla="*/ 1247722 w 3339846"/>
                  <a:gd name="connsiteY28" fmla="*/ 589038 h 1121474"/>
                  <a:gd name="connsiteX29" fmla="*/ 1262190 w 3339846"/>
                  <a:gd name="connsiteY29" fmla="*/ 589038 h 1121474"/>
                  <a:gd name="connsiteX30" fmla="*/ 1262190 w 3339846"/>
                  <a:gd name="connsiteY30" fmla="*/ 606400 h 1121474"/>
                  <a:gd name="connsiteX31" fmla="*/ 1296914 w 3339846"/>
                  <a:gd name="connsiteY31" fmla="*/ 606400 h 1121474"/>
                  <a:gd name="connsiteX32" fmla="*/ 1296914 w 3339846"/>
                  <a:gd name="connsiteY32" fmla="*/ 678742 h 1121474"/>
                  <a:gd name="connsiteX33" fmla="*/ 1317170 w 3339846"/>
                  <a:gd name="connsiteY33" fmla="*/ 678742 h 1121474"/>
                  <a:gd name="connsiteX34" fmla="*/ 1317170 w 3339846"/>
                  <a:gd name="connsiteY34" fmla="*/ 768446 h 1121474"/>
                  <a:gd name="connsiteX35" fmla="*/ 1340319 w 3339846"/>
                  <a:gd name="connsiteY35" fmla="*/ 768446 h 1121474"/>
                  <a:gd name="connsiteX36" fmla="*/ 1340319 w 3339846"/>
                  <a:gd name="connsiteY36" fmla="*/ 806064 h 1121474"/>
                  <a:gd name="connsiteX37" fmla="*/ 1467641 w 3339846"/>
                  <a:gd name="connsiteY37" fmla="*/ 806064 h 1121474"/>
                  <a:gd name="connsiteX38" fmla="*/ 1467641 w 3339846"/>
                  <a:gd name="connsiteY38" fmla="*/ 878406 h 1121474"/>
                  <a:gd name="connsiteX39" fmla="*/ 1615218 w 3339846"/>
                  <a:gd name="connsiteY39" fmla="*/ 878406 h 1121474"/>
                  <a:gd name="connsiteX40" fmla="*/ 1615218 w 3339846"/>
                  <a:gd name="connsiteY40" fmla="*/ 913130 h 1121474"/>
                  <a:gd name="connsiteX41" fmla="*/ 1658623 w 3339846"/>
                  <a:gd name="connsiteY41" fmla="*/ 913130 h 1121474"/>
                  <a:gd name="connsiteX42" fmla="*/ 1658623 w 3339846"/>
                  <a:gd name="connsiteY42" fmla="*/ 971003 h 1121474"/>
                  <a:gd name="connsiteX43" fmla="*/ 1707815 w 3339846"/>
                  <a:gd name="connsiteY43" fmla="*/ 971003 h 1121474"/>
                  <a:gd name="connsiteX44" fmla="*/ 1707815 w 3339846"/>
                  <a:gd name="connsiteY44" fmla="*/ 1121474 h 1121474"/>
                  <a:gd name="connsiteX45" fmla="*/ 3339846 w 3339846"/>
                  <a:gd name="connsiteY45" fmla="*/ 1121474 h 1121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3339846" h="1121474">
                    <a:moveTo>
                      <a:pt x="0" y="0"/>
                    </a:moveTo>
                    <a:lnTo>
                      <a:pt x="139445" y="1"/>
                    </a:lnTo>
                    <a:cubicBezTo>
                      <a:pt x="139445" y="25741"/>
                      <a:pt x="139446" y="56906"/>
                      <a:pt x="139446" y="82646"/>
                    </a:cubicBezTo>
                    <a:lnTo>
                      <a:pt x="165489" y="82646"/>
                    </a:lnTo>
                    <a:lnTo>
                      <a:pt x="165489" y="120264"/>
                    </a:lnTo>
                    <a:lnTo>
                      <a:pt x="188638" y="120264"/>
                    </a:lnTo>
                    <a:lnTo>
                      <a:pt x="188638" y="140519"/>
                    </a:lnTo>
                    <a:lnTo>
                      <a:pt x="408557" y="140519"/>
                    </a:lnTo>
                    <a:lnTo>
                      <a:pt x="408557" y="166562"/>
                    </a:lnTo>
                    <a:lnTo>
                      <a:pt x="408557" y="166562"/>
                    </a:lnTo>
                    <a:lnTo>
                      <a:pt x="425919" y="183924"/>
                    </a:lnTo>
                    <a:lnTo>
                      <a:pt x="501155" y="183924"/>
                    </a:lnTo>
                    <a:lnTo>
                      <a:pt x="501155" y="207074"/>
                    </a:lnTo>
                    <a:lnTo>
                      <a:pt x="521410" y="207074"/>
                    </a:lnTo>
                    <a:lnTo>
                      <a:pt x="521410" y="227330"/>
                    </a:lnTo>
                    <a:lnTo>
                      <a:pt x="819458" y="227330"/>
                    </a:lnTo>
                    <a:lnTo>
                      <a:pt x="819458" y="282309"/>
                    </a:lnTo>
                    <a:lnTo>
                      <a:pt x="938099" y="282309"/>
                    </a:lnTo>
                    <a:lnTo>
                      <a:pt x="938099" y="328608"/>
                    </a:lnTo>
                    <a:lnTo>
                      <a:pt x="955461" y="328608"/>
                    </a:lnTo>
                    <a:lnTo>
                      <a:pt x="955461" y="392269"/>
                    </a:lnTo>
                    <a:lnTo>
                      <a:pt x="1013334" y="392269"/>
                    </a:lnTo>
                    <a:lnTo>
                      <a:pt x="1013334" y="441461"/>
                    </a:lnTo>
                    <a:lnTo>
                      <a:pt x="1062527" y="441461"/>
                    </a:lnTo>
                    <a:lnTo>
                      <a:pt x="1062527" y="479079"/>
                    </a:lnTo>
                    <a:lnTo>
                      <a:pt x="1227466" y="479079"/>
                    </a:lnTo>
                    <a:lnTo>
                      <a:pt x="1227466" y="516697"/>
                    </a:lnTo>
                    <a:lnTo>
                      <a:pt x="1247722" y="516697"/>
                    </a:lnTo>
                    <a:lnTo>
                      <a:pt x="1247722" y="589038"/>
                    </a:lnTo>
                    <a:lnTo>
                      <a:pt x="1262190" y="589038"/>
                    </a:lnTo>
                    <a:lnTo>
                      <a:pt x="1262190" y="606400"/>
                    </a:lnTo>
                    <a:lnTo>
                      <a:pt x="1296914" y="606400"/>
                    </a:lnTo>
                    <a:lnTo>
                      <a:pt x="1296914" y="678742"/>
                    </a:lnTo>
                    <a:lnTo>
                      <a:pt x="1317170" y="678742"/>
                    </a:lnTo>
                    <a:lnTo>
                      <a:pt x="1317170" y="768446"/>
                    </a:lnTo>
                    <a:lnTo>
                      <a:pt x="1340319" y="768446"/>
                    </a:lnTo>
                    <a:lnTo>
                      <a:pt x="1340319" y="806064"/>
                    </a:lnTo>
                    <a:lnTo>
                      <a:pt x="1467641" y="806064"/>
                    </a:lnTo>
                    <a:lnTo>
                      <a:pt x="1467641" y="878406"/>
                    </a:lnTo>
                    <a:lnTo>
                      <a:pt x="1615218" y="878406"/>
                    </a:lnTo>
                    <a:lnTo>
                      <a:pt x="1615218" y="913130"/>
                    </a:lnTo>
                    <a:lnTo>
                      <a:pt x="1658623" y="913130"/>
                    </a:lnTo>
                    <a:lnTo>
                      <a:pt x="1658623" y="971003"/>
                    </a:lnTo>
                    <a:lnTo>
                      <a:pt x="1707815" y="971003"/>
                    </a:lnTo>
                    <a:lnTo>
                      <a:pt x="1707815" y="1121474"/>
                    </a:lnTo>
                    <a:lnTo>
                      <a:pt x="3339846" y="1121474"/>
                    </a:lnTo>
                  </a:path>
                </a:pathLst>
              </a:custGeom>
              <a:noFill/>
              <a:ln w="38100">
                <a:solidFill>
                  <a:srgbClr val="BDBD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Freeform: Shape 86">
                <a:extLst>
                  <a:ext uri="{FF2B5EF4-FFF2-40B4-BE49-F238E27FC236}">
                    <a16:creationId xmlns:a16="http://schemas.microsoft.com/office/drawing/2014/main" id="{A2467F92-4A34-4CE5-8AF6-4C3A26508F84}"/>
                  </a:ext>
                </a:extLst>
              </p:cNvPr>
              <p:cNvSpPr/>
              <p:nvPr/>
            </p:nvSpPr>
            <p:spPr>
              <a:xfrm>
                <a:off x="2586125" y="373514"/>
                <a:ext cx="936839" cy="145855"/>
              </a:xfrm>
              <a:custGeom>
                <a:avLst/>
                <a:gdLst>
                  <a:gd name="connsiteX0" fmla="*/ 0 w 936839"/>
                  <a:gd name="connsiteY0" fmla="*/ 0 h 145855"/>
                  <a:gd name="connsiteX1" fmla="*/ 103782 w 936839"/>
                  <a:gd name="connsiteY1" fmla="*/ 0 h 145855"/>
                  <a:gd name="connsiteX2" fmla="*/ 103782 w 936839"/>
                  <a:gd name="connsiteY2" fmla="*/ 28049 h 145855"/>
                  <a:gd name="connsiteX3" fmla="*/ 232808 w 936839"/>
                  <a:gd name="connsiteY3" fmla="*/ 28049 h 145855"/>
                  <a:gd name="connsiteX4" fmla="*/ 232808 w 936839"/>
                  <a:gd name="connsiteY4" fmla="*/ 50488 h 145855"/>
                  <a:gd name="connsiteX5" fmla="*/ 373053 w 936839"/>
                  <a:gd name="connsiteY5" fmla="*/ 50488 h 145855"/>
                  <a:gd name="connsiteX6" fmla="*/ 373053 w 936839"/>
                  <a:gd name="connsiteY6" fmla="*/ 64513 h 145855"/>
                  <a:gd name="connsiteX7" fmla="*/ 493664 w 936839"/>
                  <a:gd name="connsiteY7" fmla="*/ 64513 h 145855"/>
                  <a:gd name="connsiteX8" fmla="*/ 493664 w 936839"/>
                  <a:gd name="connsiteY8" fmla="*/ 98172 h 145855"/>
                  <a:gd name="connsiteX9" fmla="*/ 572201 w 936839"/>
                  <a:gd name="connsiteY9" fmla="*/ 98172 h 145855"/>
                  <a:gd name="connsiteX10" fmla="*/ 572201 w 936839"/>
                  <a:gd name="connsiteY10" fmla="*/ 120611 h 145855"/>
                  <a:gd name="connsiteX11" fmla="*/ 771350 w 936839"/>
                  <a:gd name="connsiteY11" fmla="*/ 120611 h 145855"/>
                  <a:gd name="connsiteX12" fmla="*/ 771350 w 936839"/>
                  <a:gd name="connsiteY12" fmla="*/ 143050 h 145855"/>
                  <a:gd name="connsiteX13" fmla="*/ 936839 w 936839"/>
                  <a:gd name="connsiteY13" fmla="*/ 143050 h 145855"/>
                  <a:gd name="connsiteX14" fmla="*/ 936839 w 936839"/>
                  <a:gd name="connsiteY14" fmla="*/ 145855 h 145855"/>
                  <a:gd name="connsiteX15" fmla="*/ 936839 w 936839"/>
                  <a:gd name="connsiteY15" fmla="*/ 145855 h 145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6839" h="145855">
                    <a:moveTo>
                      <a:pt x="0" y="0"/>
                    </a:moveTo>
                    <a:lnTo>
                      <a:pt x="103782" y="0"/>
                    </a:lnTo>
                    <a:lnTo>
                      <a:pt x="103782" y="28049"/>
                    </a:lnTo>
                    <a:lnTo>
                      <a:pt x="232808" y="28049"/>
                    </a:lnTo>
                    <a:lnTo>
                      <a:pt x="232808" y="50488"/>
                    </a:lnTo>
                    <a:lnTo>
                      <a:pt x="373053" y="50488"/>
                    </a:lnTo>
                    <a:lnTo>
                      <a:pt x="373053" y="64513"/>
                    </a:lnTo>
                    <a:lnTo>
                      <a:pt x="493664" y="64513"/>
                    </a:lnTo>
                    <a:lnTo>
                      <a:pt x="493664" y="98172"/>
                    </a:lnTo>
                    <a:lnTo>
                      <a:pt x="572201" y="98172"/>
                    </a:lnTo>
                    <a:lnTo>
                      <a:pt x="572201" y="120611"/>
                    </a:lnTo>
                    <a:lnTo>
                      <a:pt x="771350" y="120611"/>
                    </a:lnTo>
                    <a:lnTo>
                      <a:pt x="771350" y="143050"/>
                    </a:lnTo>
                    <a:lnTo>
                      <a:pt x="936839" y="143050"/>
                    </a:lnTo>
                    <a:lnTo>
                      <a:pt x="936839" y="145855"/>
                    </a:lnTo>
                    <a:lnTo>
                      <a:pt x="936839" y="145855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Freeform: Shape 87">
                <a:extLst>
                  <a:ext uri="{FF2B5EF4-FFF2-40B4-BE49-F238E27FC236}">
                    <a16:creationId xmlns:a16="http://schemas.microsoft.com/office/drawing/2014/main" id="{2C330E15-EB54-4059-8F22-71D1FBFE4C15}"/>
                  </a:ext>
                </a:extLst>
              </p:cNvPr>
              <p:cNvSpPr/>
              <p:nvPr/>
            </p:nvSpPr>
            <p:spPr>
              <a:xfrm>
                <a:off x="1362171" y="300253"/>
                <a:ext cx="1229149" cy="73260"/>
              </a:xfrm>
              <a:custGeom>
                <a:avLst/>
                <a:gdLst>
                  <a:gd name="connsiteX0" fmla="*/ 0 w 1229149"/>
                  <a:gd name="connsiteY0" fmla="*/ 0 h 84114"/>
                  <a:gd name="connsiteX1" fmla="*/ 360876 w 1229149"/>
                  <a:gd name="connsiteY1" fmla="*/ 0 h 84114"/>
                  <a:gd name="connsiteX2" fmla="*/ 360876 w 1229149"/>
                  <a:gd name="connsiteY2" fmla="*/ 10853 h 84114"/>
                  <a:gd name="connsiteX3" fmla="*/ 548098 w 1229149"/>
                  <a:gd name="connsiteY3" fmla="*/ 10853 h 84114"/>
                  <a:gd name="connsiteX4" fmla="*/ 548098 w 1229149"/>
                  <a:gd name="connsiteY4" fmla="*/ 29847 h 84114"/>
                  <a:gd name="connsiteX5" fmla="*/ 719039 w 1229149"/>
                  <a:gd name="connsiteY5" fmla="*/ 29847 h 84114"/>
                  <a:gd name="connsiteX6" fmla="*/ 719039 w 1229149"/>
                  <a:gd name="connsiteY6" fmla="*/ 59693 h 84114"/>
                  <a:gd name="connsiteX7" fmla="*/ 1028361 w 1229149"/>
                  <a:gd name="connsiteY7" fmla="*/ 59693 h 84114"/>
                  <a:gd name="connsiteX8" fmla="*/ 1028361 w 1229149"/>
                  <a:gd name="connsiteY8" fmla="*/ 73260 h 84114"/>
                  <a:gd name="connsiteX9" fmla="*/ 1229149 w 1229149"/>
                  <a:gd name="connsiteY9" fmla="*/ 73260 h 84114"/>
                  <a:gd name="connsiteX10" fmla="*/ 1229149 w 1229149"/>
                  <a:gd name="connsiteY10" fmla="*/ 84114 h 84114"/>
                  <a:gd name="connsiteX0" fmla="*/ 0 w 1229149"/>
                  <a:gd name="connsiteY0" fmla="*/ 0 h 73260"/>
                  <a:gd name="connsiteX1" fmla="*/ 360876 w 1229149"/>
                  <a:gd name="connsiteY1" fmla="*/ 0 h 73260"/>
                  <a:gd name="connsiteX2" fmla="*/ 360876 w 1229149"/>
                  <a:gd name="connsiteY2" fmla="*/ 10853 h 73260"/>
                  <a:gd name="connsiteX3" fmla="*/ 548098 w 1229149"/>
                  <a:gd name="connsiteY3" fmla="*/ 10853 h 73260"/>
                  <a:gd name="connsiteX4" fmla="*/ 548098 w 1229149"/>
                  <a:gd name="connsiteY4" fmla="*/ 29847 h 73260"/>
                  <a:gd name="connsiteX5" fmla="*/ 719039 w 1229149"/>
                  <a:gd name="connsiteY5" fmla="*/ 29847 h 73260"/>
                  <a:gd name="connsiteX6" fmla="*/ 719039 w 1229149"/>
                  <a:gd name="connsiteY6" fmla="*/ 59693 h 73260"/>
                  <a:gd name="connsiteX7" fmla="*/ 1028361 w 1229149"/>
                  <a:gd name="connsiteY7" fmla="*/ 59693 h 73260"/>
                  <a:gd name="connsiteX8" fmla="*/ 1028361 w 1229149"/>
                  <a:gd name="connsiteY8" fmla="*/ 73260 h 73260"/>
                  <a:gd name="connsiteX9" fmla="*/ 1229149 w 1229149"/>
                  <a:gd name="connsiteY9" fmla="*/ 73260 h 7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29149" h="73260">
                    <a:moveTo>
                      <a:pt x="0" y="0"/>
                    </a:moveTo>
                    <a:lnTo>
                      <a:pt x="360876" y="0"/>
                    </a:lnTo>
                    <a:lnTo>
                      <a:pt x="360876" y="10853"/>
                    </a:lnTo>
                    <a:lnTo>
                      <a:pt x="548098" y="10853"/>
                    </a:lnTo>
                    <a:lnTo>
                      <a:pt x="548098" y="29847"/>
                    </a:lnTo>
                    <a:lnTo>
                      <a:pt x="719039" y="29847"/>
                    </a:lnTo>
                    <a:lnTo>
                      <a:pt x="719039" y="59693"/>
                    </a:lnTo>
                    <a:lnTo>
                      <a:pt x="1028361" y="59693"/>
                    </a:lnTo>
                    <a:lnTo>
                      <a:pt x="1028361" y="73260"/>
                    </a:lnTo>
                    <a:lnTo>
                      <a:pt x="1229149" y="73260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Freeform: Shape 88">
                <a:extLst>
                  <a:ext uri="{FF2B5EF4-FFF2-40B4-BE49-F238E27FC236}">
                    <a16:creationId xmlns:a16="http://schemas.microsoft.com/office/drawing/2014/main" id="{13E2B66D-C105-408B-A19F-78217529F0D3}"/>
                  </a:ext>
                </a:extLst>
              </p:cNvPr>
              <p:cNvSpPr/>
              <p:nvPr/>
            </p:nvSpPr>
            <p:spPr>
              <a:xfrm>
                <a:off x="3522966" y="517779"/>
                <a:ext cx="1191662" cy="310175"/>
              </a:xfrm>
              <a:custGeom>
                <a:avLst/>
                <a:gdLst>
                  <a:gd name="connsiteX0" fmla="*/ 0 w 1189281"/>
                  <a:gd name="connsiteY0" fmla="*/ 0 h 272076"/>
                  <a:gd name="connsiteX1" fmla="*/ 0 w 1189281"/>
                  <a:gd name="connsiteY1" fmla="*/ 50489 h 272076"/>
                  <a:gd name="connsiteX2" fmla="*/ 176710 w 1189281"/>
                  <a:gd name="connsiteY2" fmla="*/ 50489 h 272076"/>
                  <a:gd name="connsiteX3" fmla="*/ 176710 w 1189281"/>
                  <a:gd name="connsiteY3" fmla="*/ 61708 h 272076"/>
                  <a:gd name="connsiteX4" fmla="*/ 272076 w 1189281"/>
                  <a:gd name="connsiteY4" fmla="*/ 61708 h 272076"/>
                  <a:gd name="connsiteX5" fmla="*/ 272076 w 1189281"/>
                  <a:gd name="connsiteY5" fmla="*/ 92562 h 272076"/>
                  <a:gd name="connsiteX6" fmla="*/ 381468 w 1189281"/>
                  <a:gd name="connsiteY6" fmla="*/ 92562 h 272076"/>
                  <a:gd name="connsiteX7" fmla="*/ 381468 w 1189281"/>
                  <a:gd name="connsiteY7" fmla="*/ 106587 h 272076"/>
                  <a:gd name="connsiteX8" fmla="*/ 507689 w 1189281"/>
                  <a:gd name="connsiteY8" fmla="*/ 106587 h 272076"/>
                  <a:gd name="connsiteX9" fmla="*/ 507689 w 1189281"/>
                  <a:gd name="connsiteY9" fmla="*/ 126221 h 272076"/>
                  <a:gd name="connsiteX10" fmla="*/ 527323 w 1189281"/>
                  <a:gd name="connsiteY10" fmla="*/ 126221 h 272076"/>
                  <a:gd name="connsiteX11" fmla="*/ 535738 w 1189281"/>
                  <a:gd name="connsiteY11" fmla="*/ 134636 h 272076"/>
                  <a:gd name="connsiteX12" fmla="*/ 569397 w 1189281"/>
                  <a:gd name="connsiteY12" fmla="*/ 134636 h 272076"/>
                  <a:gd name="connsiteX13" fmla="*/ 569397 w 1189281"/>
                  <a:gd name="connsiteY13" fmla="*/ 157075 h 272076"/>
                  <a:gd name="connsiteX14" fmla="*/ 793789 w 1189281"/>
                  <a:gd name="connsiteY14" fmla="*/ 157075 h 272076"/>
                  <a:gd name="connsiteX15" fmla="*/ 793789 w 1189281"/>
                  <a:gd name="connsiteY15" fmla="*/ 171100 h 272076"/>
                  <a:gd name="connsiteX16" fmla="*/ 880741 w 1189281"/>
                  <a:gd name="connsiteY16" fmla="*/ 171100 h 272076"/>
                  <a:gd name="connsiteX17" fmla="*/ 891961 w 1189281"/>
                  <a:gd name="connsiteY17" fmla="*/ 182320 h 272076"/>
                  <a:gd name="connsiteX18" fmla="*/ 945254 w 1189281"/>
                  <a:gd name="connsiteY18" fmla="*/ 182320 h 272076"/>
                  <a:gd name="connsiteX19" fmla="*/ 953669 w 1189281"/>
                  <a:gd name="connsiteY19" fmla="*/ 190735 h 272076"/>
                  <a:gd name="connsiteX20" fmla="*/ 995743 w 1189281"/>
                  <a:gd name="connsiteY20" fmla="*/ 190735 h 272076"/>
                  <a:gd name="connsiteX21" fmla="*/ 995743 w 1189281"/>
                  <a:gd name="connsiteY21" fmla="*/ 210368 h 272076"/>
                  <a:gd name="connsiteX22" fmla="*/ 1037816 w 1189281"/>
                  <a:gd name="connsiteY22" fmla="*/ 210368 h 272076"/>
                  <a:gd name="connsiteX23" fmla="*/ 1037816 w 1189281"/>
                  <a:gd name="connsiteY23" fmla="*/ 232808 h 272076"/>
                  <a:gd name="connsiteX24" fmla="*/ 1099524 w 1189281"/>
                  <a:gd name="connsiteY24" fmla="*/ 232808 h 272076"/>
                  <a:gd name="connsiteX25" fmla="*/ 1099524 w 1189281"/>
                  <a:gd name="connsiteY25" fmla="*/ 249637 h 272076"/>
                  <a:gd name="connsiteX26" fmla="*/ 1189281 w 1189281"/>
                  <a:gd name="connsiteY26" fmla="*/ 249637 h 272076"/>
                  <a:gd name="connsiteX27" fmla="*/ 1189281 w 1189281"/>
                  <a:gd name="connsiteY27" fmla="*/ 272076 h 272076"/>
                  <a:gd name="connsiteX0" fmla="*/ 0 w 1189281"/>
                  <a:gd name="connsiteY0" fmla="*/ 0 h 272076"/>
                  <a:gd name="connsiteX1" fmla="*/ 0 w 1189281"/>
                  <a:gd name="connsiteY1" fmla="*/ 50489 h 272076"/>
                  <a:gd name="connsiteX2" fmla="*/ 176710 w 1189281"/>
                  <a:gd name="connsiteY2" fmla="*/ 50489 h 272076"/>
                  <a:gd name="connsiteX3" fmla="*/ 176710 w 1189281"/>
                  <a:gd name="connsiteY3" fmla="*/ 61708 h 272076"/>
                  <a:gd name="connsiteX4" fmla="*/ 272076 w 1189281"/>
                  <a:gd name="connsiteY4" fmla="*/ 61708 h 272076"/>
                  <a:gd name="connsiteX5" fmla="*/ 272076 w 1189281"/>
                  <a:gd name="connsiteY5" fmla="*/ 92562 h 272076"/>
                  <a:gd name="connsiteX6" fmla="*/ 381468 w 1189281"/>
                  <a:gd name="connsiteY6" fmla="*/ 92562 h 272076"/>
                  <a:gd name="connsiteX7" fmla="*/ 381468 w 1189281"/>
                  <a:gd name="connsiteY7" fmla="*/ 106587 h 272076"/>
                  <a:gd name="connsiteX8" fmla="*/ 507689 w 1189281"/>
                  <a:gd name="connsiteY8" fmla="*/ 106587 h 272076"/>
                  <a:gd name="connsiteX9" fmla="*/ 507689 w 1189281"/>
                  <a:gd name="connsiteY9" fmla="*/ 126221 h 272076"/>
                  <a:gd name="connsiteX10" fmla="*/ 527323 w 1189281"/>
                  <a:gd name="connsiteY10" fmla="*/ 126221 h 272076"/>
                  <a:gd name="connsiteX11" fmla="*/ 530976 w 1189281"/>
                  <a:gd name="connsiteY11" fmla="*/ 153686 h 272076"/>
                  <a:gd name="connsiteX12" fmla="*/ 569397 w 1189281"/>
                  <a:gd name="connsiteY12" fmla="*/ 134636 h 272076"/>
                  <a:gd name="connsiteX13" fmla="*/ 569397 w 1189281"/>
                  <a:gd name="connsiteY13" fmla="*/ 157075 h 272076"/>
                  <a:gd name="connsiteX14" fmla="*/ 793789 w 1189281"/>
                  <a:gd name="connsiteY14" fmla="*/ 157075 h 272076"/>
                  <a:gd name="connsiteX15" fmla="*/ 793789 w 1189281"/>
                  <a:gd name="connsiteY15" fmla="*/ 171100 h 272076"/>
                  <a:gd name="connsiteX16" fmla="*/ 880741 w 1189281"/>
                  <a:gd name="connsiteY16" fmla="*/ 171100 h 272076"/>
                  <a:gd name="connsiteX17" fmla="*/ 891961 w 1189281"/>
                  <a:gd name="connsiteY17" fmla="*/ 182320 h 272076"/>
                  <a:gd name="connsiteX18" fmla="*/ 945254 w 1189281"/>
                  <a:gd name="connsiteY18" fmla="*/ 182320 h 272076"/>
                  <a:gd name="connsiteX19" fmla="*/ 953669 w 1189281"/>
                  <a:gd name="connsiteY19" fmla="*/ 190735 h 272076"/>
                  <a:gd name="connsiteX20" fmla="*/ 995743 w 1189281"/>
                  <a:gd name="connsiteY20" fmla="*/ 190735 h 272076"/>
                  <a:gd name="connsiteX21" fmla="*/ 995743 w 1189281"/>
                  <a:gd name="connsiteY21" fmla="*/ 210368 h 272076"/>
                  <a:gd name="connsiteX22" fmla="*/ 1037816 w 1189281"/>
                  <a:gd name="connsiteY22" fmla="*/ 210368 h 272076"/>
                  <a:gd name="connsiteX23" fmla="*/ 1037816 w 1189281"/>
                  <a:gd name="connsiteY23" fmla="*/ 232808 h 272076"/>
                  <a:gd name="connsiteX24" fmla="*/ 1099524 w 1189281"/>
                  <a:gd name="connsiteY24" fmla="*/ 232808 h 272076"/>
                  <a:gd name="connsiteX25" fmla="*/ 1099524 w 1189281"/>
                  <a:gd name="connsiteY25" fmla="*/ 249637 h 272076"/>
                  <a:gd name="connsiteX26" fmla="*/ 1189281 w 1189281"/>
                  <a:gd name="connsiteY26" fmla="*/ 249637 h 272076"/>
                  <a:gd name="connsiteX27" fmla="*/ 1189281 w 1189281"/>
                  <a:gd name="connsiteY27" fmla="*/ 272076 h 272076"/>
                  <a:gd name="connsiteX0" fmla="*/ 0 w 1189281"/>
                  <a:gd name="connsiteY0" fmla="*/ 0 h 272076"/>
                  <a:gd name="connsiteX1" fmla="*/ 0 w 1189281"/>
                  <a:gd name="connsiteY1" fmla="*/ 50489 h 272076"/>
                  <a:gd name="connsiteX2" fmla="*/ 176710 w 1189281"/>
                  <a:gd name="connsiteY2" fmla="*/ 50489 h 272076"/>
                  <a:gd name="connsiteX3" fmla="*/ 176710 w 1189281"/>
                  <a:gd name="connsiteY3" fmla="*/ 61708 h 272076"/>
                  <a:gd name="connsiteX4" fmla="*/ 272076 w 1189281"/>
                  <a:gd name="connsiteY4" fmla="*/ 61708 h 272076"/>
                  <a:gd name="connsiteX5" fmla="*/ 272076 w 1189281"/>
                  <a:gd name="connsiteY5" fmla="*/ 92562 h 272076"/>
                  <a:gd name="connsiteX6" fmla="*/ 381468 w 1189281"/>
                  <a:gd name="connsiteY6" fmla="*/ 92562 h 272076"/>
                  <a:gd name="connsiteX7" fmla="*/ 381468 w 1189281"/>
                  <a:gd name="connsiteY7" fmla="*/ 106587 h 272076"/>
                  <a:gd name="connsiteX8" fmla="*/ 507689 w 1189281"/>
                  <a:gd name="connsiteY8" fmla="*/ 106587 h 272076"/>
                  <a:gd name="connsiteX9" fmla="*/ 507689 w 1189281"/>
                  <a:gd name="connsiteY9" fmla="*/ 126221 h 272076"/>
                  <a:gd name="connsiteX10" fmla="*/ 527323 w 1189281"/>
                  <a:gd name="connsiteY10" fmla="*/ 126221 h 272076"/>
                  <a:gd name="connsiteX11" fmla="*/ 530976 w 1189281"/>
                  <a:gd name="connsiteY11" fmla="*/ 139398 h 272076"/>
                  <a:gd name="connsiteX12" fmla="*/ 569397 w 1189281"/>
                  <a:gd name="connsiteY12" fmla="*/ 134636 h 272076"/>
                  <a:gd name="connsiteX13" fmla="*/ 569397 w 1189281"/>
                  <a:gd name="connsiteY13" fmla="*/ 157075 h 272076"/>
                  <a:gd name="connsiteX14" fmla="*/ 793789 w 1189281"/>
                  <a:gd name="connsiteY14" fmla="*/ 157075 h 272076"/>
                  <a:gd name="connsiteX15" fmla="*/ 793789 w 1189281"/>
                  <a:gd name="connsiteY15" fmla="*/ 171100 h 272076"/>
                  <a:gd name="connsiteX16" fmla="*/ 880741 w 1189281"/>
                  <a:gd name="connsiteY16" fmla="*/ 171100 h 272076"/>
                  <a:gd name="connsiteX17" fmla="*/ 891961 w 1189281"/>
                  <a:gd name="connsiteY17" fmla="*/ 182320 h 272076"/>
                  <a:gd name="connsiteX18" fmla="*/ 945254 w 1189281"/>
                  <a:gd name="connsiteY18" fmla="*/ 182320 h 272076"/>
                  <a:gd name="connsiteX19" fmla="*/ 953669 w 1189281"/>
                  <a:gd name="connsiteY19" fmla="*/ 190735 h 272076"/>
                  <a:gd name="connsiteX20" fmla="*/ 995743 w 1189281"/>
                  <a:gd name="connsiteY20" fmla="*/ 190735 h 272076"/>
                  <a:gd name="connsiteX21" fmla="*/ 995743 w 1189281"/>
                  <a:gd name="connsiteY21" fmla="*/ 210368 h 272076"/>
                  <a:gd name="connsiteX22" fmla="*/ 1037816 w 1189281"/>
                  <a:gd name="connsiteY22" fmla="*/ 210368 h 272076"/>
                  <a:gd name="connsiteX23" fmla="*/ 1037816 w 1189281"/>
                  <a:gd name="connsiteY23" fmla="*/ 232808 h 272076"/>
                  <a:gd name="connsiteX24" fmla="*/ 1099524 w 1189281"/>
                  <a:gd name="connsiteY24" fmla="*/ 232808 h 272076"/>
                  <a:gd name="connsiteX25" fmla="*/ 1099524 w 1189281"/>
                  <a:gd name="connsiteY25" fmla="*/ 249637 h 272076"/>
                  <a:gd name="connsiteX26" fmla="*/ 1189281 w 1189281"/>
                  <a:gd name="connsiteY26" fmla="*/ 249637 h 272076"/>
                  <a:gd name="connsiteX27" fmla="*/ 1189281 w 1189281"/>
                  <a:gd name="connsiteY27" fmla="*/ 272076 h 272076"/>
                  <a:gd name="connsiteX0" fmla="*/ 0 w 1189281"/>
                  <a:gd name="connsiteY0" fmla="*/ 0 h 272076"/>
                  <a:gd name="connsiteX1" fmla="*/ 0 w 1189281"/>
                  <a:gd name="connsiteY1" fmla="*/ 50489 h 272076"/>
                  <a:gd name="connsiteX2" fmla="*/ 176710 w 1189281"/>
                  <a:gd name="connsiteY2" fmla="*/ 50489 h 272076"/>
                  <a:gd name="connsiteX3" fmla="*/ 176710 w 1189281"/>
                  <a:gd name="connsiteY3" fmla="*/ 61708 h 272076"/>
                  <a:gd name="connsiteX4" fmla="*/ 272076 w 1189281"/>
                  <a:gd name="connsiteY4" fmla="*/ 61708 h 272076"/>
                  <a:gd name="connsiteX5" fmla="*/ 272076 w 1189281"/>
                  <a:gd name="connsiteY5" fmla="*/ 92562 h 272076"/>
                  <a:gd name="connsiteX6" fmla="*/ 381468 w 1189281"/>
                  <a:gd name="connsiteY6" fmla="*/ 92562 h 272076"/>
                  <a:gd name="connsiteX7" fmla="*/ 381468 w 1189281"/>
                  <a:gd name="connsiteY7" fmla="*/ 106587 h 272076"/>
                  <a:gd name="connsiteX8" fmla="*/ 507689 w 1189281"/>
                  <a:gd name="connsiteY8" fmla="*/ 106587 h 272076"/>
                  <a:gd name="connsiteX9" fmla="*/ 507689 w 1189281"/>
                  <a:gd name="connsiteY9" fmla="*/ 126221 h 272076"/>
                  <a:gd name="connsiteX10" fmla="*/ 527323 w 1189281"/>
                  <a:gd name="connsiteY10" fmla="*/ 126221 h 272076"/>
                  <a:gd name="connsiteX11" fmla="*/ 530976 w 1189281"/>
                  <a:gd name="connsiteY11" fmla="*/ 127492 h 272076"/>
                  <a:gd name="connsiteX12" fmla="*/ 569397 w 1189281"/>
                  <a:gd name="connsiteY12" fmla="*/ 134636 h 272076"/>
                  <a:gd name="connsiteX13" fmla="*/ 569397 w 1189281"/>
                  <a:gd name="connsiteY13" fmla="*/ 157075 h 272076"/>
                  <a:gd name="connsiteX14" fmla="*/ 793789 w 1189281"/>
                  <a:gd name="connsiteY14" fmla="*/ 157075 h 272076"/>
                  <a:gd name="connsiteX15" fmla="*/ 793789 w 1189281"/>
                  <a:gd name="connsiteY15" fmla="*/ 171100 h 272076"/>
                  <a:gd name="connsiteX16" fmla="*/ 880741 w 1189281"/>
                  <a:gd name="connsiteY16" fmla="*/ 171100 h 272076"/>
                  <a:gd name="connsiteX17" fmla="*/ 891961 w 1189281"/>
                  <a:gd name="connsiteY17" fmla="*/ 182320 h 272076"/>
                  <a:gd name="connsiteX18" fmla="*/ 945254 w 1189281"/>
                  <a:gd name="connsiteY18" fmla="*/ 182320 h 272076"/>
                  <a:gd name="connsiteX19" fmla="*/ 953669 w 1189281"/>
                  <a:gd name="connsiteY19" fmla="*/ 190735 h 272076"/>
                  <a:gd name="connsiteX20" fmla="*/ 995743 w 1189281"/>
                  <a:gd name="connsiteY20" fmla="*/ 190735 h 272076"/>
                  <a:gd name="connsiteX21" fmla="*/ 995743 w 1189281"/>
                  <a:gd name="connsiteY21" fmla="*/ 210368 h 272076"/>
                  <a:gd name="connsiteX22" fmla="*/ 1037816 w 1189281"/>
                  <a:gd name="connsiteY22" fmla="*/ 210368 h 272076"/>
                  <a:gd name="connsiteX23" fmla="*/ 1037816 w 1189281"/>
                  <a:gd name="connsiteY23" fmla="*/ 232808 h 272076"/>
                  <a:gd name="connsiteX24" fmla="*/ 1099524 w 1189281"/>
                  <a:gd name="connsiteY24" fmla="*/ 232808 h 272076"/>
                  <a:gd name="connsiteX25" fmla="*/ 1099524 w 1189281"/>
                  <a:gd name="connsiteY25" fmla="*/ 249637 h 272076"/>
                  <a:gd name="connsiteX26" fmla="*/ 1189281 w 1189281"/>
                  <a:gd name="connsiteY26" fmla="*/ 249637 h 272076"/>
                  <a:gd name="connsiteX27" fmla="*/ 1189281 w 1189281"/>
                  <a:gd name="connsiteY27" fmla="*/ 272076 h 272076"/>
                  <a:gd name="connsiteX0" fmla="*/ 0 w 1189281"/>
                  <a:gd name="connsiteY0" fmla="*/ 0 h 272076"/>
                  <a:gd name="connsiteX1" fmla="*/ 0 w 1189281"/>
                  <a:gd name="connsiteY1" fmla="*/ 50489 h 272076"/>
                  <a:gd name="connsiteX2" fmla="*/ 176710 w 1189281"/>
                  <a:gd name="connsiteY2" fmla="*/ 50489 h 272076"/>
                  <a:gd name="connsiteX3" fmla="*/ 176710 w 1189281"/>
                  <a:gd name="connsiteY3" fmla="*/ 61708 h 272076"/>
                  <a:gd name="connsiteX4" fmla="*/ 272076 w 1189281"/>
                  <a:gd name="connsiteY4" fmla="*/ 61708 h 272076"/>
                  <a:gd name="connsiteX5" fmla="*/ 272076 w 1189281"/>
                  <a:gd name="connsiteY5" fmla="*/ 92562 h 272076"/>
                  <a:gd name="connsiteX6" fmla="*/ 381468 w 1189281"/>
                  <a:gd name="connsiteY6" fmla="*/ 92562 h 272076"/>
                  <a:gd name="connsiteX7" fmla="*/ 381468 w 1189281"/>
                  <a:gd name="connsiteY7" fmla="*/ 106587 h 272076"/>
                  <a:gd name="connsiteX8" fmla="*/ 507689 w 1189281"/>
                  <a:gd name="connsiteY8" fmla="*/ 106587 h 272076"/>
                  <a:gd name="connsiteX9" fmla="*/ 507689 w 1189281"/>
                  <a:gd name="connsiteY9" fmla="*/ 126221 h 272076"/>
                  <a:gd name="connsiteX10" fmla="*/ 527323 w 1189281"/>
                  <a:gd name="connsiteY10" fmla="*/ 126221 h 272076"/>
                  <a:gd name="connsiteX11" fmla="*/ 530976 w 1189281"/>
                  <a:gd name="connsiteY11" fmla="*/ 137017 h 272076"/>
                  <a:gd name="connsiteX12" fmla="*/ 569397 w 1189281"/>
                  <a:gd name="connsiteY12" fmla="*/ 134636 h 272076"/>
                  <a:gd name="connsiteX13" fmla="*/ 569397 w 1189281"/>
                  <a:gd name="connsiteY13" fmla="*/ 157075 h 272076"/>
                  <a:gd name="connsiteX14" fmla="*/ 793789 w 1189281"/>
                  <a:gd name="connsiteY14" fmla="*/ 157075 h 272076"/>
                  <a:gd name="connsiteX15" fmla="*/ 793789 w 1189281"/>
                  <a:gd name="connsiteY15" fmla="*/ 171100 h 272076"/>
                  <a:gd name="connsiteX16" fmla="*/ 880741 w 1189281"/>
                  <a:gd name="connsiteY16" fmla="*/ 171100 h 272076"/>
                  <a:gd name="connsiteX17" fmla="*/ 891961 w 1189281"/>
                  <a:gd name="connsiteY17" fmla="*/ 182320 h 272076"/>
                  <a:gd name="connsiteX18" fmla="*/ 945254 w 1189281"/>
                  <a:gd name="connsiteY18" fmla="*/ 182320 h 272076"/>
                  <a:gd name="connsiteX19" fmla="*/ 953669 w 1189281"/>
                  <a:gd name="connsiteY19" fmla="*/ 190735 h 272076"/>
                  <a:gd name="connsiteX20" fmla="*/ 995743 w 1189281"/>
                  <a:gd name="connsiteY20" fmla="*/ 190735 h 272076"/>
                  <a:gd name="connsiteX21" fmla="*/ 995743 w 1189281"/>
                  <a:gd name="connsiteY21" fmla="*/ 210368 h 272076"/>
                  <a:gd name="connsiteX22" fmla="*/ 1037816 w 1189281"/>
                  <a:gd name="connsiteY22" fmla="*/ 210368 h 272076"/>
                  <a:gd name="connsiteX23" fmla="*/ 1037816 w 1189281"/>
                  <a:gd name="connsiteY23" fmla="*/ 232808 h 272076"/>
                  <a:gd name="connsiteX24" fmla="*/ 1099524 w 1189281"/>
                  <a:gd name="connsiteY24" fmla="*/ 232808 h 272076"/>
                  <a:gd name="connsiteX25" fmla="*/ 1099524 w 1189281"/>
                  <a:gd name="connsiteY25" fmla="*/ 249637 h 272076"/>
                  <a:gd name="connsiteX26" fmla="*/ 1189281 w 1189281"/>
                  <a:gd name="connsiteY26" fmla="*/ 249637 h 272076"/>
                  <a:gd name="connsiteX27" fmla="*/ 1189281 w 1189281"/>
                  <a:gd name="connsiteY27" fmla="*/ 272076 h 272076"/>
                  <a:gd name="connsiteX0" fmla="*/ 0 w 1189281"/>
                  <a:gd name="connsiteY0" fmla="*/ 0 h 281601"/>
                  <a:gd name="connsiteX1" fmla="*/ 0 w 1189281"/>
                  <a:gd name="connsiteY1" fmla="*/ 50489 h 281601"/>
                  <a:gd name="connsiteX2" fmla="*/ 176710 w 1189281"/>
                  <a:gd name="connsiteY2" fmla="*/ 50489 h 281601"/>
                  <a:gd name="connsiteX3" fmla="*/ 176710 w 1189281"/>
                  <a:gd name="connsiteY3" fmla="*/ 61708 h 281601"/>
                  <a:gd name="connsiteX4" fmla="*/ 272076 w 1189281"/>
                  <a:gd name="connsiteY4" fmla="*/ 61708 h 281601"/>
                  <a:gd name="connsiteX5" fmla="*/ 272076 w 1189281"/>
                  <a:gd name="connsiteY5" fmla="*/ 92562 h 281601"/>
                  <a:gd name="connsiteX6" fmla="*/ 381468 w 1189281"/>
                  <a:gd name="connsiteY6" fmla="*/ 92562 h 281601"/>
                  <a:gd name="connsiteX7" fmla="*/ 381468 w 1189281"/>
                  <a:gd name="connsiteY7" fmla="*/ 106587 h 281601"/>
                  <a:gd name="connsiteX8" fmla="*/ 507689 w 1189281"/>
                  <a:gd name="connsiteY8" fmla="*/ 106587 h 281601"/>
                  <a:gd name="connsiteX9" fmla="*/ 507689 w 1189281"/>
                  <a:gd name="connsiteY9" fmla="*/ 126221 h 281601"/>
                  <a:gd name="connsiteX10" fmla="*/ 527323 w 1189281"/>
                  <a:gd name="connsiteY10" fmla="*/ 126221 h 281601"/>
                  <a:gd name="connsiteX11" fmla="*/ 530976 w 1189281"/>
                  <a:gd name="connsiteY11" fmla="*/ 137017 h 281601"/>
                  <a:gd name="connsiteX12" fmla="*/ 569397 w 1189281"/>
                  <a:gd name="connsiteY12" fmla="*/ 134636 h 281601"/>
                  <a:gd name="connsiteX13" fmla="*/ 569397 w 1189281"/>
                  <a:gd name="connsiteY13" fmla="*/ 157075 h 281601"/>
                  <a:gd name="connsiteX14" fmla="*/ 793789 w 1189281"/>
                  <a:gd name="connsiteY14" fmla="*/ 157075 h 281601"/>
                  <a:gd name="connsiteX15" fmla="*/ 793789 w 1189281"/>
                  <a:gd name="connsiteY15" fmla="*/ 171100 h 281601"/>
                  <a:gd name="connsiteX16" fmla="*/ 880741 w 1189281"/>
                  <a:gd name="connsiteY16" fmla="*/ 171100 h 281601"/>
                  <a:gd name="connsiteX17" fmla="*/ 891961 w 1189281"/>
                  <a:gd name="connsiteY17" fmla="*/ 182320 h 281601"/>
                  <a:gd name="connsiteX18" fmla="*/ 945254 w 1189281"/>
                  <a:gd name="connsiteY18" fmla="*/ 182320 h 281601"/>
                  <a:gd name="connsiteX19" fmla="*/ 953669 w 1189281"/>
                  <a:gd name="connsiteY19" fmla="*/ 190735 h 281601"/>
                  <a:gd name="connsiteX20" fmla="*/ 995743 w 1189281"/>
                  <a:gd name="connsiteY20" fmla="*/ 190735 h 281601"/>
                  <a:gd name="connsiteX21" fmla="*/ 995743 w 1189281"/>
                  <a:gd name="connsiteY21" fmla="*/ 210368 h 281601"/>
                  <a:gd name="connsiteX22" fmla="*/ 1037816 w 1189281"/>
                  <a:gd name="connsiteY22" fmla="*/ 210368 h 281601"/>
                  <a:gd name="connsiteX23" fmla="*/ 1037816 w 1189281"/>
                  <a:gd name="connsiteY23" fmla="*/ 232808 h 281601"/>
                  <a:gd name="connsiteX24" fmla="*/ 1099524 w 1189281"/>
                  <a:gd name="connsiteY24" fmla="*/ 232808 h 281601"/>
                  <a:gd name="connsiteX25" fmla="*/ 1099524 w 1189281"/>
                  <a:gd name="connsiteY25" fmla="*/ 249637 h 281601"/>
                  <a:gd name="connsiteX26" fmla="*/ 1189281 w 1189281"/>
                  <a:gd name="connsiteY26" fmla="*/ 249637 h 281601"/>
                  <a:gd name="connsiteX27" fmla="*/ 1189281 w 1189281"/>
                  <a:gd name="connsiteY27" fmla="*/ 281601 h 281601"/>
                  <a:gd name="connsiteX0" fmla="*/ 0 w 1189281"/>
                  <a:gd name="connsiteY0" fmla="*/ 0 h 300651"/>
                  <a:gd name="connsiteX1" fmla="*/ 0 w 1189281"/>
                  <a:gd name="connsiteY1" fmla="*/ 50489 h 300651"/>
                  <a:gd name="connsiteX2" fmla="*/ 176710 w 1189281"/>
                  <a:gd name="connsiteY2" fmla="*/ 50489 h 300651"/>
                  <a:gd name="connsiteX3" fmla="*/ 176710 w 1189281"/>
                  <a:gd name="connsiteY3" fmla="*/ 61708 h 300651"/>
                  <a:gd name="connsiteX4" fmla="*/ 272076 w 1189281"/>
                  <a:gd name="connsiteY4" fmla="*/ 61708 h 300651"/>
                  <a:gd name="connsiteX5" fmla="*/ 272076 w 1189281"/>
                  <a:gd name="connsiteY5" fmla="*/ 92562 h 300651"/>
                  <a:gd name="connsiteX6" fmla="*/ 381468 w 1189281"/>
                  <a:gd name="connsiteY6" fmla="*/ 92562 h 300651"/>
                  <a:gd name="connsiteX7" fmla="*/ 381468 w 1189281"/>
                  <a:gd name="connsiteY7" fmla="*/ 106587 h 300651"/>
                  <a:gd name="connsiteX8" fmla="*/ 507689 w 1189281"/>
                  <a:gd name="connsiteY8" fmla="*/ 106587 h 300651"/>
                  <a:gd name="connsiteX9" fmla="*/ 507689 w 1189281"/>
                  <a:gd name="connsiteY9" fmla="*/ 126221 h 300651"/>
                  <a:gd name="connsiteX10" fmla="*/ 527323 w 1189281"/>
                  <a:gd name="connsiteY10" fmla="*/ 126221 h 300651"/>
                  <a:gd name="connsiteX11" fmla="*/ 530976 w 1189281"/>
                  <a:gd name="connsiteY11" fmla="*/ 137017 h 300651"/>
                  <a:gd name="connsiteX12" fmla="*/ 569397 w 1189281"/>
                  <a:gd name="connsiteY12" fmla="*/ 134636 h 300651"/>
                  <a:gd name="connsiteX13" fmla="*/ 569397 w 1189281"/>
                  <a:gd name="connsiteY13" fmla="*/ 157075 h 300651"/>
                  <a:gd name="connsiteX14" fmla="*/ 793789 w 1189281"/>
                  <a:gd name="connsiteY14" fmla="*/ 157075 h 300651"/>
                  <a:gd name="connsiteX15" fmla="*/ 793789 w 1189281"/>
                  <a:gd name="connsiteY15" fmla="*/ 171100 h 300651"/>
                  <a:gd name="connsiteX16" fmla="*/ 880741 w 1189281"/>
                  <a:gd name="connsiteY16" fmla="*/ 171100 h 300651"/>
                  <a:gd name="connsiteX17" fmla="*/ 891961 w 1189281"/>
                  <a:gd name="connsiteY17" fmla="*/ 182320 h 300651"/>
                  <a:gd name="connsiteX18" fmla="*/ 945254 w 1189281"/>
                  <a:gd name="connsiteY18" fmla="*/ 182320 h 300651"/>
                  <a:gd name="connsiteX19" fmla="*/ 953669 w 1189281"/>
                  <a:gd name="connsiteY19" fmla="*/ 190735 h 300651"/>
                  <a:gd name="connsiteX20" fmla="*/ 995743 w 1189281"/>
                  <a:gd name="connsiteY20" fmla="*/ 190735 h 300651"/>
                  <a:gd name="connsiteX21" fmla="*/ 995743 w 1189281"/>
                  <a:gd name="connsiteY21" fmla="*/ 210368 h 300651"/>
                  <a:gd name="connsiteX22" fmla="*/ 1037816 w 1189281"/>
                  <a:gd name="connsiteY22" fmla="*/ 210368 h 300651"/>
                  <a:gd name="connsiteX23" fmla="*/ 1037816 w 1189281"/>
                  <a:gd name="connsiteY23" fmla="*/ 232808 h 300651"/>
                  <a:gd name="connsiteX24" fmla="*/ 1099524 w 1189281"/>
                  <a:gd name="connsiteY24" fmla="*/ 232808 h 300651"/>
                  <a:gd name="connsiteX25" fmla="*/ 1099524 w 1189281"/>
                  <a:gd name="connsiteY25" fmla="*/ 249637 h 300651"/>
                  <a:gd name="connsiteX26" fmla="*/ 1189281 w 1189281"/>
                  <a:gd name="connsiteY26" fmla="*/ 249637 h 300651"/>
                  <a:gd name="connsiteX27" fmla="*/ 1189281 w 1189281"/>
                  <a:gd name="connsiteY27" fmla="*/ 300651 h 300651"/>
                  <a:gd name="connsiteX0" fmla="*/ 0 w 1189281"/>
                  <a:gd name="connsiteY0" fmla="*/ 0 h 314938"/>
                  <a:gd name="connsiteX1" fmla="*/ 0 w 1189281"/>
                  <a:gd name="connsiteY1" fmla="*/ 50489 h 314938"/>
                  <a:gd name="connsiteX2" fmla="*/ 176710 w 1189281"/>
                  <a:gd name="connsiteY2" fmla="*/ 50489 h 314938"/>
                  <a:gd name="connsiteX3" fmla="*/ 176710 w 1189281"/>
                  <a:gd name="connsiteY3" fmla="*/ 61708 h 314938"/>
                  <a:gd name="connsiteX4" fmla="*/ 272076 w 1189281"/>
                  <a:gd name="connsiteY4" fmla="*/ 61708 h 314938"/>
                  <a:gd name="connsiteX5" fmla="*/ 272076 w 1189281"/>
                  <a:gd name="connsiteY5" fmla="*/ 92562 h 314938"/>
                  <a:gd name="connsiteX6" fmla="*/ 381468 w 1189281"/>
                  <a:gd name="connsiteY6" fmla="*/ 92562 h 314938"/>
                  <a:gd name="connsiteX7" fmla="*/ 381468 w 1189281"/>
                  <a:gd name="connsiteY7" fmla="*/ 106587 h 314938"/>
                  <a:gd name="connsiteX8" fmla="*/ 507689 w 1189281"/>
                  <a:gd name="connsiteY8" fmla="*/ 106587 h 314938"/>
                  <a:gd name="connsiteX9" fmla="*/ 507689 w 1189281"/>
                  <a:gd name="connsiteY9" fmla="*/ 126221 h 314938"/>
                  <a:gd name="connsiteX10" fmla="*/ 527323 w 1189281"/>
                  <a:gd name="connsiteY10" fmla="*/ 126221 h 314938"/>
                  <a:gd name="connsiteX11" fmla="*/ 530976 w 1189281"/>
                  <a:gd name="connsiteY11" fmla="*/ 137017 h 314938"/>
                  <a:gd name="connsiteX12" fmla="*/ 569397 w 1189281"/>
                  <a:gd name="connsiteY12" fmla="*/ 134636 h 314938"/>
                  <a:gd name="connsiteX13" fmla="*/ 569397 w 1189281"/>
                  <a:gd name="connsiteY13" fmla="*/ 157075 h 314938"/>
                  <a:gd name="connsiteX14" fmla="*/ 793789 w 1189281"/>
                  <a:gd name="connsiteY14" fmla="*/ 157075 h 314938"/>
                  <a:gd name="connsiteX15" fmla="*/ 793789 w 1189281"/>
                  <a:gd name="connsiteY15" fmla="*/ 171100 h 314938"/>
                  <a:gd name="connsiteX16" fmla="*/ 880741 w 1189281"/>
                  <a:gd name="connsiteY16" fmla="*/ 171100 h 314938"/>
                  <a:gd name="connsiteX17" fmla="*/ 891961 w 1189281"/>
                  <a:gd name="connsiteY17" fmla="*/ 182320 h 314938"/>
                  <a:gd name="connsiteX18" fmla="*/ 945254 w 1189281"/>
                  <a:gd name="connsiteY18" fmla="*/ 182320 h 314938"/>
                  <a:gd name="connsiteX19" fmla="*/ 953669 w 1189281"/>
                  <a:gd name="connsiteY19" fmla="*/ 190735 h 314938"/>
                  <a:gd name="connsiteX20" fmla="*/ 995743 w 1189281"/>
                  <a:gd name="connsiteY20" fmla="*/ 190735 h 314938"/>
                  <a:gd name="connsiteX21" fmla="*/ 995743 w 1189281"/>
                  <a:gd name="connsiteY21" fmla="*/ 210368 h 314938"/>
                  <a:gd name="connsiteX22" fmla="*/ 1037816 w 1189281"/>
                  <a:gd name="connsiteY22" fmla="*/ 210368 h 314938"/>
                  <a:gd name="connsiteX23" fmla="*/ 1037816 w 1189281"/>
                  <a:gd name="connsiteY23" fmla="*/ 232808 h 314938"/>
                  <a:gd name="connsiteX24" fmla="*/ 1099524 w 1189281"/>
                  <a:gd name="connsiteY24" fmla="*/ 232808 h 314938"/>
                  <a:gd name="connsiteX25" fmla="*/ 1099524 w 1189281"/>
                  <a:gd name="connsiteY25" fmla="*/ 249637 h 314938"/>
                  <a:gd name="connsiteX26" fmla="*/ 1189281 w 1189281"/>
                  <a:gd name="connsiteY26" fmla="*/ 249637 h 314938"/>
                  <a:gd name="connsiteX27" fmla="*/ 1189281 w 1189281"/>
                  <a:gd name="connsiteY27" fmla="*/ 314938 h 314938"/>
                  <a:gd name="connsiteX0" fmla="*/ 0 w 1191663"/>
                  <a:gd name="connsiteY0" fmla="*/ 0 h 305413"/>
                  <a:gd name="connsiteX1" fmla="*/ 0 w 1191663"/>
                  <a:gd name="connsiteY1" fmla="*/ 50489 h 305413"/>
                  <a:gd name="connsiteX2" fmla="*/ 176710 w 1191663"/>
                  <a:gd name="connsiteY2" fmla="*/ 50489 h 305413"/>
                  <a:gd name="connsiteX3" fmla="*/ 176710 w 1191663"/>
                  <a:gd name="connsiteY3" fmla="*/ 61708 h 305413"/>
                  <a:gd name="connsiteX4" fmla="*/ 272076 w 1191663"/>
                  <a:gd name="connsiteY4" fmla="*/ 61708 h 305413"/>
                  <a:gd name="connsiteX5" fmla="*/ 272076 w 1191663"/>
                  <a:gd name="connsiteY5" fmla="*/ 92562 h 305413"/>
                  <a:gd name="connsiteX6" fmla="*/ 381468 w 1191663"/>
                  <a:gd name="connsiteY6" fmla="*/ 92562 h 305413"/>
                  <a:gd name="connsiteX7" fmla="*/ 381468 w 1191663"/>
                  <a:gd name="connsiteY7" fmla="*/ 106587 h 305413"/>
                  <a:gd name="connsiteX8" fmla="*/ 507689 w 1191663"/>
                  <a:gd name="connsiteY8" fmla="*/ 106587 h 305413"/>
                  <a:gd name="connsiteX9" fmla="*/ 507689 w 1191663"/>
                  <a:gd name="connsiteY9" fmla="*/ 126221 h 305413"/>
                  <a:gd name="connsiteX10" fmla="*/ 527323 w 1191663"/>
                  <a:gd name="connsiteY10" fmla="*/ 126221 h 305413"/>
                  <a:gd name="connsiteX11" fmla="*/ 530976 w 1191663"/>
                  <a:gd name="connsiteY11" fmla="*/ 137017 h 305413"/>
                  <a:gd name="connsiteX12" fmla="*/ 569397 w 1191663"/>
                  <a:gd name="connsiteY12" fmla="*/ 134636 h 305413"/>
                  <a:gd name="connsiteX13" fmla="*/ 569397 w 1191663"/>
                  <a:gd name="connsiteY13" fmla="*/ 157075 h 305413"/>
                  <a:gd name="connsiteX14" fmla="*/ 793789 w 1191663"/>
                  <a:gd name="connsiteY14" fmla="*/ 157075 h 305413"/>
                  <a:gd name="connsiteX15" fmla="*/ 793789 w 1191663"/>
                  <a:gd name="connsiteY15" fmla="*/ 171100 h 305413"/>
                  <a:gd name="connsiteX16" fmla="*/ 880741 w 1191663"/>
                  <a:gd name="connsiteY16" fmla="*/ 171100 h 305413"/>
                  <a:gd name="connsiteX17" fmla="*/ 891961 w 1191663"/>
                  <a:gd name="connsiteY17" fmla="*/ 182320 h 305413"/>
                  <a:gd name="connsiteX18" fmla="*/ 945254 w 1191663"/>
                  <a:gd name="connsiteY18" fmla="*/ 182320 h 305413"/>
                  <a:gd name="connsiteX19" fmla="*/ 953669 w 1191663"/>
                  <a:gd name="connsiteY19" fmla="*/ 190735 h 305413"/>
                  <a:gd name="connsiteX20" fmla="*/ 995743 w 1191663"/>
                  <a:gd name="connsiteY20" fmla="*/ 190735 h 305413"/>
                  <a:gd name="connsiteX21" fmla="*/ 995743 w 1191663"/>
                  <a:gd name="connsiteY21" fmla="*/ 210368 h 305413"/>
                  <a:gd name="connsiteX22" fmla="*/ 1037816 w 1191663"/>
                  <a:gd name="connsiteY22" fmla="*/ 210368 h 305413"/>
                  <a:gd name="connsiteX23" fmla="*/ 1037816 w 1191663"/>
                  <a:gd name="connsiteY23" fmla="*/ 232808 h 305413"/>
                  <a:gd name="connsiteX24" fmla="*/ 1099524 w 1191663"/>
                  <a:gd name="connsiteY24" fmla="*/ 232808 h 305413"/>
                  <a:gd name="connsiteX25" fmla="*/ 1099524 w 1191663"/>
                  <a:gd name="connsiteY25" fmla="*/ 249637 h 305413"/>
                  <a:gd name="connsiteX26" fmla="*/ 1189281 w 1191663"/>
                  <a:gd name="connsiteY26" fmla="*/ 249637 h 305413"/>
                  <a:gd name="connsiteX27" fmla="*/ 1191663 w 1191663"/>
                  <a:gd name="connsiteY27" fmla="*/ 305413 h 305413"/>
                  <a:gd name="connsiteX0" fmla="*/ 0 w 1196426"/>
                  <a:gd name="connsiteY0" fmla="*/ 0 h 312556"/>
                  <a:gd name="connsiteX1" fmla="*/ 0 w 1196426"/>
                  <a:gd name="connsiteY1" fmla="*/ 50489 h 312556"/>
                  <a:gd name="connsiteX2" fmla="*/ 176710 w 1196426"/>
                  <a:gd name="connsiteY2" fmla="*/ 50489 h 312556"/>
                  <a:gd name="connsiteX3" fmla="*/ 176710 w 1196426"/>
                  <a:gd name="connsiteY3" fmla="*/ 61708 h 312556"/>
                  <a:gd name="connsiteX4" fmla="*/ 272076 w 1196426"/>
                  <a:gd name="connsiteY4" fmla="*/ 61708 h 312556"/>
                  <a:gd name="connsiteX5" fmla="*/ 272076 w 1196426"/>
                  <a:gd name="connsiteY5" fmla="*/ 92562 h 312556"/>
                  <a:gd name="connsiteX6" fmla="*/ 381468 w 1196426"/>
                  <a:gd name="connsiteY6" fmla="*/ 92562 h 312556"/>
                  <a:gd name="connsiteX7" fmla="*/ 381468 w 1196426"/>
                  <a:gd name="connsiteY7" fmla="*/ 106587 h 312556"/>
                  <a:gd name="connsiteX8" fmla="*/ 507689 w 1196426"/>
                  <a:gd name="connsiteY8" fmla="*/ 106587 h 312556"/>
                  <a:gd name="connsiteX9" fmla="*/ 507689 w 1196426"/>
                  <a:gd name="connsiteY9" fmla="*/ 126221 h 312556"/>
                  <a:gd name="connsiteX10" fmla="*/ 527323 w 1196426"/>
                  <a:gd name="connsiteY10" fmla="*/ 126221 h 312556"/>
                  <a:gd name="connsiteX11" fmla="*/ 530976 w 1196426"/>
                  <a:gd name="connsiteY11" fmla="*/ 137017 h 312556"/>
                  <a:gd name="connsiteX12" fmla="*/ 569397 w 1196426"/>
                  <a:gd name="connsiteY12" fmla="*/ 134636 h 312556"/>
                  <a:gd name="connsiteX13" fmla="*/ 569397 w 1196426"/>
                  <a:gd name="connsiteY13" fmla="*/ 157075 h 312556"/>
                  <a:gd name="connsiteX14" fmla="*/ 793789 w 1196426"/>
                  <a:gd name="connsiteY14" fmla="*/ 157075 h 312556"/>
                  <a:gd name="connsiteX15" fmla="*/ 793789 w 1196426"/>
                  <a:gd name="connsiteY15" fmla="*/ 171100 h 312556"/>
                  <a:gd name="connsiteX16" fmla="*/ 880741 w 1196426"/>
                  <a:gd name="connsiteY16" fmla="*/ 171100 h 312556"/>
                  <a:gd name="connsiteX17" fmla="*/ 891961 w 1196426"/>
                  <a:gd name="connsiteY17" fmla="*/ 182320 h 312556"/>
                  <a:gd name="connsiteX18" fmla="*/ 945254 w 1196426"/>
                  <a:gd name="connsiteY18" fmla="*/ 182320 h 312556"/>
                  <a:gd name="connsiteX19" fmla="*/ 953669 w 1196426"/>
                  <a:gd name="connsiteY19" fmla="*/ 190735 h 312556"/>
                  <a:gd name="connsiteX20" fmla="*/ 995743 w 1196426"/>
                  <a:gd name="connsiteY20" fmla="*/ 190735 h 312556"/>
                  <a:gd name="connsiteX21" fmla="*/ 995743 w 1196426"/>
                  <a:gd name="connsiteY21" fmla="*/ 210368 h 312556"/>
                  <a:gd name="connsiteX22" fmla="*/ 1037816 w 1196426"/>
                  <a:gd name="connsiteY22" fmla="*/ 210368 h 312556"/>
                  <a:gd name="connsiteX23" fmla="*/ 1037816 w 1196426"/>
                  <a:gd name="connsiteY23" fmla="*/ 232808 h 312556"/>
                  <a:gd name="connsiteX24" fmla="*/ 1099524 w 1196426"/>
                  <a:gd name="connsiteY24" fmla="*/ 232808 h 312556"/>
                  <a:gd name="connsiteX25" fmla="*/ 1099524 w 1196426"/>
                  <a:gd name="connsiteY25" fmla="*/ 249637 h 312556"/>
                  <a:gd name="connsiteX26" fmla="*/ 1189281 w 1196426"/>
                  <a:gd name="connsiteY26" fmla="*/ 249637 h 312556"/>
                  <a:gd name="connsiteX27" fmla="*/ 1196426 w 1196426"/>
                  <a:gd name="connsiteY27" fmla="*/ 312556 h 312556"/>
                  <a:gd name="connsiteX0" fmla="*/ 0 w 1194044"/>
                  <a:gd name="connsiteY0" fmla="*/ 0 h 312556"/>
                  <a:gd name="connsiteX1" fmla="*/ 0 w 1194044"/>
                  <a:gd name="connsiteY1" fmla="*/ 50489 h 312556"/>
                  <a:gd name="connsiteX2" fmla="*/ 176710 w 1194044"/>
                  <a:gd name="connsiteY2" fmla="*/ 50489 h 312556"/>
                  <a:gd name="connsiteX3" fmla="*/ 176710 w 1194044"/>
                  <a:gd name="connsiteY3" fmla="*/ 61708 h 312556"/>
                  <a:gd name="connsiteX4" fmla="*/ 272076 w 1194044"/>
                  <a:gd name="connsiteY4" fmla="*/ 61708 h 312556"/>
                  <a:gd name="connsiteX5" fmla="*/ 272076 w 1194044"/>
                  <a:gd name="connsiteY5" fmla="*/ 92562 h 312556"/>
                  <a:gd name="connsiteX6" fmla="*/ 381468 w 1194044"/>
                  <a:gd name="connsiteY6" fmla="*/ 92562 h 312556"/>
                  <a:gd name="connsiteX7" fmla="*/ 381468 w 1194044"/>
                  <a:gd name="connsiteY7" fmla="*/ 106587 h 312556"/>
                  <a:gd name="connsiteX8" fmla="*/ 507689 w 1194044"/>
                  <a:gd name="connsiteY8" fmla="*/ 106587 h 312556"/>
                  <a:gd name="connsiteX9" fmla="*/ 507689 w 1194044"/>
                  <a:gd name="connsiteY9" fmla="*/ 126221 h 312556"/>
                  <a:gd name="connsiteX10" fmla="*/ 527323 w 1194044"/>
                  <a:gd name="connsiteY10" fmla="*/ 126221 h 312556"/>
                  <a:gd name="connsiteX11" fmla="*/ 530976 w 1194044"/>
                  <a:gd name="connsiteY11" fmla="*/ 137017 h 312556"/>
                  <a:gd name="connsiteX12" fmla="*/ 569397 w 1194044"/>
                  <a:gd name="connsiteY12" fmla="*/ 134636 h 312556"/>
                  <a:gd name="connsiteX13" fmla="*/ 569397 w 1194044"/>
                  <a:gd name="connsiteY13" fmla="*/ 157075 h 312556"/>
                  <a:gd name="connsiteX14" fmla="*/ 793789 w 1194044"/>
                  <a:gd name="connsiteY14" fmla="*/ 157075 h 312556"/>
                  <a:gd name="connsiteX15" fmla="*/ 793789 w 1194044"/>
                  <a:gd name="connsiteY15" fmla="*/ 171100 h 312556"/>
                  <a:gd name="connsiteX16" fmla="*/ 880741 w 1194044"/>
                  <a:gd name="connsiteY16" fmla="*/ 171100 h 312556"/>
                  <a:gd name="connsiteX17" fmla="*/ 891961 w 1194044"/>
                  <a:gd name="connsiteY17" fmla="*/ 182320 h 312556"/>
                  <a:gd name="connsiteX18" fmla="*/ 945254 w 1194044"/>
                  <a:gd name="connsiteY18" fmla="*/ 182320 h 312556"/>
                  <a:gd name="connsiteX19" fmla="*/ 953669 w 1194044"/>
                  <a:gd name="connsiteY19" fmla="*/ 190735 h 312556"/>
                  <a:gd name="connsiteX20" fmla="*/ 995743 w 1194044"/>
                  <a:gd name="connsiteY20" fmla="*/ 190735 h 312556"/>
                  <a:gd name="connsiteX21" fmla="*/ 995743 w 1194044"/>
                  <a:gd name="connsiteY21" fmla="*/ 210368 h 312556"/>
                  <a:gd name="connsiteX22" fmla="*/ 1037816 w 1194044"/>
                  <a:gd name="connsiteY22" fmla="*/ 210368 h 312556"/>
                  <a:gd name="connsiteX23" fmla="*/ 1037816 w 1194044"/>
                  <a:gd name="connsiteY23" fmla="*/ 232808 h 312556"/>
                  <a:gd name="connsiteX24" fmla="*/ 1099524 w 1194044"/>
                  <a:gd name="connsiteY24" fmla="*/ 232808 h 312556"/>
                  <a:gd name="connsiteX25" fmla="*/ 1099524 w 1194044"/>
                  <a:gd name="connsiteY25" fmla="*/ 249637 h 312556"/>
                  <a:gd name="connsiteX26" fmla="*/ 1189281 w 1194044"/>
                  <a:gd name="connsiteY26" fmla="*/ 249637 h 312556"/>
                  <a:gd name="connsiteX27" fmla="*/ 1194044 w 1194044"/>
                  <a:gd name="connsiteY27" fmla="*/ 312556 h 312556"/>
                  <a:gd name="connsiteX0" fmla="*/ 0 w 1196425"/>
                  <a:gd name="connsiteY0" fmla="*/ 0 h 305412"/>
                  <a:gd name="connsiteX1" fmla="*/ 0 w 1196425"/>
                  <a:gd name="connsiteY1" fmla="*/ 50489 h 305412"/>
                  <a:gd name="connsiteX2" fmla="*/ 176710 w 1196425"/>
                  <a:gd name="connsiteY2" fmla="*/ 50489 h 305412"/>
                  <a:gd name="connsiteX3" fmla="*/ 176710 w 1196425"/>
                  <a:gd name="connsiteY3" fmla="*/ 61708 h 305412"/>
                  <a:gd name="connsiteX4" fmla="*/ 272076 w 1196425"/>
                  <a:gd name="connsiteY4" fmla="*/ 61708 h 305412"/>
                  <a:gd name="connsiteX5" fmla="*/ 272076 w 1196425"/>
                  <a:gd name="connsiteY5" fmla="*/ 92562 h 305412"/>
                  <a:gd name="connsiteX6" fmla="*/ 381468 w 1196425"/>
                  <a:gd name="connsiteY6" fmla="*/ 92562 h 305412"/>
                  <a:gd name="connsiteX7" fmla="*/ 381468 w 1196425"/>
                  <a:gd name="connsiteY7" fmla="*/ 106587 h 305412"/>
                  <a:gd name="connsiteX8" fmla="*/ 507689 w 1196425"/>
                  <a:gd name="connsiteY8" fmla="*/ 106587 h 305412"/>
                  <a:gd name="connsiteX9" fmla="*/ 507689 w 1196425"/>
                  <a:gd name="connsiteY9" fmla="*/ 126221 h 305412"/>
                  <a:gd name="connsiteX10" fmla="*/ 527323 w 1196425"/>
                  <a:gd name="connsiteY10" fmla="*/ 126221 h 305412"/>
                  <a:gd name="connsiteX11" fmla="*/ 530976 w 1196425"/>
                  <a:gd name="connsiteY11" fmla="*/ 137017 h 305412"/>
                  <a:gd name="connsiteX12" fmla="*/ 569397 w 1196425"/>
                  <a:gd name="connsiteY12" fmla="*/ 134636 h 305412"/>
                  <a:gd name="connsiteX13" fmla="*/ 569397 w 1196425"/>
                  <a:gd name="connsiteY13" fmla="*/ 157075 h 305412"/>
                  <a:gd name="connsiteX14" fmla="*/ 793789 w 1196425"/>
                  <a:gd name="connsiteY14" fmla="*/ 157075 h 305412"/>
                  <a:gd name="connsiteX15" fmla="*/ 793789 w 1196425"/>
                  <a:gd name="connsiteY15" fmla="*/ 171100 h 305412"/>
                  <a:gd name="connsiteX16" fmla="*/ 880741 w 1196425"/>
                  <a:gd name="connsiteY16" fmla="*/ 171100 h 305412"/>
                  <a:gd name="connsiteX17" fmla="*/ 891961 w 1196425"/>
                  <a:gd name="connsiteY17" fmla="*/ 182320 h 305412"/>
                  <a:gd name="connsiteX18" fmla="*/ 945254 w 1196425"/>
                  <a:gd name="connsiteY18" fmla="*/ 182320 h 305412"/>
                  <a:gd name="connsiteX19" fmla="*/ 953669 w 1196425"/>
                  <a:gd name="connsiteY19" fmla="*/ 190735 h 305412"/>
                  <a:gd name="connsiteX20" fmla="*/ 995743 w 1196425"/>
                  <a:gd name="connsiteY20" fmla="*/ 190735 h 305412"/>
                  <a:gd name="connsiteX21" fmla="*/ 995743 w 1196425"/>
                  <a:gd name="connsiteY21" fmla="*/ 210368 h 305412"/>
                  <a:gd name="connsiteX22" fmla="*/ 1037816 w 1196425"/>
                  <a:gd name="connsiteY22" fmla="*/ 210368 h 305412"/>
                  <a:gd name="connsiteX23" fmla="*/ 1037816 w 1196425"/>
                  <a:gd name="connsiteY23" fmla="*/ 232808 h 305412"/>
                  <a:gd name="connsiteX24" fmla="*/ 1099524 w 1196425"/>
                  <a:gd name="connsiteY24" fmla="*/ 232808 h 305412"/>
                  <a:gd name="connsiteX25" fmla="*/ 1099524 w 1196425"/>
                  <a:gd name="connsiteY25" fmla="*/ 249637 h 305412"/>
                  <a:gd name="connsiteX26" fmla="*/ 1189281 w 1196425"/>
                  <a:gd name="connsiteY26" fmla="*/ 249637 h 305412"/>
                  <a:gd name="connsiteX27" fmla="*/ 1196425 w 1196425"/>
                  <a:gd name="connsiteY27" fmla="*/ 305412 h 305412"/>
                  <a:gd name="connsiteX0" fmla="*/ 0 w 1189281"/>
                  <a:gd name="connsiteY0" fmla="*/ 0 h 307794"/>
                  <a:gd name="connsiteX1" fmla="*/ 0 w 1189281"/>
                  <a:gd name="connsiteY1" fmla="*/ 50489 h 307794"/>
                  <a:gd name="connsiteX2" fmla="*/ 176710 w 1189281"/>
                  <a:gd name="connsiteY2" fmla="*/ 50489 h 307794"/>
                  <a:gd name="connsiteX3" fmla="*/ 176710 w 1189281"/>
                  <a:gd name="connsiteY3" fmla="*/ 61708 h 307794"/>
                  <a:gd name="connsiteX4" fmla="*/ 272076 w 1189281"/>
                  <a:gd name="connsiteY4" fmla="*/ 61708 h 307794"/>
                  <a:gd name="connsiteX5" fmla="*/ 272076 w 1189281"/>
                  <a:gd name="connsiteY5" fmla="*/ 92562 h 307794"/>
                  <a:gd name="connsiteX6" fmla="*/ 381468 w 1189281"/>
                  <a:gd name="connsiteY6" fmla="*/ 92562 h 307794"/>
                  <a:gd name="connsiteX7" fmla="*/ 381468 w 1189281"/>
                  <a:gd name="connsiteY7" fmla="*/ 106587 h 307794"/>
                  <a:gd name="connsiteX8" fmla="*/ 507689 w 1189281"/>
                  <a:gd name="connsiteY8" fmla="*/ 106587 h 307794"/>
                  <a:gd name="connsiteX9" fmla="*/ 507689 w 1189281"/>
                  <a:gd name="connsiteY9" fmla="*/ 126221 h 307794"/>
                  <a:gd name="connsiteX10" fmla="*/ 527323 w 1189281"/>
                  <a:gd name="connsiteY10" fmla="*/ 126221 h 307794"/>
                  <a:gd name="connsiteX11" fmla="*/ 530976 w 1189281"/>
                  <a:gd name="connsiteY11" fmla="*/ 137017 h 307794"/>
                  <a:gd name="connsiteX12" fmla="*/ 569397 w 1189281"/>
                  <a:gd name="connsiteY12" fmla="*/ 134636 h 307794"/>
                  <a:gd name="connsiteX13" fmla="*/ 569397 w 1189281"/>
                  <a:gd name="connsiteY13" fmla="*/ 157075 h 307794"/>
                  <a:gd name="connsiteX14" fmla="*/ 793789 w 1189281"/>
                  <a:gd name="connsiteY14" fmla="*/ 157075 h 307794"/>
                  <a:gd name="connsiteX15" fmla="*/ 793789 w 1189281"/>
                  <a:gd name="connsiteY15" fmla="*/ 171100 h 307794"/>
                  <a:gd name="connsiteX16" fmla="*/ 880741 w 1189281"/>
                  <a:gd name="connsiteY16" fmla="*/ 171100 h 307794"/>
                  <a:gd name="connsiteX17" fmla="*/ 891961 w 1189281"/>
                  <a:gd name="connsiteY17" fmla="*/ 182320 h 307794"/>
                  <a:gd name="connsiteX18" fmla="*/ 945254 w 1189281"/>
                  <a:gd name="connsiteY18" fmla="*/ 182320 h 307794"/>
                  <a:gd name="connsiteX19" fmla="*/ 953669 w 1189281"/>
                  <a:gd name="connsiteY19" fmla="*/ 190735 h 307794"/>
                  <a:gd name="connsiteX20" fmla="*/ 995743 w 1189281"/>
                  <a:gd name="connsiteY20" fmla="*/ 190735 h 307794"/>
                  <a:gd name="connsiteX21" fmla="*/ 995743 w 1189281"/>
                  <a:gd name="connsiteY21" fmla="*/ 210368 h 307794"/>
                  <a:gd name="connsiteX22" fmla="*/ 1037816 w 1189281"/>
                  <a:gd name="connsiteY22" fmla="*/ 210368 h 307794"/>
                  <a:gd name="connsiteX23" fmla="*/ 1037816 w 1189281"/>
                  <a:gd name="connsiteY23" fmla="*/ 232808 h 307794"/>
                  <a:gd name="connsiteX24" fmla="*/ 1099524 w 1189281"/>
                  <a:gd name="connsiteY24" fmla="*/ 232808 h 307794"/>
                  <a:gd name="connsiteX25" fmla="*/ 1099524 w 1189281"/>
                  <a:gd name="connsiteY25" fmla="*/ 249637 h 307794"/>
                  <a:gd name="connsiteX26" fmla="*/ 1189281 w 1189281"/>
                  <a:gd name="connsiteY26" fmla="*/ 249637 h 307794"/>
                  <a:gd name="connsiteX27" fmla="*/ 1184519 w 1189281"/>
                  <a:gd name="connsiteY27" fmla="*/ 307794 h 307794"/>
                  <a:gd name="connsiteX0" fmla="*/ 0 w 1189281"/>
                  <a:gd name="connsiteY0" fmla="*/ 0 h 307794"/>
                  <a:gd name="connsiteX1" fmla="*/ 0 w 1189281"/>
                  <a:gd name="connsiteY1" fmla="*/ 50489 h 307794"/>
                  <a:gd name="connsiteX2" fmla="*/ 176710 w 1189281"/>
                  <a:gd name="connsiteY2" fmla="*/ 50489 h 307794"/>
                  <a:gd name="connsiteX3" fmla="*/ 176710 w 1189281"/>
                  <a:gd name="connsiteY3" fmla="*/ 61708 h 307794"/>
                  <a:gd name="connsiteX4" fmla="*/ 272076 w 1189281"/>
                  <a:gd name="connsiteY4" fmla="*/ 61708 h 307794"/>
                  <a:gd name="connsiteX5" fmla="*/ 272076 w 1189281"/>
                  <a:gd name="connsiteY5" fmla="*/ 92562 h 307794"/>
                  <a:gd name="connsiteX6" fmla="*/ 381468 w 1189281"/>
                  <a:gd name="connsiteY6" fmla="*/ 92562 h 307794"/>
                  <a:gd name="connsiteX7" fmla="*/ 381468 w 1189281"/>
                  <a:gd name="connsiteY7" fmla="*/ 106587 h 307794"/>
                  <a:gd name="connsiteX8" fmla="*/ 507689 w 1189281"/>
                  <a:gd name="connsiteY8" fmla="*/ 106587 h 307794"/>
                  <a:gd name="connsiteX9" fmla="*/ 507689 w 1189281"/>
                  <a:gd name="connsiteY9" fmla="*/ 126221 h 307794"/>
                  <a:gd name="connsiteX10" fmla="*/ 527323 w 1189281"/>
                  <a:gd name="connsiteY10" fmla="*/ 126221 h 307794"/>
                  <a:gd name="connsiteX11" fmla="*/ 530976 w 1189281"/>
                  <a:gd name="connsiteY11" fmla="*/ 137017 h 307794"/>
                  <a:gd name="connsiteX12" fmla="*/ 569397 w 1189281"/>
                  <a:gd name="connsiteY12" fmla="*/ 134636 h 307794"/>
                  <a:gd name="connsiteX13" fmla="*/ 569397 w 1189281"/>
                  <a:gd name="connsiteY13" fmla="*/ 157075 h 307794"/>
                  <a:gd name="connsiteX14" fmla="*/ 793789 w 1189281"/>
                  <a:gd name="connsiteY14" fmla="*/ 157075 h 307794"/>
                  <a:gd name="connsiteX15" fmla="*/ 793789 w 1189281"/>
                  <a:gd name="connsiteY15" fmla="*/ 171100 h 307794"/>
                  <a:gd name="connsiteX16" fmla="*/ 880741 w 1189281"/>
                  <a:gd name="connsiteY16" fmla="*/ 171100 h 307794"/>
                  <a:gd name="connsiteX17" fmla="*/ 891961 w 1189281"/>
                  <a:gd name="connsiteY17" fmla="*/ 182320 h 307794"/>
                  <a:gd name="connsiteX18" fmla="*/ 945254 w 1189281"/>
                  <a:gd name="connsiteY18" fmla="*/ 182320 h 307794"/>
                  <a:gd name="connsiteX19" fmla="*/ 953669 w 1189281"/>
                  <a:gd name="connsiteY19" fmla="*/ 190735 h 307794"/>
                  <a:gd name="connsiteX20" fmla="*/ 995743 w 1189281"/>
                  <a:gd name="connsiteY20" fmla="*/ 190735 h 307794"/>
                  <a:gd name="connsiteX21" fmla="*/ 995743 w 1189281"/>
                  <a:gd name="connsiteY21" fmla="*/ 210368 h 307794"/>
                  <a:gd name="connsiteX22" fmla="*/ 1037816 w 1189281"/>
                  <a:gd name="connsiteY22" fmla="*/ 210368 h 307794"/>
                  <a:gd name="connsiteX23" fmla="*/ 1037816 w 1189281"/>
                  <a:gd name="connsiteY23" fmla="*/ 232808 h 307794"/>
                  <a:gd name="connsiteX24" fmla="*/ 1099524 w 1189281"/>
                  <a:gd name="connsiteY24" fmla="*/ 232808 h 307794"/>
                  <a:gd name="connsiteX25" fmla="*/ 1099524 w 1189281"/>
                  <a:gd name="connsiteY25" fmla="*/ 249637 h 307794"/>
                  <a:gd name="connsiteX26" fmla="*/ 1189281 w 1189281"/>
                  <a:gd name="connsiteY26" fmla="*/ 249637 h 307794"/>
                  <a:gd name="connsiteX27" fmla="*/ 1189281 w 1189281"/>
                  <a:gd name="connsiteY27" fmla="*/ 307794 h 307794"/>
                  <a:gd name="connsiteX0" fmla="*/ 0 w 1198806"/>
                  <a:gd name="connsiteY0" fmla="*/ 0 h 307794"/>
                  <a:gd name="connsiteX1" fmla="*/ 0 w 1198806"/>
                  <a:gd name="connsiteY1" fmla="*/ 50489 h 307794"/>
                  <a:gd name="connsiteX2" fmla="*/ 176710 w 1198806"/>
                  <a:gd name="connsiteY2" fmla="*/ 50489 h 307794"/>
                  <a:gd name="connsiteX3" fmla="*/ 176710 w 1198806"/>
                  <a:gd name="connsiteY3" fmla="*/ 61708 h 307794"/>
                  <a:gd name="connsiteX4" fmla="*/ 272076 w 1198806"/>
                  <a:gd name="connsiteY4" fmla="*/ 61708 h 307794"/>
                  <a:gd name="connsiteX5" fmla="*/ 272076 w 1198806"/>
                  <a:gd name="connsiteY5" fmla="*/ 92562 h 307794"/>
                  <a:gd name="connsiteX6" fmla="*/ 381468 w 1198806"/>
                  <a:gd name="connsiteY6" fmla="*/ 92562 h 307794"/>
                  <a:gd name="connsiteX7" fmla="*/ 381468 w 1198806"/>
                  <a:gd name="connsiteY7" fmla="*/ 106587 h 307794"/>
                  <a:gd name="connsiteX8" fmla="*/ 507689 w 1198806"/>
                  <a:gd name="connsiteY8" fmla="*/ 106587 h 307794"/>
                  <a:gd name="connsiteX9" fmla="*/ 507689 w 1198806"/>
                  <a:gd name="connsiteY9" fmla="*/ 126221 h 307794"/>
                  <a:gd name="connsiteX10" fmla="*/ 527323 w 1198806"/>
                  <a:gd name="connsiteY10" fmla="*/ 126221 h 307794"/>
                  <a:gd name="connsiteX11" fmla="*/ 530976 w 1198806"/>
                  <a:gd name="connsiteY11" fmla="*/ 137017 h 307794"/>
                  <a:gd name="connsiteX12" fmla="*/ 569397 w 1198806"/>
                  <a:gd name="connsiteY12" fmla="*/ 134636 h 307794"/>
                  <a:gd name="connsiteX13" fmla="*/ 569397 w 1198806"/>
                  <a:gd name="connsiteY13" fmla="*/ 157075 h 307794"/>
                  <a:gd name="connsiteX14" fmla="*/ 793789 w 1198806"/>
                  <a:gd name="connsiteY14" fmla="*/ 157075 h 307794"/>
                  <a:gd name="connsiteX15" fmla="*/ 793789 w 1198806"/>
                  <a:gd name="connsiteY15" fmla="*/ 171100 h 307794"/>
                  <a:gd name="connsiteX16" fmla="*/ 880741 w 1198806"/>
                  <a:gd name="connsiteY16" fmla="*/ 171100 h 307794"/>
                  <a:gd name="connsiteX17" fmla="*/ 891961 w 1198806"/>
                  <a:gd name="connsiteY17" fmla="*/ 182320 h 307794"/>
                  <a:gd name="connsiteX18" fmla="*/ 945254 w 1198806"/>
                  <a:gd name="connsiteY18" fmla="*/ 182320 h 307794"/>
                  <a:gd name="connsiteX19" fmla="*/ 953669 w 1198806"/>
                  <a:gd name="connsiteY19" fmla="*/ 190735 h 307794"/>
                  <a:gd name="connsiteX20" fmla="*/ 995743 w 1198806"/>
                  <a:gd name="connsiteY20" fmla="*/ 190735 h 307794"/>
                  <a:gd name="connsiteX21" fmla="*/ 995743 w 1198806"/>
                  <a:gd name="connsiteY21" fmla="*/ 210368 h 307794"/>
                  <a:gd name="connsiteX22" fmla="*/ 1037816 w 1198806"/>
                  <a:gd name="connsiteY22" fmla="*/ 210368 h 307794"/>
                  <a:gd name="connsiteX23" fmla="*/ 1037816 w 1198806"/>
                  <a:gd name="connsiteY23" fmla="*/ 232808 h 307794"/>
                  <a:gd name="connsiteX24" fmla="*/ 1099524 w 1198806"/>
                  <a:gd name="connsiteY24" fmla="*/ 232808 h 307794"/>
                  <a:gd name="connsiteX25" fmla="*/ 1099524 w 1198806"/>
                  <a:gd name="connsiteY25" fmla="*/ 249637 h 307794"/>
                  <a:gd name="connsiteX26" fmla="*/ 1189281 w 1198806"/>
                  <a:gd name="connsiteY26" fmla="*/ 249637 h 307794"/>
                  <a:gd name="connsiteX27" fmla="*/ 1198806 w 1198806"/>
                  <a:gd name="connsiteY27" fmla="*/ 307794 h 307794"/>
                  <a:gd name="connsiteX0" fmla="*/ 0 w 1189281"/>
                  <a:gd name="connsiteY0" fmla="*/ 0 h 307794"/>
                  <a:gd name="connsiteX1" fmla="*/ 0 w 1189281"/>
                  <a:gd name="connsiteY1" fmla="*/ 50489 h 307794"/>
                  <a:gd name="connsiteX2" fmla="*/ 176710 w 1189281"/>
                  <a:gd name="connsiteY2" fmla="*/ 50489 h 307794"/>
                  <a:gd name="connsiteX3" fmla="*/ 176710 w 1189281"/>
                  <a:gd name="connsiteY3" fmla="*/ 61708 h 307794"/>
                  <a:gd name="connsiteX4" fmla="*/ 272076 w 1189281"/>
                  <a:gd name="connsiteY4" fmla="*/ 61708 h 307794"/>
                  <a:gd name="connsiteX5" fmla="*/ 272076 w 1189281"/>
                  <a:gd name="connsiteY5" fmla="*/ 92562 h 307794"/>
                  <a:gd name="connsiteX6" fmla="*/ 381468 w 1189281"/>
                  <a:gd name="connsiteY6" fmla="*/ 92562 h 307794"/>
                  <a:gd name="connsiteX7" fmla="*/ 381468 w 1189281"/>
                  <a:gd name="connsiteY7" fmla="*/ 106587 h 307794"/>
                  <a:gd name="connsiteX8" fmla="*/ 507689 w 1189281"/>
                  <a:gd name="connsiteY8" fmla="*/ 106587 h 307794"/>
                  <a:gd name="connsiteX9" fmla="*/ 507689 w 1189281"/>
                  <a:gd name="connsiteY9" fmla="*/ 126221 h 307794"/>
                  <a:gd name="connsiteX10" fmla="*/ 527323 w 1189281"/>
                  <a:gd name="connsiteY10" fmla="*/ 126221 h 307794"/>
                  <a:gd name="connsiteX11" fmla="*/ 530976 w 1189281"/>
                  <a:gd name="connsiteY11" fmla="*/ 137017 h 307794"/>
                  <a:gd name="connsiteX12" fmla="*/ 569397 w 1189281"/>
                  <a:gd name="connsiteY12" fmla="*/ 134636 h 307794"/>
                  <a:gd name="connsiteX13" fmla="*/ 569397 w 1189281"/>
                  <a:gd name="connsiteY13" fmla="*/ 157075 h 307794"/>
                  <a:gd name="connsiteX14" fmla="*/ 793789 w 1189281"/>
                  <a:gd name="connsiteY14" fmla="*/ 157075 h 307794"/>
                  <a:gd name="connsiteX15" fmla="*/ 793789 w 1189281"/>
                  <a:gd name="connsiteY15" fmla="*/ 171100 h 307794"/>
                  <a:gd name="connsiteX16" fmla="*/ 880741 w 1189281"/>
                  <a:gd name="connsiteY16" fmla="*/ 171100 h 307794"/>
                  <a:gd name="connsiteX17" fmla="*/ 891961 w 1189281"/>
                  <a:gd name="connsiteY17" fmla="*/ 182320 h 307794"/>
                  <a:gd name="connsiteX18" fmla="*/ 945254 w 1189281"/>
                  <a:gd name="connsiteY18" fmla="*/ 182320 h 307794"/>
                  <a:gd name="connsiteX19" fmla="*/ 953669 w 1189281"/>
                  <a:gd name="connsiteY19" fmla="*/ 190735 h 307794"/>
                  <a:gd name="connsiteX20" fmla="*/ 995743 w 1189281"/>
                  <a:gd name="connsiteY20" fmla="*/ 190735 h 307794"/>
                  <a:gd name="connsiteX21" fmla="*/ 995743 w 1189281"/>
                  <a:gd name="connsiteY21" fmla="*/ 210368 h 307794"/>
                  <a:gd name="connsiteX22" fmla="*/ 1037816 w 1189281"/>
                  <a:gd name="connsiteY22" fmla="*/ 210368 h 307794"/>
                  <a:gd name="connsiteX23" fmla="*/ 1037816 w 1189281"/>
                  <a:gd name="connsiteY23" fmla="*/ 232808 h 307794"/>
                  <a:gd name="connsiteX24" fmla="*/ 1099524 w 1189281"/>
                  <a:gd name="connsiteY24" fmla="*/ 232808 h 307794"/>
                  <a:gd name="connsiteX25" fmla="*/ 1099524 w 1189281"/>
                  <a:gd name="connsiteY25" fmla="*/ 249637 h 307794"/>
                  <a:gd name="connsiteX26" fmla="*/ 1189281 w 1189281"/>
                  <a:gd name="connsiteY26" fmla="*/ 249637 h 307794"/>
                  <a:gd name="connsiteX27" fmla="*/ 1189281 w 1189281"/>
                  <a:gd name="connsiteY27" fmla="*/ 307794 h 307794"/>
                  <a:gd name="connsiteX0" fmla="*/ 0 w 1191662"/>
                  <a:gd name="connsiteY0" fmla="*/ 0 h 310175"/>
                  <a:gd name="connsiteX1" fmla="*/ 0 w 1191662"/>
                  <a:gd name="connsiteY1" fmla="*/ 50489 h 310175"/>
                  <a:gd name="connsiteX2" fmla="*/ 176710 w 1191662"/>
                  <a:gd name="connsiteY2" fmla="*/ 50489 h 310175"/>
                  <a:gd name="connsiteX3" fmla="*/ 176710 w 1191662"/>
                  <a:gd name="connsiteY3" fmla="*/ 61708 h 310175"/>
                  <a:gd name="connsiteX4" fmla="*/ 272076 w 1191662"/>
                  <a:gd name="connsiteY4" fmla="*/ 61708 h 310175"/>
                  <a:gd name="connsiteX5" fmla="*/ 272076 w 1191662"/>
                  <a:gd name="connsiteY5" fmla="*/ 92562 h 310175"/>
                  <a:gd name="connsiteX6" fmla="*/ 381468 w 1191662"/>
                  <a:gd name="connsiteY6" fmla="*/ 92562 h 310175"/>
                  <a:gd name="connsiteX7" fmla="*/ 381468 w 1191662"/>
                  <a:gd name="connsiteY7" fmla="*/ 106587 h 310175"/>
                  <a:gd name="connsiteX8" fmla="*/ 507689 w 1191662"/>
                  <a:gd name="connsiteY8" fmla="*/ 106587 h 310175"/>
                  <a:gd name="connsiteX9" fmla="*/ 507689 w 1191662"/>
                  <a:gd name="connsiteY9" fmla="*/ 126221 h 310175"/>
                  <a:gd name="connsiteX10" fmla="*/ 527323 w 1191662"/>
                  <a:gd name="connsiteY10" fmla="*/ 126221 h 310175"/>
                  <a:gd name="connsiteX11" fmla="*/ 530976 w 1191662"/>
                  <a:gd name="connsiteY11" fmla="*/ 137017 h 310175"/>
                  <a:gd name="connsiteX12" fmla="*/ 569397 w 1191662"/>
                  <a:gd name="connsiteY12" fmla="*/ 134636 h 310175"/>
                  <a:gd name="connsiteX13" fmla="*/ 569397 w 1191662"/>
                  <a:gd name="connsiteY13" fmla="*/ 157075 h 310175"/>
                  <a:gd name="connsiteX14" fmla="*/ 793789 w 1191662"/>
                  <a:gd name="connsiteY14" fmla="*/ 157075 h 310175"/>
                  <a:gd name="connsiteX15" fmla="*/ 793789 w 1191662"/>
                  <a:gd name="connsiteY15" fmla="*/ 171100 h 310175"/>
                  <a:gd name="connsiteX16" fmla="*/ 880741 w 1191662"/>
                  <a:gd name="connsiteY16" fmla="*/ 171100 h 310175"/>
                  <a:gd name="connsiteX17" fmla="*/ 891961 w 1191662"/>
                  <a:gd name="connsiteY17" fmla="*/ 182320 h 310175"/>
                  <a:gd name="connsiteX18" fmla="*/ 945254 w 1191662"/>
                  <a:gd name="connsiteY18" fmla="*/ 182320 h 310175"/>
                  <a:gd name="connsiteX19" fmla="*/ 953669 w 1191662"/>
                  <a:gd name="connsiteY19" fmla="*/ 190735 h 310175"/>
                  <a:gd name="connsiteX20" fmla="*/ 995743 w 1191662"/>
                  <a:gd name="connsiteY20" fmla="*/ 190735 h 310175"/>
                  <a:gd name="connsiteX21" fmla="*/ 995743 w 1191662"/>
                  <a:gd name="connsiteY21" fmla="*/ 210368 h 310175"/>
                  <a:gd name="connsiteX22" fmla="*/ 1037816 w 1191662"/>
                  <a:gd name="connsiteY22" fmla="*/ 210368 h 310175"/>
                  <a:gd name="connsiteX23" fmla="*/ 1037816 w 1191662"/>
                  <a:gd name="connsiteY23" fmla="*/ 232808 h 310175"/>
                  <a:gd name="connsiteX24" fmla="*/ 1099524 w 1191662"/>
                  <a:gd name="connsiteY24" fmla="*/ 232808 h 310175"/>
                  <a:gd name="connsiteX25" fmla="*/ 1099524 w 1191662"/>
                  <a:gd name="connsiteY25" fmla="*/ 249637 h 310175"/>
                  <a:gd name="connsiteX26" fmla="*/ 1189281 w 1191662"/>
                  <a:gd name="connsiteY26" fmla="*/ 249637 h 310175"/>
                  <a:gd name="connsiteX27" fmla="*/ 1191662 w 1191662"/>
                  <a:gd name="connsiteY27" fmla="*/ 310175 h 310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91662" h="310175">
                    <a:moveTo>
                      <a:pt x="0" y="0"/>
                    </a:moveTo>
                    <a:lnTo>
                      <a:pt x="0" y="50489"/>
                    </a:lnTo>
                    <a:lnTo>
                      <a:pt x="176710" y="50489"/>
                    </a:lnTo>
                    <a:lnTo>
                      <a:pt x="176710" y="61708"/>
                    </a:lnTo>
                    <a:lnTo>
                      <a:pt x="272076" y="61708"/>
                    </a:lnTo>
                    <a:lnTo>
                      <a:pt x="272076" y="92562"/>
                    </a:lnTo>
                    <a:lnTo>
                      <a:pt x="381468" y="92562"/>
                    </a:lnTo>
                    <a:lnTo>
                      <a:pt x="381468" y="106587"/>
                    </a:lnTo>
                    <a:lnTo>
                      <a:pt x="507689" y="106587"/>
                    </a:lnTo>
                    <a:lnTo>
                      <a:pt x="507689" y="126221"/>
                    </a:lnTo>
                    <a:lnTo>
                      <a:pt x="527323" y="126221"/>
                    </a:lnTo>
                    <a:lnTo>
                      <a:pt x="530976" y="137017"/>
                    </a:lnTo>
                    <a:lnTo>
                      <a:pt x="569397" y="134636"/>
                    </a:lnTo>
                    <a:lnTo>
                      <a:pt x="569397" y="157075"/>
                    </a:lnTo>
                    <a:lnTo>
                      <a:pt x="793789" y="157075"/>
                    </a:lnTo>
                    <a:lnTo>
                      <a:pt x="793789" y="171100"/>
                    </a:lnTo>
                    <a:lnTo>
                      <a:pt x="880741" y="171100"/>
                    </a:lnTo>
                    <a:lnTo>
                      <a:pt x="891961" y="182320"/>
                    </a:lnTo>
                    <a:lnTo>
                      <a:pt x="945254" y="182320"/>
                    </a:lnTo>
                    <a:lnTo>
                      <a:pt x="953669" y="190735"/>
                    </a:lnTo>
                    <a:lnTo>
                      <a:pt x="995743" y="190735"/>
                    </a:lnTo>
                    <a:lnTo>
                      <a:pt x="995743" y="210368"/>
                    </a:lnTo>
                    <a:lnTo>
                      <a:pt x="1037816" y="210368"/>
                    </a:lnTo>
                    <a:lnTo>
                      <a:pt x="1037816" y="232808"/>
                    </a:lnTo>
                    <a:lnTo>
                      <a:pt x="1099524" y="232808"/>
                    </a:lnTo>
                    <a:lnTo>
                      <a:pt x="1099524" y="249637"/>
                    </a:lnTo>
                    <a:lnTo>
                      <a:pt x="1189281" y="249637"/>
                    </a:lnTo>
                    <a:cubicBezTo>
                      <a:pt x="1190075" y="269816"/>
                      <a:pt x="1190868" y="289996"/>
                      <a:pt x="1191662" y="310175"/>
                    </a:cubicBez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2" name="TextBox 25">
              <a:extLst>
                <a:ext uri="{FF2B5EF4-FFF2-40B4-BE49-F238E27FC236}">
                  <a16:creationId xmlns:a16="http://schemas.microsoft.com/office/drawing/2014/main" id="{8283D7A0-CCAB-41FA-AE07-4AAD1713B9D5}"/>
                </a:ext>
              </a:extLst>
            </p:cNvPr>
            <p:cNvSpPr txBox="1"/>
            <p:nvPr/>
          </p:nvSpPr>
          <p:spPr bwMode="auto">
            <a:xfrm>
              <a:off x="661910" y="235165"/>
              <a:ext cx="396874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1.0</a:t>
              </a:r>
            </a:p>
          </p:txBody>
        </p:sp>
        <p:sp>
          <p:nvSpPr>
            <p:cNvPr id="103" name="TextBox 26">
              <a:extLst>
                <a:ext uri="{FF2B5EF4-FFF2-40B4-BE49-F238E27FC236}">
                  <a16:creationId xmlns:a16="http://schemas.microsoft.com/office/drawing/2014/main" id="{65645F0E-BFB1-4A44-8B43-C8090B9DCDA9}"/>
                </a:ext>
              </a:extLst>
            </p:cNvPr>
            <p:cNvSpPr txBox="1"/>
            <p:nvPr/>
          </p:nvSpPr>
          <p:spPr bwMode="auto">
            <a:xfrm>
              <a:off x="661910" y="759239"/>
              <a:ext cx="396874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0.9</a:t>
              </a:r>
            </a:p>
          </p:txBody>
        </p:sp>
        <p:sp>
          <p:nvSpPr>
            <p:cNvPr id="104" name="TextBox 27">
              <a:extLst>
                <a:ext uri="{FF2B5EF4-FFF2-40B4-BE49-F238E27FC236}">
                  <a16:creationId xmlns:a16="http://schemas.microsoft.com/office/drawing/2014/main" id="{5F396026-496A-4AB9-A3EA-086C39373E70}"/>
                </a:ext>
              </a:extLst>
            </p:cNvPr>
            <p:cNvSpPr txBox="1"/>
            <p:nvPr/>
          </p:nvSpPr>
          <p:spPr bwMode="auto">
            <a:xfrm>
              <a:off x="631190" y="1281123"/>
              <a:ext cx="396874" cy="13176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0.8</a:t>
              </a:r>
            </a:p>
          </p:txBody>
        </p:sp>
        <p:sp>
          <p:nvSpPr>
            <p:cNvPr id="105" name="TextBox 28">
              <a:extLst>
                <a:ext uri="{FF2B5EF4-FFF2-40B4-BE49-F238E27FC236}">
                  <a16:creationId xmlns:a16="http://schemas.microsoft.com/office/drawing/2014/main" id="{1A6B1B2E-284C-426D-BDD8-32D3EB6D6263}"/>
                </a:ext>
              </a:extLst>
            </p:cNvPr>
            <p:cNvSpPr txBox="1"/>
            <p:nvPr/>
          </p:nvSpPr>
          <p:spPr bwMode="auto">
            <a:xfrm>
              <a:off x="661910" y="1804594"/>
              <a:ext cx="396874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0.7</a:t>
              </a:r>
            </a:p>
          </p:txBody>
        </p:sp>
        <p:sp>
          <p:nvSpPr>
            <p:cNvPr id="106" name="TextBox 29">
              <a:extLst>
                <a:ext uri="{FF2B5EF4-FFF2-40B4-BE49-F238E27FC236}">
                  <a16:creationId xmlns:a16="http://schemas.microsoft.com/office/drawing/2014/main" id="{F4233A96-453C-40FF-8139-EE5825B0DD28}"/>
                </a:ext>
              </a:extLst>
            </p:cNvPr>
            <p:cNvSpPr txBox="1"/>
            <p:nvPr/>
          </p:nvSpPr>
          <p:spPr bwMode="auto">
            <a:xfrm>
              <a:off x="661910" y="2295261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0.6</a:t>
              </a:r>
            </a:p>
          </p:txBody>
        </p:sp>
        <p:sp>
          <p:nvSpPr>
            <p:cNvPr id="107" name="TextBox 30">
              <a:extLst>
                <a:ext uri="{FF2B5EF4-FFF2-40B4-BE49-F238E27FC236}">
                  <a16:creationId xmlns:a16="http://schemas.microsoft.com/office/drawing/2014/main" id="{B0AACCED-DDCF-414A-9879-B010C8817B44}"/>
                </a:ext>
              </a:extLst>
            </p:cNvPr>
            <p:cNvSpPr txBox="1"/>
            <p:nvPr/>
          </p:nvSpPr>
          <p:spPr bwMode="auto">
            <a:xfrm>
              <a:off x="661910" y="2796582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0.5</a:t>
              </a:r>
            </a:p>
          </p:txBody>
        </p:sp>
        <p:sp>
          <p:nvSpPr>
            <p:cNvPr id="108" name="TextBox 31">
              <a:extLst>
                <a:ext uri="{FF2B5EF4-FFF2-40B4-BE49-F238E27FC236}">
                  <a16:creationId xmlns:a16="http://schemas.microsoft.com/office/drawing/2014/main" id="{6EA87731-84D4-47CD-A1D6-3ED408DCCF87}"/>
                </a:ext>
              </a:extLst>
            </p:cNvPr>
            <p:cNvSpPr txBox="1"/>
            <p:nvPr/>
          </p:nvSpPr>
          <p:spPr bwMode="auto">
            <a:xfrm>
              <a:off x="661910" y="3297803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0.4</a:t>
              </a:r>
            </a:p>
          </p:txBody>
        </p:sp>
        <p:sp>
          <p:nvSpPr>
            <p:cNvPr id="109" name="TextBox 32">
              <a:extLst>
                <a:ext uri="{FF2B5EF4-FFF2-40B4-BE49-F238E27FC236}">
                  <a16:creationId xmlns:a16="http://schemas.microsoft.com/office/drawing/2014/main" id="{C734672D-5D9E-4A0F-9DE2-7C455182817A}"/>
                </a:ext>
              </a:extLst>
            </p:cNvPr>
            <p:cNvSpPr txBox="1"/>
            <p:nvPr/>
          </p:nvSpPr>
          <p:spPr bwMode="auto">
            <a:xfrm>
              <a:off x="661910" y="3819614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0.3</a:t>
              </a:r>
            </a:p>
          </p:txBody>
        </p:sp>
        <p:sp>
          <p:nvSpPr>
            <p:cNvPr id="110" name="TextBox 33">
              <a:extLst>
                <a:ext uri="{FF2B5EF4-FFF2-40B4-BE49-F238E27FC236}">
                  <a16:creationId xmlns:a16="http://schemas.microsoft.com/office/drawing/2014/main" id="{2AA55373-DCB3-4F32-8E2A-7EADD35F054F}"/>
                </a:ext>
              </a:extLst>
            </p:cNvPr>
            <p:cNvSpPr txBox="1"/>
            <p:nvPr/>
          </p:nvSpPr>
          <p:spPr bwMode="auto">
            <a:xfrm>
              <a:off x="661910" y="4341425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0.2</a:t>
              </a:r>
            </a:p>
          </p:txBody>
        </p:sp>
        <p:sp>
          <p:nvSpPr>
            <p:cNvPr id="111" name="TextBox 34">
              <a:extLst>
                <a:ext uri="{FF2B5EF4-FFF2-40B4-BE49-F238E27FC236}">
                  <a16:creationId xmlns:a16="http://schemas.microsoft.com/office/drawing/2014/main" id="{0EFDE274-84AB-486B-A7EB-A4D1AE1B9AEE}"/>
                </a:ext>
              </a:extLst>
            </p:cNvPr>
            <p:cNvSpPr txBox="1"/>
            <p:nvPr/>
          </p:nvSpPr>
          <p:spPr bwMode="auto">
            <a:xfrm>
              <a:off x="661910" y="4863236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0.1</a:t>
              </a:r>
            </a:p>
          </p:txBody>
        </p:sp>
        <p:sp>
          <p:nvSpPr>
            <p:cNvPr id="112" name="TextBox 35">
              <a:extLst>
                <a:ext uri="{FF2B5EF4-FFF2-40B4-BE49-F238E27FC236}">
                  <a16:creationId xmlns:a16="http://schemas.microsoft.com/office/drawing/2014/main" id="{E740F6B1-DD4A-4372-B2D3-47F2D93C2491}"/>
                </a:ext>
              </a:extLst>
            </p:cNvPr>
            <p:cNvSpPr txBox="1"/>
            <p:nvPr/>
          </p:nvSpPr>
          <p:spPr bwMode="auto">
            <a:xfrm>
              <a:off x="661910" y="5393997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0.0</a:t>
              </a:r>
            </a:p>
          </p:txBody>
        </p:sp>
        <p:sp>
          <p:nvSpPr>
            <p:cNvPr id="113" name="TextBox 36">
              <a:extLst>
                <a:ext uri="{FF2B5EF4-FFF2-40B4-BE49-F238E27FC236}">
                  <a16:creationId xmlns:a16="http://schemas.microsoft.com/office/drawing/2014/main" id="{15658954-FCD0-47EE-9642-9FD3FACD147B}"/>
                </a:ext>
              </a:extLst>
            </p:cNvPr>
            <p:cNvSpPr txBox="1"/>
            <p:nvPr/>
          </p:nvSpPr>
          <p:spPr bwMode="auto">
            <a:xfrm rot="16200000">
              <a:off x="-886026" y="2590016"/>
              <a:ext cx="2820987" cy="203200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33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Survival Probability</a:t>
              </a:r>
            </a:p>
          </p:txBody>
        </p:sp>
        <p:sp>
          <p:nvSpPr>
            <p:cNvPr id="114" name="TextBox 37">
              <a:extLst>
                <a:ext uri="{FF2B5EF4-FFF2-40B4-BE49-F238E27FC236}">
                  <a16:creationId xmlns:a16="http://schemas.microsoft.com/office/drawing/2014/main" id="{59CB0C0D-7509-41CE-9AA1-F751DB6CC793}"/>
                </a:ext>
              </a:extLst>
            </p:cNvPr>
            <p:cNvSpPr txBox="1"/>
            <p:nvPr/>
          </p:nvSpPr>
          <p:spPr bwMode="auto">
            <a:xfrm>
              <a:off x="1206305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15" name="TextBox 38">
              <a:extLst>
                <a:ext uri="{FF2B5EF4-FFF2-40B4-BE49-F238E27FC236}">
                  <a16:creationId xmlns:a16="http://schemas.microsoft.com/office/drawing/2014/main" id="{E1ACACCC-D154-4514-9837-2149833DF9BB}"/>
                </a:ext>
              </a:extLst>
            </p:cNvPr>
            <p:cNvSpPr txBox="1"/>
            <p:nvPr/>
          </p:nvSpPr>
          <p:spPr bwMode="auto">
            <a:xfrm>
              <a:off x="1772276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16" name="TextBox 39">
              <a:extLst>
                <a:ext uri="{FF2B5EF4-FFF2-40B4-BE49-F238E27FC236}">
                  <a16:creationId xmlns:a16="http://schemas.microsoft.com/office/drawing/2014/main" id="{A76A91EF-7298-43FD-8472-474883A70076}"/>
                </a:ext>
              </a:extLst>
            </p:cNvPr>
            <p:cNvSpPr txBox="1"/>
            <p:nvPr/>
          </p:nvSpPr>
          <p:spPr bwMode="auto">
            <a:xfrm>
              <a:off x="2318447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8</a:t>
              </a:r>
            </a:p>
          </p:txBody>
        </p:sp>
        <p:sp>
          <p:nvSpPr>
            <p:cNvPr id="117" name="TextBox 40">
              <a:extLst>
                <a:ext uri="{FF2B5EF4-FFF2-40B4-BE49-F238E27FC236}">
                  <a16:creationId xmlns:a16="http://schemas.microsoft.com/office/drawing/2014/main" id="{4DB067C2-6211-4DAB-BF6D-B9AD6A72656F}"/>
                </a:ext>
              </a:extLst>
            </p:cNvPr>
            <p:cNvSpPr txBox="1"/>
            <p:nvPr/>
          </p:nvSpPr>
          <p:spPr bwMode="auto">
            <a:xfrm>
              <a:off x="2896295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12</a:t>
              </a:r>
            </a:p>
          </p:txBody>
        </p:sp>
        <p:sp>
          <p:nvSpPr>
            <p:cNvPr id="118" name="TextBox 41">
              <a:extLst>
                <a:ext uri="{FF2B5EF4-FFF2-40B4-BE49-F238E27FC236}">
                  <a16:creationId xmlns:a16="http://schemas.microsoft.com/office/drawing/2014/main" id="{FDA1B4DE-F04E-4826-BB66-E0FDF7C089F9}"/>
                </a:ext>
              </a:extLst>
            </p:cNvPr>
            <p:cNvSpPr txBox="1"/>
            <p:nvPr/>
          </p:nvSpPr>
          <p:spPr bwMode="auto">
            <a:xfrm>
              <a:off x="3474146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16</a:t>
              </a:r>
            </a:p>
          </p:txBody>
        </p:sp>
        <p:sp>
          <p:nvSpPr>
            <p:cNvPr id="119" name="TextBox 42">
              <a:extLst>
                <a:ext uri="{FF2B5EF4-FFF2-40B4-BE49-F238E27FC236}">
                  <a16:creationId xmlns:a16="http://schemas.microsoft.com/office/drawing/2014/main" id="{00E55537-F659-467B-A583-EA16438491B7}"/>
                </a:ext>
              </a:extLst>
            </p:cNvPr>
            <p:cNvSpPr txBox="1"/>
            <p:nvPr/>
          </p:nvSpPr>
          <p:spPr bwMode="auto">
            <a:xfrm>
              <a:off x="4050409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20</a:t>
              </a:r>
            </a:p>
          </p:txBody>
        </p:sp>
        <p:sp>
          <p:nvSpPr>
            <p:cNvPr id="120" name="TextBox 43">
              <a:extLst>
                <a:ext uri="{FF2B5EF4-FFF2-40B4-BE49-F238E27FC236}">
                  <a16:creationId xmlns:a16="http://schemas.microsoft.com/office/drawing/2014/main" id="{0BA5643C-6ECD-4F20-89A6-8D28D4046B15}"/>
                </a:ext>
              </a:extLst>
            </p:cNvPr>
            <p:cNvSpPr txBox="1"/>
            <p:nvPr/>
          </p:nvSpPr>
          <p:spPr bwMode="auto">
            <a:xfrm>
              <a:off x="4577461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24</a:t>
              </a:r>
            </a:p>
          </p:txBody>
        </p:sp>
        <p:sp>
          <p:nvSpPr>
            <p:cNvPr id="121" name="TextBox 44">
              <a:extLst>
                <a:ext uri="{FF2B5EF4-FFF2-40B4-BE49-F238E27FC236}">
                  <a16:creationId xmlns:a16="http://schemas.microsoft.com/office/drawing/2014/main" id="{D62B109B-9121-41DC-9E6D-4F3B9B3B9FBB}"/>
                </a:ext>
              </a:extLst>
            </p:cNvPr>
            <p:cNvSpPr txBox="1"/>
            <p:nvPr/>
          </p:nvSpPr>
          <p:spPr bwMode="auto">
            <a:xfrm>
              <a:off x="5155311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28</a:t>
              </a:r>
            </a:p>
          </p:txBody>
        </p:sp>
        <p:sp>
          <p:nvSpPr>
            <p:cNvPr id="122" name="TextBox 45">
              <a:extLst>
                <a:ext uri="{FF2B5EF4-FFF2-40B4-BE49-F238E27FC236}">
                  <a16:creationId xmlns:a16="http://schemas.microsoft.com/office/drawing/2014/main" id="{1E064D8D-110A-456C-B492-B5F32C09A38B}"/>
                </a:ext>
              </a:extLst>
            </p:cNvPr>
            <p:cNvSpPr txBox="1"/>
            <p:nvPr/>
          </p:nvSpPr>
          <p:spPr bwMode="auto">
            <a:xfrm>
              <a:off x="5706174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32</a:t>
              </a:r>
            </a:p>
          </p:txBody>
        </p:sp>
        <p:sp>
          <p:nvSpPr>
            <p:cNvPr id="123" name="TextBox 46">
              <a:extLst>
                <a:ext uri="{FF2B5EF4-FFF2-40B4-BE49-F238E27FC236}">
                  <a16:creationId xmlns:a16="http://schemas.microsoft.com/office/drawing/2014/main" id="{D2707C4B-3399-4C97-B0E4-6F4120D56596}"/>
                </a:ext>
              </a:extLst>
            </p:cNvPr>
            <p:cNvSpPr txBox="1"/>
            <p:nvPr/>
          </p:nvSpPr>
          <p:spPr bwMode="auto">
            <a:xfrm>
              <a:off x="6266304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36</a:t>
              </a:r>
            </a:p>
          </p:txBody>
        </p:sp>
        <p:sp>
          <p:nvSpPr>
            <p:cNvPr id="124" name="TextBox 47">
              <a:extLst>
                <a:ext uri="{FF2B5EF4-FFF2-40B4-BE49-F238E27FC236}">
                  <a16:creationId xmlns:a16="http://schemas.microsoft.com/office/drawing/2014/main" id="{4434F29A-647A-4EBA-8CC4-F17E8C679116}"/>
                </a:ext>
              </a:extLst>
            </p:cNvPr>
            <p:cNvSpPr txBox="1"/>
            <p:nvPr/>
          </p:nvSpPr>
          <p:spPr bwMode="auto">
            <a:xfrm>
              <a:off x="6831457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40</a:t>
              </a:r>
            </a:p>
          </p:txBody>
        </p:sp>
        <p:sp>
          <p:nvSpPr>
            <p:cNvPr id="125" name="TextBox 48">
              <a:extLst>
                <a:ext uri="{FF2B5EF4-FFF2-40B4-BE49-F238E27FC236}">
                  <a16:creationId xmlns:a16="http://schemas.microsoft.com/office/drawing/2014/main" id="{FD0DA38D-A9E1-4107-8135-D484D4739EDF}"/>
                </a:ext>
              </a:extLst>
            </p:cNvPr>
            <p:cNvSpPr txBox="1"/>
            <p:nvPr/>
          </p:nvSpPr>
          <p:spPr bwMode="auto">
            <a:xfrm>
              <a:off x="7400037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44</a:t>
              </a:r>
            </a:p>
          </p:txBody>
        </p:sp>
        <p:sp>
          <p:nvSpPr>
            <p:cNvPr id="126" name="TextBox 49">
              <a:extLst>
                <a:ext uri="{FF2B5EF4-FFF2-40B4-BE49-F238E27FC236}">
                  <a16:creationId xmlns:a16="http://schemas.microsoft.com/office/drawing/2014/main" id="{833E2DA5-1F6C-41E5-84CA-784ACA94D836}"/>
                </a:ext>
              </a:extLst>
            </p:cNvPr>
            <p:cNvSpPr txBox="1"/>
            <p:nvPr/>
          </p:nvSpPr>
          <p:spPr bwMode="auto">
            <a:xfrm>
              <a:off x="7958838" y="5682915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48</a:t>
              </a:r>
            </a:p>
          </p:txBody>
        </p:sp>
        <p:sp>
          <p:nvSpPr>
            <p:cNvPr id="127" name="TextBox 50">
              <a:extLst>
                <a:ext uri="{FF2B5EF4-FFF2-40B4-BE49-F238E27FC236}">
                  <a16:creationId xmlns:a16="http://schemas.microsoft.com/office/drawing/2014/main" id="{814C1BD6-8331-4D06-B50A-BC1E6CB4297B}"/>
                </a:ext>
              </a:extLst>
            </p:cNvPr>
            <p:cNvSpPr txBox="1"/>
            <p:nvPr/>
          </p:nvSpPr>
          <p:spPr bwMode="auto">
            <a:xfrm>
              <a:off x="2054130" y="5974906"/>
              <a:ext cx="7304088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Months</a:t>
              </a:r>
            </a:p>
          </p:txBody>
        </p:sp>
        <p:sp>
          <p:nvSpPr>
            <p:cNvPr id="128" name="TextBox 51">
              <a:extLst>
                <a:ext uri="{FF2B5EF4-FFF2-40B4-BE49-F238E27FC236}">
                  <a16:creationId xmlns:a16="http://schemas.microsoft.com/office/drawing/2014/main" id="{E9B67D2D-D54E-4FCD-9BC8-B1914177AF04}"/>
                </a:ext>
              </a:extLst>
            </p:cNvPr>
            <p:cNvSpPr txBox="1"/>
            <p:nvPr/>
          </p:nvSpPr>
          <p:spPr bwMode="auto">
            <a:xfrm>
              <a:off x="8527622" y="5682913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52</a:t>
              </a:r>
            </a:p>
          </p:txBody>
        </p:sp>
        <p:sp>
          <p:nvSpPr>
            <p:cNvPr id="129" name="TextBox 52">
              <a:extLst>
                <a:ext uri="{FF2B5EF4-FFF2-40B4-BE49-F238E27FC236}">
                  <a16:creationId xmlns:a16="http://schemas.microsoft.com/office/drawing/2014/main" id="{806D3186-4F0F-407C-8E21-ED3BA8616BD9}"/>
                </a:ext>
              </a:extLst>
            </p:cNvPr>
            <p:cNvSpPr txBox="1"/>
            <p:nvPr/>
          </p:nvSpPr>
          <p:spPr bwMode="auto">
            <a:xfrm>
              <a:off x="9079278" y="5682913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56</a:t>
              </a:r>
            </a:p>
          </p:txBody>
        </p:sp>
        <p:sp>
          <p:nvSpPr>
            <p:cNvPr id="130" name="TextBox 53">
              <a:extLst>
                <a:ext uri="{FF2B5EF4-FFF2-40B4-BE49-F238E27FC236}">
                  <a16:creationId xmlns:a16="http://schemas.microsoft.com/office/drawing/2014/main" id="{BEAC5210-0C1B-434B-8CA9-AEC296F93B35}"/>
                </a:ext>
              </a:extLst>
            </p:cNvPr>
            <p:cNvSpPr txBox="1"/>
            <p:nvPr/>
          </p:nvSpPr>
          <p:spPr bwMode="auto">
            <a:xfrm>
              <a:off x="9656334" y="5682913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60</a:t>
              </a:r>
            </a:p>
          </p:txBody>
        </p:sp>
        <p:cxnSp>
          <p:nvCxnSpPr>
            <p:cNvPr id="131" name="Straight Connector 54">
              <a:extLst>
                <a:ext uri="{FF2B5EF4-FFF2-40B4-BE49-F238E27FC236}">
                  <a16:creationId xmlns:a16="http://schemas.microsoft.com/office/drawing/2014/main" id="{4C92CF19-95B9-4904-A322-27EB5B9421A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64334" y="2897981"/>
              <a:ext cx="8987199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dash"/>
            </a:ln>
            <a:effectLst/>
          </p:spPr>
        </p:cxnSp>
        <p:sp>
          <p:nvSpPr>
            <p:cNvPr id="132" name="Line 30">
              <a:extLst>
                <a:ext uri="{FF2B5EF4-FFF2-40B4-BE49-F238E27FC236}">
                  <a16:creationId xmlns:a16="http://schemas.microsoft.com/office/drawing/2014/main" id="{1053D33E-C4DA-4194-9BD2-0DE3C983C3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95581" y="6232509"/>
              <a:ext cx="895595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33" name="Line 31">
              <a:extLst>
                <a:ext uri="{FF2B5EF4-FFF2-40B4-BE49-F238E27FC236}">
                  <a16:creationId xmlns:a16="http://schemas.microsoft.com/office/drawing/2014/main" id="{54938402-01CF-4F4E-9AF1-B2FD67D8E7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5581" y="6691513"/>
              <a:ext cx="895595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34" name="TextBox 57">
              <a:extLst>
                <a:ext uri="{FF2B5EF4-FFF2-40B4-BE49-F238E27FC236}">
                  <a16:creationId xmlns:a16="http://schemas.microsoft.com/office/drawing/2014/main" id="{7D5E458B-11E8-435D-9F30-108ADC4646E3}"/>
                </a:ext>
              </a:extLst>
            </p:cNvPr>
            <p:cNvSpPr txBox="1"/>
            <p:nvPr/>
          </p:nvSpPr>
          <p:spPr bwMode="auto">
            <a:xfrm>
              <a:off x="1206305" y="6260907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955</a:t>
              </a:r>
            </a:p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554</a:t>
              </a:r>
            </a:p>
          </p:txBody>
        </p:sp>
        <p:sp>
          <p:nvSpPr>
            <p:cNvPr id="135" name="TextBox 58">
              <a:extLst>
                <a:ext uri="{FF2B5EF4-FFF2-40B4-BE49-F238E27FC236}">
                  <a16:creationId xmlns:a16="http://schemas.microsoft.com/office/drawing/2014/main" id="{B52260C1-E671-4E43-984C-7E08C72B335F}"/>
                </a:ext>
              </a:extLst>
            </p:cNvPr>
            <p:cNvSpPr txBox="1"/>
            <p:nvPr/>
          </p:nvSpPr>
          <p:spPr bwMode="auto">
            <a:xfrm>
              <a:off x="1772275" y="6260907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932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530</a:t>
              </a:r>
            </a:p>
          </p:txBody>
        </p:sp>
        <p:sp>
          <p:nvSpPr>
            <p:cNvPr id="136" name="TextBox 59">
              <a:extLst>
                <a:ext uri="{FF2B5EF4-FFF2-40B4-BE49-F238E27FC236}">
                  <a16:creationId xmlns:a16="http://schemas.microsoft.com/office/drawing/2014/main" id="{1ACDDC41-A8E3-4EF8-B29C-1B6AF81280EC}"/>
                </a:ext>
              </a:extLst>
            </p:cNvPr>
            <p:cNvSpPr txBox="1"/>
            <p:nvPr/>
          </p:nvSpPr>
          <p:spPr bwMode="auto">
            <a:xfrm>
              <a:off x="2319784" y="6260907"/>
              <a:ext cx="396875" cy="175644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lvl="0" algn="ctr" defTabSz="1219170">
                <a:defRPr/>
              </a:pPr>
              <a:r>
                <a:rPr lang="en-GB" sz="1067" kern="0">
                  <a:solidFill>
                    <a:srgbClr val="000000"/>
                  </a:solidFill>
                  <a:latin typeface="+mn-lt"/>
                </a:rPr>
                <a:t>906</a:t>
              </a:r>
              <a:br>
                <a:rPr lang="en-GB" sz="1067" kern="0">
                  <a:solidFill>
                    <a:srgbClr val="000000"/>
                  </a:solidFill>
                  <a:latin typeface="+mn-lt"/>
                </a:rPr>
              </a:br>
              <a:r>
                <a:rPr lang="en-GB" sz="1067" kern="0">
                  <a:solidFill>
                    <a:srgbClr val="000000"/>
                  </a:solidFill>
                  <a:latin typeface="+mn-lt"/>
                </a:rPr>
                <a:t>497</a:t>
              </a:r>
            </a:p>
          </p:txBody>
        </p:sp>
        <p:sp>
          <p:nvSpPr>
            <p:cNvPr id="137" name="TextBox 60">
              <a:extLst>
                <a:ext uri="{FF2B5EF4-FFF2-40B4-BE49-F238E27FC236}">
                  <a16:creationId xmlns:a16="http://schemas.microsoft.com/office/drawing/2014/main" id="{2B9E98AE-9A4C-40A2-868F-79369502B8CE}"/>
                </a:ext>
              </a:extLst>
            </p:cNvPr>
            <p:cNvSpPr txBox="1"/>
            <p:nvPr/>
          </p:nvSpPr>
          <p:spPr bwMode="auto">
            <a:xfrm>
              <a:off x="2891264" y="6260907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863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460</a:t>
              </a:r>
            </a:p>
          </p:txBody>
        </p:sp>
        <p:sp>
          <p:nvSpPr>
            <p:cNvPr id="138" name="TextBox 61">
              <a:extLst>
                <a:ext uri="{FF2B5EF4-FFF2-40B4-BE49-F238E27FC236}">
                  <a16:creationId xmlns:a16="http://schemas.microsoft.com/office/drawing/2014/main" id="{D3740162-A0CF-4A24-9735-20E15C4E13B5}"/>
                </a:ext>
              </a:extLst>
            </p:cNvPr>
            <p:cNvSpPr txBox="1"/>
            <p:nvPr/>
          </p:nvSpPr>
          <p:spPr bwMode="auto">
            <a:xfrm>
              <a:off x="3492945" y="6260907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816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432</a:t>
              </a:r>
            </a:p>
          </p:txBody>
        </p:sp>
        <p:sp>
          <p:nvSpPr>
            <p:cNvPr id="139" name="TextBox 62">
              <a:extLst>
                <a:ext uri="{FF2B5EF4-FFF2-40B4-BE49-F238E27FC236}">
                  <a16:creationId xmlns:a16="http://schemas.microsoft.com/office/drawing/2014/main" id="{F58CA47F-335D-41B8-B06E-04747E3612A1}"/>
                </a:ext>
              </a:extLst>
            </p:cNvPr>
            <p:cNvSpPr txBox="1"/>
            <p:nvPr/>
          </p:nvSpPr>
          <p:spPr bwMode="auto">
            <a:xfrm>
              <a:off x="4050409" y="6260907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771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394</a:t>
              </a:r>
            </a:p>
          </p:txBody>
        </p:sp>
        <p:sp>
          <p:nvSpPr>
            <p:cNvPr id="140" name="TextBox 63">
              <a:extLst>
                <a:ext uri="{FF2B5EF4-FFF2-40B4-BE49-F238E27FC236}">
                  <a16:creationId xmlns:a16="http://schemas.microsoft.com/office/drawing/2014/main" id="{F34EA1D3-C34A-45FB-91EC-CC2DD9E96BD3}"/>
                </a:ext>
              </a:extLst>
            </p:cNvPr>
            <p:cNvSpPr txBox="1"/>
            <p:nvPr/>
          </p:nvSpPr>
          <p:spPr bwMode="auto">
            <a:xfrm>
              <a:off x="4577420" y="6260907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680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333</a:t>
              </a:r>
            </a:p>
          </p:txBody>
        </p:sp>
        <p:sp>
          <p:nvSpPr>
            <p:cNvPr id="141" name="TextBox 64">
              <a:extLst>
                <a:ext uri="{FF2B5EF4-FFF2-40B4-BE49-F238E27FC236}">
                  <a16:creationId xmlns:a16="http://schemas.microsoft.com/office/drawing/2014/main" id="{B1BA903F-DE66-44EB-946B-CFB026B230B5}"/>
                </a:ext>
              </a:extLst>
            </p:cNvPr>
            <p:cNvSpPr txBox="1"/>
            <p:nvPr/>
          </p:nvSpPr>
          <p:spPr bwMode="auto">
            <a:xfrm>
              <a:off x="5155310" y="6260907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549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261</a:t>
              </a:r>
            </a:p>
          </p:txBody>
        </p:sp>
        <p:sp>
          <p:nvSpPr>
            <p:cNvPr id="142" name="TextBox 65">
              <a:extLst>
                <a:ext uri="{FF2B5EF4-FFF2-40B4-BE49-F238E27FC236}">
                  <a16:creationId xmlns:a16="http://schemas.microsoft.com/office/drawing/2014/main" id="{02BDB78E-5673-467C-8ABB-CFD3C866AE10}"/>
                </a:ext>
              </a:extLst>
            </p:cNvPr>
            <p:cNvSpPr txBox="1"/>
            <p:nvPr/>
          </p:nvSpPr>
          <p:spPr bwMode="auto">
            <a:xfrm>
              <a:off x="5706173" y="6260907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425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182</a:t>
              </a:r>
            </a:p>
          </p:txBody>
        </p:sp>
        <p:sp>
          <p:nvSpPr>
            <p:cNvPr id="143" name="TextBox 66">
              <a:extLst>
                <a:ext uri="{FF2B5EF4-FFF2-40B4-BE49-F238E27FC236}">
                  <a16:creationId xmlns:a16="http://schemas.microsoft.com/office/drawing/2014/main" id="{F196934D-395B-4AC8-B8A5-1703226121F4}"/>
                </a:ext>
              </a:extLst>
            </p:cNvPr>
            <p:cNvSpPr txBox="1"/>
            <p:nvPr/>
          </p:nvSpPr>
          <p:spPr bwMode="auto">
            <a:xfrm>
              <a:off x="6266303" y="6260907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293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130</a:t>
              </a:r>
            </a:p>
          </p:txBody>
        </p:sp>
        <p:sp>
          <p:nvSpPr>
            <p:cNvPr id="144" name="TextBox 67">
              <a:extLst>
                <a:ext uri="{FF2B5EF4-FFF2-40B4-BE49-F238E27FC236}">
                  <a16:creationId xmlns:a16="http://schemas.microsoft.com/office/drawing/2014/main" id="{22222EB3-B76D-4E54-9922-D06B57D9BE2D}"/>
                </a:ext>
              </a:extLst>
            </p:cNvPr>
            <p:cNvSpPr txBox="1"/>
            <p:nvPr/>
          </p:nvSpPr>
          <p:spPr bwMode="auto">
            <a:xfrm>
              <a:off x="6844154" y="6260907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214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93</a:t>
              </a:r>
            </a:p>
          </p:txBody>
        </p:sp>
        <p:sp>
          <p:nvSpPr>
            <p:cNvPr id="145" name="TextBox 68">
              <a:extLst>
                <a:ext uri="{FF2B5EF4-FFF2-40B4-BE49-F238E27FC236}">
                  <a16:creationId xmlns:a16="http://schemas.microsoft.com/office/drawing/2014/main" id="{BBC590D6-AE35-42F7-8036-1C0F8EA104EE}"/>
                </a:ext>
              </a:extLst>
            </p:cNvPr>
            <p:cNvSpPr txBox="1"/>
            <p:nvPr/>
          </p:nvSpPr>
          <p:spPr bwMode="auto">
            <a:xfrm>
              <a:off x="7400036" y="6260908"/>
              <a:ext cx="396875" cy="130064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129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54</a:t>
              </a:r>
            </a:p>
          </p:txBody>
        </p:sp>
        <p:sp>
          <p:nvSpPr>
            <p:cNvPr id="146" name="TextBox 69">
              <a:extLst>
                <a:ext uri="{FF2B5EF4-FFF2-40B4-BE49-F238E27FC236}">
                  <a16:creationId xmlns:a16="http://schemas.microsoft.com/office/drawing/2014/main" id="{D7440176-6794-4361-B41B-E53EF36E67D6}"/>
                </a:ext>
              </a:extLst>
            </p:cNvPr>
            <p:cNvSpPr txBox="1"/>
            <p:nvPr/>
          </p:nvSpPr>
          <p:spPr bwMode="auto">
            <a:xfrm>
              <a:off x="7954109" y="6260907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69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28</a:t>
              </a:r>
            </a:p>
          </p:txBody>
        </p:sp>
        <p:sp>
          <p:nvSpPr>
            <p:cNvPr id="147" name="TextBox 70">
              <a:extLst>
                <a:ext uri="{FF2B5EF4-FFF2-40B4-BE49-F238E27FC236}">
                  <a16:creationId xmlns:a16="http://schemas.microsoft.com/office/drawing/2014/main" id="{C7AC23C1-928D-4068-8A1E-D947B0B263A7}"/>
                </a:ext>
              </a:extLst>
            </p:cNvPr>
            <p:cNvSpPr txBox="1"/>
            <p:nvPr/>
          </p:nvSpPr>
          <p:spPr bwMode="auto">
            <a:xfrm>
              <a:off x="535435" y="6260907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Darolutamide</a:t>
              </a:r>
            </a:p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Placebo</a:t>
              </a:r>
            </a:p>
          </p:txBody>
        </p:sp>
        <p:sp>
          <p:nvSpPr>
            <p:cNvPr id="148" name="TextBox 71">
              <a:extLst>
                <a:ext uri="{FF2B5EF4-FFF2-40B4-BE49-F238E27FC236}">
                  <a16:creationId xmlns:a16="http://schemas.microsoft.com/office/drawing/2014/main" id="{46F3ECE9-330C-44A7-BFCC-82346BFF39F3}"/>
                </a:ext>
              </a:extLst>
            </p:cNvPr>
            <p:cNvSpPr txBox="1"/>
            <p:nvPr/>
          </p:nvSpPr>
          <p:spPr bwMode="auto">
            <a:xfrm>
              <a:off x="12644" y="6006884"/>
              <a:ext cx="1384299" cy="131763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Number of patients at risk</a:t>
              </a:r>
            </a:p>
          </p:txBody>
        </p:sp>
        <p:sp>
          <p:nvSpPr>
            <p:cNvPr id="149" name="TextBox 72">
              <a:extLst>
                <a:ext uri="{FF2B5EF4-FFF2-40B4-BE49-F238E27FC236}">
                  <a16:creationId xmlns:a16="http://schemas.microsoft.com/office/drawing/2014/main" id="{C719655D-3D48-44AC-9A84-84961193EE9D}"/>
                </a:ext>
              </a:extLst>
            </p:cNvPr>
            <p:cNvSpPr txBox="1"/>
            <p:nvPr/>
          </p:nvSpPr>
          <p:spPr bwMode="auto">
            <a:xfrm>
              <a:off x="8527622" y="6260796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37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16</a:t>
              </a:r>
            </a:p>
          </p:txBody>
        </p:sp>
        <p:sp>
          <p:nvSpPr>
            <p:cNvPr id="150" name="TextBox 73">
              <a:extLst>
                <a:ext uri="{FF2B5EF4-FFF2-40B4-BE49-F238E27FC236}">
                  <a16:creationId xmlns:a16="http://schemas.microsoft.com/office/drawing/2014/main" id="{E48B357B-1E23-4330-AE97-0EE324673B53}"/>
                </a:ext>
              </a:extLst>
            </p:cNvPr>
            <p:cNvSpPr txBox="1"/>
            <p:nvPr/>
          </p:nvSpPr>
          <p:spPr bwMode="auto">
            <a:xfrm>
              <a:off x="9078466" y="6260796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12</a:t>
              </a:r>
              <a:b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4</a:t>
              </a:r>
            </a:p>
          </p:txBody>
        </p:sp>
        <p:sp>
          <p:nvSpPr>
            <p:cNvPr id="151" name="TextBox 74">
              <a:extLst>
                <a:ext uri="{FF2B5EF4-FFF2-40B4-BE49-F238E27FC236}">
                  <a16:creationId xmlns:a16="http://schemas.microsoft.com/office/drawing/2014/main" id="{C84828A1-D967-42D2-BB95-56E22C508119}"/>
                </a:ext>
              </a:extLst>
            </p:cNvPr>
            <p:cNvSpPr txBox="1"/>
            <p:nvPr/>
          </p:nvSpPr>
          <p:spPr bwMode="auto">
            <a:xfrm>
              <a:off x="9656334" y="6260796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0</a:t>
              </a:r>
            </a:p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rPr>
                <a:t>0</a:t>
              </a:r>
            </a:p>
          </p:txBody>
        </p:sp>
      </p:grpSp>
      <p:graphicFrame>
        <p:nvGraphicFramePr>
          <p:cNvPr id="168" name="Table 460">
            <a:extLst>
              <a:ext uri="{FF2B5EF4-FFF2-40B4-BE49-F238E27FC236}">
                <a16:creationId xmlns:a16="http://schemas.microsoft.com/office/drawing/2014/main" id="{999F4919-AC72-4837-BBE7-AAA9C6E13FFD}"/>
              </a:ext>
            </a:extLst>
          </p:cNvPr>
          <p:cNvGraphicFramePr>
            <a:graphicFrameLocks noGrp="1"/>
          </p:cNvGraphicFramePr>
          <p:nvPr/>
        </p:nvGraphicFramePr>
        <p:xfrm>
          <a:off x="6708418" y="3718039"/>
          <a:ext cx="2521330" cy="1373414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260665">
                  <a:extLst>
                    <a:ext uri="{9D8B030D-6E8A-4147-A177-3AD203B41FA5}">
                      <a16:colId xmlns:a16="http://schemas.microsoft.com/office/drawing/2014/main" val="2673988414"/>
                    </a:ext>
                  </a:extLst>
                </a:gridCol>
                <a:gridCol w="1260665">
                  <a:extLst>
                    <a:ext uri="{9D8B030D-6E8A-4147-A177-3AD203B41FA5}">
                      <a16:colId xmlns:a16="http://schemas.microsoft.com/office/drawing/2014/main" val="305551787"/>
                    </a:ext>
                  </a:extLst>
                </a:gridCol>
              </a:tblGrid>
              <a:tr h="367829">
                <a:tc gridSpan="2">
                  <a:txBody>
                    <a:bodyPr/>
                    <a:lstStyle/>
                    <a:p>
                      <a:pPr algn="ctr"/>
                      <a:r>
                        <a:rPr lang="en-GB" sz="1050"/>
                        <a:t>Received subsequent </a:t>
                      </a:r>
                      <a:br>
                        <a:rPr lang="en-GB" sz="1050"/>
                      </a:br>
                      <a:r>
                        <a:rPr lang="en-GB" sz="1050"/>
                        <a:t>life-prolonging therapy</a:t>
                      </a:r>
                      <a:r>
                        <a:rPr lang="en-GB" sz="1050" kern="1200"/>
                        <a:t>:</a:t>
                      </a:r>
                      <a:endParaRPr lang="en-GB" sz="105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0602683"/>
                  </a:ext>
                </a:extLst>
              </a:tr>
              <a:tr h="275227">
                <a:tc>
                  <a:txBody>
                    <a:bodyPr/>
                    <a:lstStyle/>
                    <a:p>
                      <a:pPr algn="ctr"/>
                      <a:r>
                        <a:rPr lang="en-GB" sz="1050" u="none"/>
                        <a:t>Darolutamide</a:t>
                      </a:r>
                      <a:endParaRPr lang="en-GB" sz="1050" b="1" u="none">
                        <a:solidFill>
                          <a:srgbClr val="F38037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u="none"/>
                        <a:t>Placebo</a:t>
                      </a:r>
                      <a:endParaRPr lang="en-GB" sz="1050" b="1" u="none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60122845"/>
                  </a:ext>
                </a:extLst>
              </a:tr>
              <a:tr h="275227">
                <a:tc>
                  <a:txBody>
                    <a:bodyPr/>
                    <a:lstStyle/>
                    <a:p>
                      <a:pPr algn="ctr"/>
                      <a:r>
                        <a:rPr lang="en-GB" sz="1050"/>
                        <a:t>141 (15%)</a:t>
                      </a:r>
                      <a:endParaRPr lang="en-GB" sz="1050" b="1">
                        <a:solidFill>
                          <a:srgbClr val="F38037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/>
                        <a:t>309 (56%)</a:t>
                      </a:r>
                      <a:endParaRPr lang="en-GB" sz="1050" b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16834109"/>
                  </a:ext>
                </a:extLst>
              </a:tr>
              <a:tr h="275227">
                <a:tc gridSpan="2">
                  <a:txBody>
                    <a:bodyPr/>
                    <a:lstStyle/>
                    <a:p>
                      <a:pPr algn="ctr"/>
                      <a:r>
                        <a:rPr lang="en-GB" sz="1050"/>
                        <a:t>170 patents from the placebo cross-over group received darolutamide</a:t>
                      </a:r>
                      <a:endParaRPr lang="en-GB" sz="1050" b="1">
                        <a:solidFill>
                          <a:srgbClr val="F38037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b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873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9051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86533A5-72C7-4F2E-BB6F-25EDB3C64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085" y="182075"/>
            <a:ext cx="10055780" cy="781827"/>
          </a:xfrm>
        </p:spPr>
        <p:txBody>
          <a:bodyPr>
            <a:normAutofit fontScale="90000"/>
          </a:bodyPr>
          <a:lstStyle/>
          <a:p>
            <a:r>
              <a:rPr lang="en-US" dirty="0"/>
              <a:t>ARAMIS: Subsequent Life-Prolonging Therapies in Patients Who Discontinued Study Treatment </a:t>
            </a:r>
            <a:r>
              <a:rPr lang="en-US" baseline="30000" dirty="0"/>
              <a:t>36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4F2902-3955-4940-A330-5A3439DD068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09085" y="6457002"/>
            <a:ext cx="11350737" cy="321035"/>
          </a:xfrm>
        </p:spPr>
        <p:txBody>
          <a:bodyPr/>
          <a:lstStyle/>
          <a:p>
            <a:pPr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*Percentages calculated using number patients who received life-prolonging therapy as the denominator (310 for enzalutamide and 303 for placebo)</a:t>
            </a:r>
          </a:p>
          <a:p>
            <a:pPr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†ENZAA total of 87 patients who received enzalutamide in the crossover group after the trial was unblinded were not included in this analysis, since they received enzalutamide as open-label treatment. After inclusion of these 87 patients, the total number of patients randomly assigned to placebo who received at least one subsequent antineoplastic agent increased to 390 (84%), and the total number of patients who received subsequent treatment with enzalutamide was 196.</a:t>
            </a:r>
          </a:p>
          <a:p>
            <a:pPr>
              <a:defRPr/>
            </a:pPr>
            <a:r>
              <a:rPr lang="en-US" alt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DT, androgen deprivation therapy; CI, confidence interval; CRPC, castration-resistant prostate cancer; HR, hazard ratio; PC, prostate cancer.</a:t>
            </a:r>
            <a:endParaRPr lang="it-IT" sz="800" dirty="0">
              <a:solidFill>
                <a:schemeClr val="bg1">
                  <a:lumMod val="50000"/>
                </a:schemeClr>
              </a:solidFill>
              <a:latin typeface="+mn-lt"/>
              <a:cs typeface="Arial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F212080-1DE2-45BE-B39B-8580403FB7F2}"/>
              </a:ext>
            </a:extLst>
          </p:cNvPr>
          <p:cNvGraphicFramePr>
            <a:graphicFrameLocks/>
          </p:cNvGraphicFramePr>
          <p:nvPr/>
        </p:nvGraphicFramePr>
        <p:xfrm>
          <a:off x="2766443" y="1346847"/>
          <a:ext cx="7302276" cy="43646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017198">
                  <a:extLst>
                    <a:ext uri="{9D8B030D-6E8A-4147-A177-3AD203B41FA5}">
                      <a16:colId xmlns:a16="http://schemas.microsoft.com/office/drawing/2014/main" val="2554068088"/>
                    </a:ext>
                  </a:extLst>
                </a:gridCol>
                <a:gridCol w="1642539">
                  <a:extLst>
                    <a:ext uri="{9D8B030D-6E8A-4147-A177-3AD203B41FA5}">
                      <a16:colId xmlns:a16="http://schemas.microsoft.com/office/drawing/2014/main" val="2502724014"/>
                    </a:ext>
                  </a:extLst>
                </a:gridCol>
                <a:gridCol w="1642539">
                  <a:extLst>
                    <a:ext uri="{9D8B030D-6E8A-4147-A177-3AD203B41FA5}">
                      <a16:colId xmlns:a16="http://schemas.microsoft.com/office/drawing/2014/main" val="1399706947"/>
                    </a:ext>
                  </a:extLst>
                </a:gridCol>
              </a:tblGrid>
              <a:tr h="38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GB" sz="1400" b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Helvetica" panose="020B0604020202020204" pitchFamily="34" charset="0"/>
                      </a:endParaRPr>
                    </a:p>
                  </a:txBody>
                  <a:tcPr marL="91416" marR="91416" marT="45708" marB="45708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b="0" strike="noStrike" kern="1200" baseline="0"/>
                        <a:t>ARAMIS</a:t>
                      </a:r>
                      <a:endParaRPr lang="en-US" sz="1800"/>
                    </a:p>
                  </a:txBody>
                  <a:tcPr marL="91419" marR="91419" marT="45686" marB="4568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300" b="1" strike="noStrike" kern="1200" baseline="0">
                        <a:solidFill>
                          <a:srgbClr val="00286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3" marR="91443" marT="45698" marB="456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383201"/>
                  </a:ext>
                </a:extLst>
              </a:tr>
              <a:tr h="7702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Patients who discontinued study treatment</a:t>
                      </a:r>
                      <a:r>
                        <a:rPr lang="en-US" sz="1400" b="0" baseline="0">
                          <a:effectLst/>
                          <a:latin typeface="+mn-lt"/>
                        </a:rPr>
                        <a:t>,</a:t>
                      </a:r>
                      <a:r>
                        <a:rPr lang="en-US" sz="1400" b="0">
                          <a:effectLst/>
                          <a:latin typeface="+mn-lt"/>
                        </a:rPr>
                        <a:t> n (%)</a:t>
                      </a:r>
                      <a:endParaRPr lang="en-GB" sz="1400" b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Helvetica" panose="020B0604020202020204" pitchFamily="34" charset="0"/>
                      </a:endParaRPr>
                    </a:p>
                  </a:txBody>
                  <a:tcPr marL="91416" marR="91416" marT="45708" marB="45708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ARO + ADT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BO + ADT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0375064"/>
                  </a:ext>
                </a:extLst>
              </a:tr>
              <a:tr h="3209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marL="0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  <a:latin typeface="+mn-lt"/>
                        </a:rPr>
                        <a:t>Received life-prolonging therapy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141 (15)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D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309 (56)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407831"/>
                  </a:ext>
                </a:extLst>
              </a:tr>
              <a:tr h="3209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eived systemic therapy for PC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</a:rPr>
                        <a:t>–</a:t>
                      </a: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</a:rPr>
                        <a:t>–</a:t>
                      </a: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5220897"/>
                  </a:ext>
                </a:extLst>
              </a:tr>
              <a:tr h="3209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sequent antineoplastic therapy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</a:rPr>
                        <a:t>–</a:t>
                      </a: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</a:rPr>
                        <a:t>–</a:t>
                      </a: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302534"/>
                  </a:ext>
                </a:extLst>
              </a:tr>
              <a:tr h="320934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marL="0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i="1" kern="120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Life-prolonging therapy for CRPC received:</a:t>
                      </a:r>
                      <a:endParaRPr lang="en-GB" sz="1400" i="1" kern="1200">
                        <a:solidFill>
                          <a:schemeClr val="accent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GB" sz="16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4324220"/>
                  </a:ext>
                </a:extLst>
              </a:tr>
              <a:tr h="320934">
                <a:tc>
                  <a:txBody>
                    <a:bodyPr/>
                    <a:lstStyle/>
                    <a:p>
                      <a:pPr marL="0" indent="173038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  <a:latin typeface="+mn-lt"/>
                        </a:rPr>
                        <a:t>Darolutamide</a:t>
                      </a:r>
                      <a:endParaRPr lang="en-GB" sz="14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–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170 (31)</a:t>
                      </a:r>
                      <a:endParaRPr lang="en-GB" sz="1400" b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54907"/>
                  </a:ext>
                </a:extLst>
              </a:tr>
              <a:tr h="3209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marL="0" indent="173038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Docetaxel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82 (9)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75 (14)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715886"/>
                  </a:ext>
                </a:extLst>
              </a:tr>
              <a:tr h="3209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marL="0" indent="173038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Abiraterone, abiraterone acetate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29 (3)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33 (6)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1083968"/>
                  </a:ext>
                </a:extLst>
              </a:tr>
              <a:tr h="3209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marL="0" indent="173038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Enzalutamide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28 (3)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29 (5)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071576"/>
                  </a:ext>
                </a:extLst>
              </a:tr>
              <a:tr h="320934">
                <a:tc>
                  <a:txBody>
                    <a:bodyPr/>
                    <a:lstStyle/>
                    <a:p>
                      <a:pPr marL="0" indent="173038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err="1">
                          <a:effectLst/>
                          <a:latin typeface="+mn-lt"/>
                        </a:rPr>
                        <a:t>Sipuleucel</a:t>
                      </a:r>
                      <a:r>
                        <a:rPr lang="en-GB" sz="1400">
                          <a:effectLst/>
                          <a:latin typeface="+mn-lt"/>
                        </a:rPr>
                        <a:t>-T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1 (0.1)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2 (0.4)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762841"/>
                  </a:ext>
                </a:extLst>
              </a:tr>
              <a:tr h="3209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marL="0" indent="173038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Cabazitaxel</a:t>
                      </a:r>
                      <a:endParaRPr lang="en-GB" sz="1400" baseline="300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1 (0.1)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0 (0)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228138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4EC9487-02EF-42DC-A193-3AA88EC38B08}"/>
              </a:ext>
            </a:extLst>
          </p:cNvPr>
          <p:cNvSpPr txBox="1"/>
          <p:nvPr/>
        </p:nvSpPr>
        <p:spPr bwMode="gray">
          <a:xfrm>
            <a:off x="795" y="1341420"/>
            <a:ext cx="2588539" cy="377965"/>
          </a:xfrm>
          <a:prstGeom prst="rect">
            <a:avLst/>
          </a:prstGeom>
          <a:solidFill>
            <a:schemeClr val="tx2"/>
          </a:solidFill>
        </p:spPr>
        <p:txBody>
          <a:bodyPr lIns="0" tIns="121888" rIns="0" bIns="121888" anchor="ctr"/>
          <a:lstStyle/>
          <a:p>
            <a:pPr algn="ctr" defTabSz="1628241">
              <a:defRPr/>
            </a:pPr>
            <a:r>
              <a:rPr lang="en-US" sz="1600" b="1" kern="0">
                <a:solidFill>
                  <a:srgbClr val="FFFFFF"/>
                </a:solidFill>
                <a:latin typeface="Arial"/>
                <a:cs typeface="Arial"/>
              </a:rPr>
              <a:t>Final Analysis</a:t>
            </a:r>
          </a:p>
        </p:txBody>
      </p:sp>
    </p:spTree>
    <p:extLst>
      <p:ext uri="{BB962C8B-B14F-4D97-AF65-F5344CB8AC3E}">
        <p14:creationId xmlns:p14="http://schemas.microsoft.com/office/powerpoint/2010/main" val="1580868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b="1"/>
              <a:t>Disclaimer</a:t>
            </a:r>
            <a:endParaRPr lang="de-DE" b="1"/>
          </a:p>
        </p:txBody>
      </p:sp>
      <p:sp>
        <p:nvSpPr>
          <p:cNvPr id="9" name="Textfeld 8"/>
          <p:cNvSpPr txBox="1"/>
          <p:nvPr/>
        </p:nvSpPr>
        <p:spPr bwMode="gray">
          <a:xfrm>
            <a:off x="1018934" y="1885383"/>
            <a:ext cx="10184268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The following has been developed in response to an unsolicited request for slides for a scientific presentation, is for scientific information purposes only and does not represent promotion of a non-licensed indic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err="1">
                <a:latin typeface="+mn-lt"/>
              </a:rPr>
              <a:t>Darolutamide</a:t>
            </a:r>
            <a:r>
              <a:rPr lang="en-US" dirty="0">
                <a:latin typeface="+mn-lt"/>
              </a:rPr>
              <a:t> is approved in combination with androgen deprivation therapy (ADT), is indicated for the treatment of adult patients with non-metastatic, castration-resistant prostate cancer (NM-CRPC) who are at high risk of developing metastases (especially PSADT ≤ 10 months).</a:t>
            </a:r>
            <a:r>
              <a:rPr lang="en-US" baseline="30000" dirty="0">
                <a:latin typeface="+mn-lt"/>
              </a:rPr>
              <a:t>1</a:t>
            </a:r>
            <a:r>
              <a:rPr lang="en-US" dirty="0">
                <a:latin typeface="+mn-lt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This presentation may not be duplicated or distribu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Bayer (Schweiz) AG does not take any responsibility for any misuse of this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87337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86533A5-72C7-4F2E-BB6F-25EDB3C64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ARAMIS: Secondary Endpoints </a:t>
            </a:r>
            <a:r>
              <a:rPr lang="en-US" baseline="30000" dirty="0"/>
              <a:t>36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4F2902-3955-4940-A330-5A3439DD068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altLang="en-US" sz="8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†Time to pain progression was evaluated using data from the primary analysis cut-off date of September 3, 2018. Pain progression is a subjective endpoint that is less confounded while the study is blinded. Thus, no further data was collected after the double-blind period.</a:t>
            </a:r>
            <a:endParaRPr lang="it-IT" altLang="en-US" sz="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C1B55C-84E2-4D43-95B5-AFF2AD9E13DF}"/>
              </a:ext>
            </a:extLst>
          </p:cNvPr>
          <p:cNvSpPr txBox="1"/>
          <p:nvPr/>
        </p:nvSpPr>
        <p:spPr bwMode="gray">
          <a:xfrm>
            <a:off x="794" y="1187995"/>
            <a:ext cx="2588876" cy="540819"/>
          </a:xfrm>
          <a:prstGeom prst="rect">
            <a:avLst/>
          </a:prstGeom>
          <a:solidFill>
            <a:srgbClr val="FF3162"/>
          </a:solidFill>
        </p:spPr>
        <p:txBody>
          <a:bodyPr lIns="0" tIns="121904" rIns="0" bIns="121904" anchor="ctr"/>
          <a:lstStyle/>
          <a:p>
            <a:pPr algn="ctr" defTabSz="1628404">
              <a:defRPr/>
            </a:pPr>
            <a:r>
              <a:rPr lang="en-US" sz="1600" b="1" kern="0">
                <a:solidFill>
                  <a:srgbClr val="FFFFFF"/>
                </a:solidFill>
                <a:latin typeface="Arial"/>
                <a:cs typeface="Arial"/>
              </a:rPr>
              <a:t>Secondary endpoints -</a:t>
            </a:r>
          </a:p>
          <a:p>
            <a:pPr algn="ctr" defTabSz="1628404">
              <a:defRPr/>
            </a:pPr>
            <a:r>
              <a:rPr lang="en-US" sz="1600" b="1" kern="0">
                <a:solidFill>
                  <a:srgbClr val="FFFFFF"/>
                </a:solidFill>
                <a:latin typeface="Arial"/>
                <a:cs typeface="Arial"/>
              </a:rPr>
              <a:t>Final Analysis</a:t>
            </a:r>
          </a:p>
        </p:txBody>
      </p:sp>
      <p:sp>
        <p:nvSpPr>
          <p:cNvPr id="92" name="Text Placeholder 5">
            <a:extLst>
              <a:ext uri="{FF2B5EF4-FFF2-40B4-BE49-F238E27FC236}">
                <a16:creationId xmlns:a16="http://schemas.microsoft.com/office/drawing/2014/main" id="{885E1C76-E5B6-4D3D-A56C-C7842449A2FD}"/>
              </a:ext>
            </a:extLst>
          </p:cNvPr>
          <p:cNvSpPr txBox="1">
            <a:spLocks/>
          </p:cNvSpPr>
          <p:nvPr/>
        </p:nvSpPr>
        <p:spPr bwMode="gray">
          <a:xfrm>
            <a:off x="304773" y="5832565"/>
            <a:ext cx="11265743" cy="3904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9">
              <a:defRPr/>
            </a:pPr>
            <a:br>
              <a:rPr lang="en-GB">
                <a:solidFill>
                  <a:srgbClr val="000000"/>
                </a:solidFill>
                <a:latin typeface="Arial"/>
                <a:cs typeface="Arial"/>
              </a:rPr>
            </a:br>
            <a:r>
              <a:rPr lang="en-GB">
                <a:solidFill>
                  <a:srgbClr val="000000"/>
                </a:solidFill>
                <a:latin typeface="Arial"/>
                <a:cs typeface="Arial"/>
              </a:rPr>
              <a:t>All analyses for the placebo group include the 170 patients who crossed over to </a:t>
            </a:r>
            <a:r>
              <a:rPr lang="en-GB" err="1">
                <a:solidFill>
                  <a:srgbClr val="000000"/>
                </a:solidFill>
                <a:latin typeface="Arial"/>
                <a:cs typeface="Arial"/>
              </a:rPr>
              <a:t>darolutamide</a:t>
            </a:r>
            <a:r>
              <a:rPr lang="en-GB">
                <a:solidFill>
                  <a:srgbClr val="000000"/>
                </a:solidFill>
                <a:latin typeface="Arial"/>
                <a:cs typeface="Arial"/>
              </a:rPr>
              <a:t> treatment during the open-label study period.</a:t>
            </a:r>
            <a:br>
              <a:rPr lang="en-GB">
                <a:solidFill>
                  <a:srgbClr val="000000"/>
                </a:solidFill>
                <a:latin typeface="Arial"/>
                <a:cs typeface="Arial"/>
              </a:rPr>
            </a:br>
            <a:r>
              <a:rPr lang="en-GB">
                <a:solidFill>
                  <a:srgbClr val="000000"/>
                </a:solidFill>
                <a:latin typeface="Arial"/>
                <a:cs typeface="Arial"/>
              </a:rPr>
              <a:t>CI, confidence interval; HR, hazard ratio; SSE, symptomatic skeletal event.</a:t>
            </a:r>
          </a:p>
        </p:txBody>
      </p:sp>
      <p:grpSp>
        <p:nvGrpSpPr>
          <p:cNvPr id="88" name="Group 18">
            <a:extLst>
              <a:ext uri="{FF2B5EF4-FFF2-40B4-BE49-F238E27FC236}">
                <a16:creationId xmlns:a16="http://schemas.microsoft.com/office/drawing/2014/main" id="{E8B5AB71-91D7-4292-BA2C-078BEA0D782C}"/>
              </a:ext>
            </a:extLst>
          </p:cNvPr>
          <p:cNvGrpSpPr>
            <a:grpSpLocks/>
          </p:cNvGrpSpPr>
          <p:nvPr/>
        </p:nvGrpSpPr>
        <p:grpSpPr bwMode="auto">
          <a:xfrm>
            <a:off x="151561" y="2535200"/>
            <a:ext cx="3952873" cy="2601410"/>
            <a:chOff x="-12667062" y="818172"/>
            <a:chExt cx="6370612" cy="3075482"/>
          </a:xfrm>
        </p:grpSpPr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29DA79D9-DBF5-4026-95AC-E4B5934B2A5E}"/>
                </a:ext>
              </a:extLst>
            </p:cNvPr>
            <p:cNvCxnSpPr>
              <a:cxnSpLocks/>
            </p:cNvCxnSpPr>
            <p:nvPr/>
          </p:nvCxnSpPr>
          <p:spPr>
            <a:xfrm>
              <a:off x="-11861487" y="2044897"/>
              <a:ext cx="5211777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dash"/>
            </a:ln>
            <a:effectLst/>
          </p:spPr>
        </p:cxnSp>
        <p:sp>
          <p:nvSpPr>
            <p:cNvPr id="98" name="Freeform 35">
              <a:extLst>
                <a:ext uri="{FF2B5EF4-FFF2-40B4-BE49-F238E27FC236}">
                  <a16:creationId xmlns:a16="http://schemas.microsoft.com/office/drawing/2014/main" id="{3D09014A-808C-4828-976A-AF4F49AC2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56392" y="884848"/>
              <a:ext cx="4456978" cy="1539870"/>
            </a:xfrm>
            <a:custGeom>
              <a:avLst/>
              <a:gdLst>
                <a:gd name="T0" fmla="*/ 3610041 w 2005"/>
                <a:gd name="T1" fmla="*/ 1473195 h 970"/>
                <a:gd name="T2" fmla="*/ 3265487 w 2005"/>
                <a:gd name="T3" fmla="*/ 1412870 h 970"/>
                <a:gd name="T4" fmla="*/ 3261041 w 2005"/>
                <a:gd name="T5" fmla="*/ 1300158 h 970"/>
                <a:gd name="T6" fmla="*/ 2958722 w 2005"/>
                <a:gd name="T7" fmla="*/ 1263646 h 970"/>
                <a:gd name="T8" fmla="*/ 2938716 w 2005"/>
                <a:gd name="T9" fmla="*/ 1208084 h 970"/>
                <a:gd name="T10" fmla="*/ 2894257 w 2005"/>
                <a:gd name="T11" fmla="*/ 1177921 h 970"/>
                <a:gd name="T12" fmla="*/ 2792002 w 2005"/>
                <a:gd name="T13" fmla="*/ 1127121 h 970"/>
                <a:gd name="T14" fmla="*/ 2178473 w 2005"/>
                <a:gd name="T15" fmla="*/ 1057272 h 970"/>
                <a:gd name="T16" fmla="*/ 2125123 w 2005"/>
                <a:gd name="T17" fmla="*/ 1011234 h 970"/>
                <a:gd name="T18" fmla="*/ 2042874 w 2005"/>
                <a:gd name="T19" fmla="*/ 993772 h 970"/>
                <a:gd name="T20" fmla="*/ 2020645 w 2005"/>
                <a:gd name="T21" fmla="*/ 935034 h 970"/>
                <a:gd name="T22" fmla="*/ 1882823 w 2005"/>
                <a:gd name="T23" fmla="*/ 927097 h 970"/>
                <a:gd name="T24" fmla="*/ 1807243 w 2005"/>
                <a:gd name="T25" fmla="*/ 917572 h 970"/>
                <a:gd name="T26" fmla="*/ 1776122 w 2005"/>
                <a:gd name="T27" fmla="*/ 912810 h 970"/>
                <a:gd name="T28" fmla="*/ 1736110 w 2005"/>
                <a:gd name="T29" fmla="*/ 887410 h 970"/>
                <a:gd name="T30" fmla="*/ 1649415 w 2005"/>
                <a:gd name="T31" fmla="*/ 879472 h 970"/>
                <a:gd name="T32" fmla="*/ 1620517 w 2005"/>
                <a:gd name="T33" fmla="*/ 806447 h 970"/>
                <a:gd name="T34" fmla="*/ 1487141 w 2005"/>
                <a:gd name="T35" fmla="*/ 779460 h 970"/>
                <a:gd name="T36" fmla="*/ 1464912 w 2005"/>
                <a:gd name="T37" fmla="*/ 757235 h 970"/>
                <a:gd name="T38" fmla="*/ 1407116 w 2005"/>
                <a:gd name="T39" fmla="*/ 749298 h 970"/>
                <a:gd name="T40" fmla="*/ 1371549 w 2005"/>
                <a:gd name="T41" fmla="*/ 744535 h 970"/>
                <a:gd name="T42" fmla="*/ 1338205 w 2005"/>
                <a:gd name="T43" fmla="*/ 711198 h 970"/>
                <a:gd name="T44" fmla="*/ 1229281 w 2005"/>
                <a:gd name="T45" fmla="*/ 706435 h 970"/>
                <a:gd name="T46" fmla="*/ 1218167 w 2005"/>
                <a:gd name="T47" fmla="*/ 623885 h 970"/>
                <a:gd name="T48" fmla="*/ 1167039 w 2005"/>
                <a:gd name="T49" fmla="*/ 604836 h 970"/>
                <a:gd name="T50" fmla="*/ 1158147 w 2005"/>
                <a:gd name="T51" fmla="*/ 592136 h 970"/>
                <a:gd name="T52" fmla="*/ 1038109 w 2005"/>
                <a:gd name="T53" fmla="*/ 582611 h 970"/>
                <a:gd name="T54" fmla="*/ 1004765 w 2005"/>
                <a:gd name="T55" fmla="*/ 571498 h 970"/>
                <a:gd name="T56" fmla="*/ 960306 w 2005"/>
                <a:gd name="T57" fmla="*/ 563561 h 970"/>
                <a:gd name="T58" fmla="*/ 862497 w 2005"/>
                <a:gd name="T59" fmla="*/ 547686 h 970"/>
                <a:gd name="T60" fmla="*/ 824708 w 2005"/>
                <a:gd name="T61" fmla="*/ 533398 h 970"/>
                <a:gd name="T62" fmla="*/ 813593 w 2005"/>
                <a:gd name="T63" fmla="*/ 506411 h 970"/>
                <a:gd name="T64" fmla="*/ 671325 w 2005"/>
                <a:gd name="T65" fmla="*/ 347661 h 970"/>
                <a:gd name="T66" fmla="*/ 626867 w 2005"/>
                <a:gd name="T67" fmla="*/ 334961 h 970"/>
                <a:gd name="T68" fmla="*/ 555733 w 2005"/>
                <a:gd name="T69" fmla="*/ 323849 h 970"/>
                <a:gd name="T70" fmla="*/ 442363 w 2005"/>
                <a:gd name="T71" fmla="*/ 301624 h 970"/>
                <a:gd name="T72" fmla="*/ 422357 w 2005"/>
                <a:gd name="T73" fmla="*/ 261937 h 970"/>
                <a:gd name="T74" fmla="*/ 413465 w 2005"/>
                <a:gd name="T75" fmla="*/ 233362 h 970"/>
                <a:gd name="T76" fmla="*/ 411242 w 2005"/>
                <a:gd name="T77" fmla="*/ 38100 h 970"/>
                <a:gd name="T78" fmla="*/ 380121 w 2005"/>
                <a:gd name="T79" fmla="*/ 23812 h 970"/>
                <a:gd name="T80" fmla="*/ 364561 w 2005"/>
                <a:gd name="T81" fmla="*/ 7937 h 970"/>
                <a:gd name="T82" fmla="*/ 300096 w 2005"/>
                <a:gd name="T83" fmla="*/ 4762 h 97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005" h="970">
                  <a:moveTo>
                    <a:pt x="2005" y="970"/>
                  </a:moveTo>
                  <a:lnTo>
                    <a:pt x="1624" y="970"/>
                  </a:lnTo>
                  <a:lnTo>
                    <a:pt x="1624" y="928"/>
                  </a:lnTo>
                  <a:lnTo>
                    <a:pt x="1552" y="928"/>
                  </a:lnTo>
                  <a:lnTo>
                    <a:pt x="1552" y="890"/>
                  </a:lnTo>
                  <a:lnTo>
                    <a:pt x="1469" y="890"/>
                  </a:lnTo>
                  <a:lnTo>
                    <a:pt x="1469" y="857"/>
                  </a:lnTo>
                  <a:lnTo>
                    <a:pt x="1467" y="857"/>
                  </a:lnTo>
                  <a:lnTo>
                    <a:pt x="1467" y="819"/>
                  </a:lnTo>
                  <a:lnTo>
                    <a:pt x="1458" y="819"/>
                  </a:lnTo>
                  <a:lnTo>
                    <a:pt x="1458" y="796"/>
                  </a:lnTo>
                  <a:lnTo>
                    <a:pt x="1331" y="796"/>
                  </a:lnTo>
                  <a:lnTo>
                    <a:pt x="1331" y="778"/>
                  </a:lnTo>
                  <a:lnTo>
                    <a:pt x="1322" y="778"/>
                  </a:lnTo>
                  <a:lnTo>
                    <a:pt x="1322" y="761"/>
                  </a:lnTo>
                  <a:lnTo>
                    <a:pt x="1321" y="761"/>
                  </a:lnTo>
                  <a:lnTo>
                    <a:pt x="1321" y="742"/>
                  </a:lnTo>
                  <a:lnTo>
                    <a:pt x="1302" y="742"/>
                  </a:lnTo>
                  <a:lnTo>
                    <a:pt x="1302" y="725"/>
                  </a:lnTo>
                  <a:lnTo>
                    <a:pt x="1256" y="725"/>
                  </a:lnTo>
                  <a:lnTo>
                    <a:pt x="1256" y="710"/>
                  </a:lnTo>
                  <a:lnTo>
                    <a:pt x="1098" y="710"/>
                  </a:lnTo>
                  <a:lnTo>
                    <a:pt x="1098" y="666"/>
                  </a:lnTo>
                  <a:lnTo>
                    <a:pt x="980" y="666"/>
                  </a:lnTo>
                  <a:lnTo>
                    <a:pt x="980" y="649"/>
                  </a:lnTo>
                  <a:lnTo>
                    <a:pt x="956" y="649"/>
                  </a:lnTo>
                  <a:lnTo>
                    <a:pt x="956" y="637"/>
                  </a:lnTo>
                  <a:lnTo>
                    <a:pt x="930" y="637"/>
                  </a:lnTo>
                  <a:lnTo>
                    <a:pt x="930" y="626"/>
                  </a:lnTo>
                  <a:lnTo>
                    <a:pt x="919" y="626"/>
                  </a:lnTo>
                  <a:lnTo>
                    <a:pt x="919" y="601"/>
                  </a:lnTo>
                  <a:lnTo>
                    <a:pt x="909" y="601"/>
                  </a:lnTo>
                  <a:lnTo>
                    <a:pt x="909" y="589"/>
                  </a:lnTo>
                  <a:lnTo>
                    <a:pt x="854" y="589"/>
                  </a:lnTo>
                  <a:lnTo>
                    <a:pt x="854" y="584"/>
                  </a:lnTo>
                  <a:lnTo>
                    <a:pt x="847" y="584"/>
                  </a:lnTo>
                  <a:lnTo>
                    <a:pt x="847" y="581"/>
                  </a:lnTo>
                  <a:lnTo>
                    <a:pt x="813" y="581"/>
                  </a:lnTo>
                  <a:lnTo>
                    <a:pt x="813" y="578"/>
                  </a:lnTo>
                  <a:lnTo>
                    <a:pt x="809" y="578"/>
                  </a:lnTo>
                  <a:lnTo>
                    <a:pt x="809" y="575"/>
                  </a:lnTo>
                  <a:lnTo>
                    <a:pt x="799" y="575"/>
                  </a:lnTo>
                  <a:lnTo>
                    <a:pt x="799" y="568"/>
                  </a:lnTo>
                  <a:lnTo>
                    <a:pt x="781" y="568"/>
                  </a:lnTo>
                  <a:lnTo>
                    <a:pt x="781" y="559"/>
                  </a:lnTo>
                  <a:lnTo>
                    <a:pt x="751" y="559"/>
                  </a:lnTo>
                  <a:lnTo>
                    <a:pt x="751" y="554"/>
                  </a:lnTo>
                  <a:lnTo>
                    <a:pt x="742" y="554"/>
                  </a:lnTo>
                  <a:lnTo>
                    <a:pt x="742" y="546"/>
                  </a:lnTo>
                  <a:lnTo>
                    <a:pt x="729" y="546"/>
                  </a:lnTo>
                  <a:lnTo>
                    <a:pt x="729" y="508"/>
                  </a:lnTo>
                  <a:lnTo>
                    <a:pt x="726" y="508"/>
                  </a:lnTo>
                  <a:lnTo>
                    <a:pt x="726" y="491"/>
                  </a:lnTo>
                  <a:lnTo>
                    <a:pt x="669" y="491"/>
                  </a:lnTo>
                  <a:lnTo>
                    <a:pt x="669" y="486"/>
                  </a:lnTo>
                  <a:lnTo>
                    <a:pt x="659" y="486"/>
                  </a:lnTo>
                  <a:lnTo>
                    <a:pt x="659" y="477"/>
                  </a:lnTo>
                  <a:lnTo>
                    <a:pt x="646" y="477"/>
                  </a:lnTo>
                  <a:lnTo>
                    <a:pt x="646" y="472"/>
                  </a:lnTo>
                  <a:lnTo>
                    <a:pt x="633" y="472"/>
                  </a:lnTo>
                  <a:lnTo>
                    <a:pt x="633" y="469"/>
                  </a:lnTo>
                  <a:lnTo>
                    <a:pt x="621" y="469"/>
                  </a:lnTo>
                  <a:lnTo>
                    <a:pt x="617" y="469"/>
                  </a:lnTo>
                  <a:lnTo>
                    <a:pt x="617" y="454"/>
                  </a:lnTo>
                  <a:lnTo>
                    <a:pt x="602" y="454"/>
                  </a:lnTo>
                  <a:lnTo>
                    <a:pt x="602" y="448"/>
                  </a:lnTo>
                  <a:lnTo>
                    <a:pt x="564" y="448"/>
                  </a:lnTo>
                  <a:lnTo>
                    <a:pt x="564" y="445"/>
                  </a:lnTo>
                  <a:lnTo>
                    <a:pt x="553" y="445"/>
                  </a:lnTo>
                  <a:lnTo>
                    <a:pt x="553" y="435"/>
                  </a:lnTo>
                  <a:lnTo>
                    <a:pt x="548" y="435"/>
                  </a:lnTo>
                  <a:lnTo>
                    <a:pt x="548" y="393"/>
                  </a:lnTo>
                  <a:lnTo>
                    <a:pt x="541" y="393"/>
                  </a:lnTo>
                  <a:lnTo>
                    <a:pt x="541" y="381"/>
                  </a:lnTo>
                  <a:lnTo>
                    <a:pt x="525" y="381"/>
                  </a:lnTo>
                  <a:lnTo>
                    <a:pt x="525" y="376"/>
                  </a:lnTo>
                  <a:lnTo>
                    <a:pt x="521" y="376"/>
                  </a:lnTo>
                  <a:lnTo>
                    <a:pt x="521" y="373"/>
                  </a:lnTo>
                  <a:lnTo>
                    <a:pt x="510" y="373"/>
                  </a:lnTo>
                  <a:lnTo>
                    <a:pt x="510" y="367"/>
                  </a:lnTo>
                  <a:lnTo>
                    <a:pt x="467" y="367"/>
                  </a:lnTo>
                  <a:lnTo>
                    <a:pt x="467" y="364"/>
                  </a:lnTo>
                  <a:lnTo>
                    <a:pt x="452" y="364"/>
                  </a:lnTo>
                  <a:lnTo>
                    <a:pt x="452" y="360"/>
                  </a:lnTo>
                  <a:lnTo>
                    <a:pt x="441" y="360"/>
                  </a:lnTo>
                  <a:lnTo>
                    <a:pt x="441" y="355"/>
                  </a:lnTo>
                  <a:lnTo>
                    <a:pt x="432" y="355"/>
                  </a:lnTo>
                  <a:lnTo>
                    <a:pt x="432" y="351"/>
                  </a:lnTo>
                  <a:lnTo>
                    <a:pt x="388" y="351"/>
                  </a:lnTo>
                  <a:lnTo>
                    <a:pt x="388" y="345"/>
                  </a:lnTo>
                  <a:lnTo>
                    <a:pt x="377" y="345"/>
                  </a:lnTo>
                  <a:lnTo>
                    <a:pt x="377" y="336"/>
                  </a:lnTo>
                  <a:lnTo>
                    <a:pt x="371" y="336"/>
                  </a:lnTo>
                  <a:lnTo>
                    <a:pt x="371" y="323"/>
                  </a:lnTo>
                  <a:lnTo>
                    <a:pt x="366" y="323"/>
                  </a:lnTo>
                  <a:lnTo>
                    <a:pt x="366" y="319"/>
                  </a:lnTo>
                  <a:lnTo>
                    <a:pt x="365" y="319"/>
                  </a:lnTo>
                  <a:lnTo>
                    <a:pt x="365" y="219"/>
                  </a:lnTo>
                  <a:lnTo>
                    <a:pt x="302" y="219"/>
                  </a:lnTo>
                  <a:lnTo>
                    <a:pt x="302" y="216"/>
                  </a:lnTo>
                  <a:lnTo>
                    <a:pt x="282" y="216"/>
                  </a:lnTo>
                  <a:lnTo>
                    <a:pt x="282" y="211"/>
                  </a:lnTo>
                  <a:lnTo>
                    <a:pt x="270" y="211"/>
                  </a:lnTo>
                  <a:lnTo>
                    <a:pt x="270" y="204"/>
                  </a:lnTo>
                  <a:lnTo>
                    <a:pt x="250" y="204"/>
                  </a:lnTo>
                  <a:lnTo>
                    <a:pt x="250" y="194"/>
                  </a:lnTo>
                  <a:lnTo>
                    <a:pt x="199" y="194"/>
                  </a:lnTo>
                  <a:lnTo>
                    <a:pt x="199" y="190"/>
                  </a:lnTo>
                  <a:lnTo>
                    <a:pt x="196" y="190"/>
                  </a:lnTo>
                  <a:lnTo>
                    <a:pt x="196" y="165"/>
                  </a:lnTo>
                  <a:lnTo>
                    <a:pt x="190" y="165"/>
                  </a:lnTo>
                  <a:lnTo>
                    <a:pt x="187" y="165"/>
                  </a:lnTo>
                  <a:lnTo>
                    <a:pt x="187" y="147"/>
                  </a:lnTo>
                  <a:lnTo>
                    <a:pt x="186" y="147"/>
                  </a:lnTo>
                  <a:lnTo>
                    <a:pt x="186" y="131"/>
                  </a:lnTo>
                  <a:lnTo>
                    <a:pt x="185" y="131"/>
                  </a:lnTo>
                  <a:lnTo>
                    <a:pt x="185" y="24"/>
                  </a:lnTo>
                  <a:lnTo>
                    <a:pt x="179" y="24"/>
                  </a:lnTo>
                  <a:lnTo>
                    <a:pt x="179" y="15"/>
                  </a:lnTo>
                  <a:lnTo>
                    <a:pt x="171" y="15"/>
                  </a:lnTo>
                  <a:lnTo>
                    <a:pt x="171" y="9"/>
                  </a:lnTo>
                  <a:lnTo>
                    <a:pt x="164" y="9"/>
                  </a:lnTo>
                  <a:lnTo>
                    <a:pt x="164" y="5"/>
                  </a:lnTo>
                  <a:lnTo>
                    <a:pt x="147" y="5"/>
                  </a:lnTo>
                  <a:lnTo>
                    <a:pt x="147" y="3"/>
                  </a:lnTo>
                  <a:lnTo>
                    <a:pt x="135" y="3"/>
                  </a:lnTo>
                  <a:lnTo>
                    <a:pt x="135" y="0"/>
                  </a:lnTo>
                  <a:lnTo>
                    <a:pt x="0" y="0"/>
                  </a:lnTo>
                </a:path>
              </a:pathLst>
            </a:custGeom>
            <a:noFill/>
            <a:ln w="28575" cap="flat">
              <a:solidFill>
                <a:srgbClr val="797D8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900" kern="0">
                <a:solidFill>
                  <a:srgbClr val="000000"/>
                </a:solidFill>
              </a:endParaRPr>
            </a:p>
          </p:txBody>
        </p:sp>
        <p:sp>
          <p:nvSpPr>
            <p:cNvPr id="99" name="Freeform 188">
              <a:extLst>
                <a:ext uri="{FF2B5EF4-FFF2-40B4-BE49-F238E27FC236}">
                  <a16:creationId xmlns:a16="http://schemas.microsoft.com/office/drawing/2014/main" id="{B9F4FF3D-28B5-4821-A457-87C9AD86C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53827" y="884553"/>
              <a:ext cx="4872838" cy="1858674"/>
            </a:xfrm>
            <a:custGeom>
              <a:avLst/>
              <a:gdLst>
                <a:gd name="T0" fmla="*/ 2037 w 2192"/>
                <a:gd name="T1" fmla="*/ 906 h 1171"/>
                <a:gd name="T2" fmla="*/ 1992 w 2192"/>
                <a:gd name="T3" fmla="*/ 732 h 1171"/>
                <a:gd name="T4" fmla="*/ 1662 w 2192"/>
                <a:gd name="T5" fmla="*/ 645 h 1171"/>
                <a:gd name="T6" fmla="*/ 1631 w 2192"/>
                <a:gd name="T7" fmla="*/ 621 h 1171"/>
                <a:gd name="T8" fmla="*/ 1458 w 2192"/>
                <a:gd name="T9" fmla="*/ 595 h 1171"/>
                <a:gd name="T10" fmla="*/ 1278 w 2192"/>
                <a:gd name="T11" fmla="*/ 579 h 1171"/>
                <a:gd name="T12" fmla="*/ 1275 w 2192"/>
                <a:gd name="T13" fmla="*/ 553 h 1171"/>
                <a:gd name="T14" fmla="*/ 1268 w 2192"/>
                <a:gd name="T15" fmla="*/ 538 h 1171"/>
                <a:gd name="T16" fmla="*/ 1221 w 2192"/>
                <a:gd name="T17" fmla="*/ 518 h 1171"/>
                <a:gd name="T18" fmla="*/ 1150 w 2192"/>
                <a:gd name="T19" fmla="*/ 507 h 1171"/>
                <a:gd name="T20" fmla="*/ 1126 w 2192"/>
                <a:gd name="T21" fmla="*/ 491 h 1171"/>
                <a:gd name="T22" fmla="*/ 1096 w 2192"/>
                <a:gd name="T23" fmla="*/ 486 h 1171"/>
                <a:gd name="T24" fmla="*/ 1094 w 2192"/>
                <a:gd name="T25" fmla="*/ 453 h 1171"/>
                <a:gd name="T26" fmla="*/ 1004 w 2192"/>
                <a:gd name="T27" fmla="*/ 440 h 1171"/>
                <a:gd name="T28" fmla="*/ 997 w 2192"/>
                <a:gd name="T29" fmla="*/ 428 h 1171"/>
                <a:gd name="T30" fmla="*/ 952 w 2192"/>
                <a:gd name="T31" fmla="*/ 421 h 1171"/>
                <a:gd name="T32" fmla="*/ 917 w 2192"/>
                <a:gd name="T33" fmla="*/ 411 h 1171"/>
                <a:gd name="T34" fmla="*/ 859 w 2192"/>
                <a:gd name="T35" fmla="*/ 400 h 1171"/>
                <a:gd name="T36" fmla="*/ 853 w 2192"/>
                <a:gd name="T37" fmla="*/ 393 h 1171"/>
                <a:gd name="T38" fmla="*/ 785 w 2192"/>
                <a:gd name="T39" fmla="*/ 389 h 1171"/>
                <a:gd name="T40" fmla="*/ 750 w 2192"/>
                <a:gd name="T41" fmla="*/ 383 h 1171"/>
                <a:gd name="T42" fmla="*/ 731 w 2192"/>
                <a:gd name="T43" fmla="*/ 379 h 1171"/>
                <a:gd name="T44" fmla="*/ 726 w 2192"/>
                <a:gd name="T45" fmla="*/ 357 h 1171"/>
                <a:gd name="T46" fmla="*/ 672 w 2192"/>
                <a:gd name="T47" fmla="*/ 354 h 1171"/>
                <a:gd name="T48" fmla="*/ 671 w 2192"/>
                <a:gd name="T49" fmla="*/ 347 h 1171"/>
                <a:gd name="T50" fmla="*/ 566 w 2192"/>
                <a:gd name="T51" fmla="*/ 344 h 1171"/>
                <a:gd name="T52" fmla="*/ 559 w 2192"/>
                <a:gd name="T53" fmla="*/ 333 h 1171"/>
                <a:gd name="T54" fmla="*/ 546 w 2192"/>
                <a:gd name="T55" fmla="*/ 315 h 1171"/>
                <a:gd name="T56" fmla="*/ 528 w 2192"/>
                <a:gd name="T57" fmla="*/ 268 h 1171"/>
                <a:gd name="T58" fmla="*/ 472 w 2192"/>
                <a:gd name="T59" fmla="*/ 265 h 1171"/>
                <a:gd name="T60" fmla="*/ 457 w 2192"/>
                <a:gd name="T61" fmla="*/ 261 h 1171"/>
                <a:gd name="T62" fmla="*/ 399 w 2192"/>
                <a:gd name="T63" fmla="*/ 258 h 1171"/>
                <a:gd name="T64" fmla="*/ 386 w 2192"/>
                <a:gd name="T65" fmla="*/ 252 h 1171"/>
                <a:gd name="T66" fmla="*/ 374 w 2192"/>
                <a:gd name="T67" fmla="*/ 240 h 1171"/>
                <a:gd name="T68" fmla="*/ 367 w 2192"/>
                <a:gd name="T69" fmla="*/ 229 h 1171"/>
                <a:gd name="T70" fmla="*/ 364 w 2192"/>
                <a:gd name="T71" fmla="*/ 160 h 1171"/>
                <a:gd name="T72" fmla="*/ 355 w 2192"/>
                <a:gd name="T73" fmla="*/ 155 h 1171"/>
                <a:gd name="T74" fmla="*/ 278 w 2192"/>
                <a:gd name="T75" fmla="*/ 143 h 1171"/>
                <a:gd name="T76" fmla="*/ 252 w 2192"/>
                <a:gd name="T77" fmla="*/ 140 h 1171"/>
                <a:gd name="T78" fmla="*/ 246 w 2192"/>
                <a:gd name="T79" fmla="*/ 137 h 1171"/>
                <a:gd name="T80" fmla="*/ 207 w 2192"/>
                <a:gd name="T81" fmla="*/ 136 h 1171"/>
                <a:gd name="T82" fmla="*/ 198 w 2192"/>
                <a:gd name="T83" fmla="*/ 130 h 1171"/>
                <a:gd name="T84" fmla="*/ 188 w 2192"/>
                <a:gd name="T85" fmla="*/ 115 h 1171"/>
                <a:gd name="T86" fmla="*/ 185 w 2192"/>
                <a:gd name="T87" fmla="*/ 102 h 1171"/>
                <a:gd name="T88" fmla="*/ 179 w 2192"/>
                <a:gd name="T89" fmla="*/ 6 h 1171"/>
                <a:gd name="T90" fmla="*/ 173 w 2192"/>
                <a:gd name="T91" fmla="*/ 0 h 1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92" h="1171">
                  <a:moveTo>
                    <a:pt x="2192" y="1171"/>
                  </a:moveTo>
                  <a:lnTo>
                    <a:pt x="2037" y="1171"/>
                  </a:lnTo>
                  <a:lnTo>
                    <a:pt x="2037" y="906"/>
                  </a:lnTo>
                  <a:lnTo>
                    <a:pt x="2017" y="906"/>
                  </a:lnTo>
                  <a:lnTo>
                    <a:pt x="2017" y="732"/>
                  </a:lnTo>
                  <a:lnTo>
                    <a:pt x="1992" y="732"/>
                  </a:lnTo>
                  <a:lnTo>
                    <a:pt x="1992" y="668"/>
                  </a:lnTo>
                  <a:lnTo>
                    <a:pt x="1662" y="668"/>
                  </a:lnTo>
                  <a:lnTo>
                    <a:pt x="1662" y="645"/>
                  </a:lnTo>
                  <a:lnTo>
                    <a:pt x="1643" y="645"/>
                  </a:lnTo>
                  <a:lnTo>
                    <a:pt x="1643" y="621"/>
                  </a:lnTo>
                  <a:lnTo>
                    <a:pt x="1631" y="621"/>
                  </a:lnTo>
                  <a:lnTo>
                    <a:pt x="1631" y="607"/>
                  </a:lnTo>
                  <a:lnTo>
                    <a:pt x="1458" y="607"/>
                  </a:lnTo>
                  <a:lnTo>
                    <a:pt x="1458" y="595"/>
                  </a:lnTo>
                  <a:lnTo>
                    <a:pt x="1324" y="595"/>
                  </a:lnTo>
                  <a:lnTo>
                    <a:pt x="1324" y="579"/>
                  </a:lnTo>
                  <a:lnTo>
                    <a:pt x="1278" y="579"/>
                  </a:lnTo>
                  <a:lnTo>
                    <a:pt x="1278" y="568"/>
                  </a:lnTo>
                  <a:lnTo>
                    <a:pt x="1275" y="568"/>
                  </a:lnTo>
                  <a:lnTo>
                    <a:pt x="1275" y="553"/>
                  </a:lnTo>
                  <a:lnTo>
                    <a:pt x="1271" y="553"/>
                  </a:lnTo>
                  <a:lnTo>
                    <a:pt x="1271" y="538"/>
                  </a:lnTo>
                  <a:lnTo>
                    <a:pt x="1268" y="538"/>
                  </a:lnTo>
                  <a:lnTo>
                    <a:pt x="1268" y="530"/>
                  </a:lnTo>
                  <a:lnTo>
                    <a:pt x="1221" y="530"/>
                  </a:lnTo>
                  <a:lnTo>
                    <a:pt x="1221" y="518"/>
                  </a:lnTo>
                  <a:lnTo>
                    <a:pt x="1192" y="518"/>
                  </a:lnTo>
                  <a:lnTo>
                    <a:pt x="1192" y="507"/>
                  </a:lnTo>
                  <a:lnTo>
                    <a:pt x="1150" y="507"/>
                  </a:lnTo>
                  <a:lnTo>
                    <a:pt x="1150" y="502"/>
                  </a:lnTo>
                  <a:lnTo>
                    <a:pt x="1126" y="502"/>
                  </a:lnTo>
                  <a:lnTo>
                    <a:pt x="1126" y="491"/>
                  </a:lnTo>
                  <a:lnTo>
                    <a:pt x="1102" y="491"/>
                  </a:lnTo>
                  <a:lnTo>
                    <a:pt x="1102" y="486"/>
                  </a:lnTo>
                  <a:lnTo>
                    <a:pt x="1096" y="486"/>
                  </a:lnTo>
                  <a:lnTo>
                    <a:pt x="1096" y="477"/>
                  </a:lnTo>
                  <a:lnTo>
                    <a:pt x="1094" y="477"/>
                  </a:lnTo>
                  <a:lnTo>
                    <a:pt x="1094" y="453"/>
                  </a:lnTo>
                  <a:lnTo>
                    <a:pt x="1090" y="453"/>
                  </a:lnTo>
                  <a:lnTo>
                    <a:pt x="1090" y="440"/>
                  </a:lnTo>
                  <a:lnTo>
                    <a:pt x="1004" y="440"/>
                  </a:lnTo>
                  <a:lnTo>
                    <a:pt x="1004" y="435"/>
                  </a:lnTo>
                  <a:lnTo>
                    <a:pt x="997" y="435"/>
                  </a:lnTo>
                  <a:lnTo>
                    <a:pt x="997" y="428"/>
                  </a:lnTo>
                  <a:lnTo>
                    <a:pt x="958" y="428"/>
                  </a:lnTo>
                  <a:lnTo>
                    <a:pt x="958" y="421"/>
                  </a:lnTo>
                  <a:lnTo>
                    <a:pt x="952" y="421"/>
                  </a:lnTo>
                  <a:lnTo>
                    <a:pt x="952" y="416"/>
                  </a:lnTo>
                  <a:lnTo>
                    <a:pt x="917" y="416"/>
                  </a:lnTo>
                  <a:lnTo>
                    <a:pt x="917" y="411"/>
                  </a:lnTo>
                  <a:lnTo>
                    <a:pt x="911" y="411"/>
                  </a:lnTo>
                  <a:lnTo>
                    <a:pt x="911" y="400"/>
                  </a:lnTo>
                  <a:lnTo>
                    <a:pt x="859" y="400"/>
                  </a:lnTo>
                  <a:lnTo>
                    <a:pt x="859" y="396"/>
                  </a:lnTo>
                  <a:lnTo>
                    <a:pt x="853" y="396"/>
                  </a:lnTo>
                  <a:lnTo>
                    <a:pt x="853" y="393"/>
                  </a:lnTo>
                  <a:lnTo>
                    <a:pt x="802" y="393"/>
                  </a:lnTo>
                  <a:lnTo>
                    <a:pt x="802" y="389"/>
                  </a:lnTo>
                  <a:lnTo>
                    <a:pt x="785" y="389"/>
                  </a:lnTo>
                  <a:lnTo>
                    <a:pt x="785" y="387"/>
                  </a:lnTo>
                  <a:lnTo>
                    <a:pt x="750" y="387"/>
                  </a:lnTo>
                  <a:lnTo>
                    <a:pt x="750" y="383"/>
                  </a:lnTo>
                  <a:lnTo>
                    <a:pt x="741" y="383"/>
                  </a:lnTo>
                  <a:lnTo>
                    <a:pt x="741" y="379"/>
                  </a:lnTo>
                  <a:lnTo>
                    <a:pt x="731" y="379"/>
                  </a:lnTo>
                  <a:lnTo>
                    <a:pt x="731" y="368"/>
                  </a:lnTo>
                  <a:lnTo>
                    <a:pt x="726" y="368"/>
                  </a:lnTo>
                  <a:lnTo>
                    <a:pt x="726" y="357"/>
                  </a:lnTo>
                  <a:lnTo>
                    <a:pt x="720" y="357"/>
                  </a:lnTo>
                  <a:lnTo>
                    <a:pt x="720" y="354"/>
                  </a:lnTo>
                  <a:lnTo>
                    <a:pt x="672" y="354"/>
                  </a:lnTo>
                  <a:lnTo>
                    <a:pt x="672" y="351"/>
                  </a:lnTo>
                  <a:lnTo>
                    <a:pt x="671" y="351"/>
                  </a:lnTo>
                  <a:lnTo>
                    <a:pt x="671" y="347"/>
                  </a:lnTo>
                  <a:lnTo>
                    <a:pt x="603" y="347"/>
                  </a:lnTo>
                  <a:lnTo>
                    <a:pt x="603" y="344"/>
                  </a:lnTo>
                  <a:lnTo>
                    <a:pt x="566" y="344"/>
                  </a:lnTo>
                  <a:lnTo>
                    <a:pt x="566" y="336"/>
                  </a:lnTo>
                  <a:lnTo>
                    <a:pt x="559" y="336"/>
                  </a:lnTo>
                  <a:lnTo>
                    <a:pt x="559" y="333"/>
                  </a:lnTo>
                  <a:lnTo>
                    <a:pt x="549" y="333"/>
                  </a:lnTo>
                  <a:lnTo>
                    <a:pt x="549" y="315"/>
                  </a:lnTo>
                  <a:lnTo>
                    <a:pt x="546" y="315"/>
                  </a:lnTo>
                  <a:lnTo>
                    <a:pt x="546" y="271"/>
                  </a:lnTo>
                  <a:lnTo>
                    <a:pt x="528" y="271"/>
                  </a:lnTo>
                  <a:lnTo>
                    <a:pt x="528" y="268"/>
                  </a:lnTo>
                  <a:lnTo>
                    <a:pt x="495" y="268"/>
                  </a:lnTo>
                  <a:lnTo>
                    <a:pt x="495" y="265"/>
                  </a:lnTo>
                  <a:lnTo>
                    <a:pt x="472" y="265"/>
                  </a:lnTo>
                  <a:lnTo>
                    <a:pt x="472" y="264"/>
                  </a:lnTo>
                  <a:lnTo>
                    <a:pt x="457" y="264"/>
                  </a:lnTo>
                  <a:lnTo>
                    <a:pt x="457" y="261"/>
                  </a:lnTo>
                  <a:lnTo>
                    <a:pt x="403" y="261"/>
                  </a:lnTo>
                  <a:lnTo>
                    <a:pt x="403" y="258"/>
                  </a:lnTo>
                  <a:lnTo>
                    <a:pt x="399" y="258"/>
                  </a:lnTo>
                  <a:lnTo>
                    <a:pt x="399" y="255"/>
                  </a:lnTo>
                  <a:lnTo>
                    <a:pt x="386" y="255"/>
                  </a:lnTo>
                  <a:lnTo>
                    <a:pt x="386" y="252"/>
                  </a:lnTo>
                  <a:lnTo>
                    <a:pt x="374" y="252"/>
                  </a:lnTo>
                  <a:lnTo>
                    <a:pt x="374" y="243"/>
                  </a:lnTo>
                  <a:lnTo>
                    <a:pt x="374" y="240"/>
                  </a:lnTo>
                  <a:lnTo>
                    <a:pt x="368" y="240"/>
                  </a:lnTo>
                  <a:lnTo>
                    <a:pt x="368" y="229"/>
                  </a:lnTo>
                  <a:lnTo>
                    <a:pt x="367" y="229"/>
                  </a:lnTo>
                  <a:lnTo>
                    <a:pt x="367" y="211"/>
                  </a:lnTo>
                  <a:lnTo>
                    <a:pt x="364" y="211"/>
                  </a:lnTo>
                  <a:lnTo>
                    <a:pt x="364" y="160"/>
                  </a:lnTo>
                  <a:lnTo>
                    <a:pt x="360" y="160"/>
                  </a:lnTo>
                  <a:lnTo>
                    <a:pt x="360" y="155"/>
                  </a:lnTo>
                  <a:lnTo>
                    <a:pt x="355" y="155"/>
                  </a:lnTo>
                  <a:lnTo>
                    <a:pt x="355" y="144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59" y="143"/>
                  </a:lnTo>
                  <a:lnTo>
                    <a:pt x="259" y="140"/>
                  </a:lnTo>
                  <a:lnTo>
                    <a:pt x="252" y="140"/>
                  </a:lnTo>
                  <a:lnTo>
                    <a:pt x="252" y="140"/>
                  </a:lnTo>
                  <a:lnTo>
                    <a:pt x="246" y="140"/>
                  </a:lnTo>
                  <a:lnTo>
                    <a:pt x="246" y="137"/>
                  </a:lnTo>
                  <a:lnTo>
                    <a:pt x="213" y="137"/>
                  </a:lnTo>
                  <a:lnTo>
                    <a:pt x="213" y="136"/>
                  </a:lnTo>
                  <a:lnTo>
                    <a:pt x="207" y="136"/>
                  </a:lnTo>
                  <a:lnTo>
                    <a:pt x="207" y="134"/>
                  </a:lnTo>
                  <a:lnTo>
                    <a:pt x="198" y="134"/>
                  </a:lnTo>
                  <a:lnTo>
                    <a:pt x="198" y="130"/>
                  </a:lnTo>
                  <a:lnTo>
                    <a:pt x="191" y="130"/>
                  </a:lnTo>
                  <a:lnTo>
                    <a:pt x="191" y="115"/>
                  </a:lnTo>
                  <a:lnTo>
                    <a:pt x="188" y="115"/>
                  </a:lnTo>
                  <a:lnTo>
                    <a:pt x="188" y="108"/>
                  </a:lnTo>
                  <a:lnTo>
                    <a:pt x="185" y="108"/>
                  </a:lnTo>
                  <a:lnTo>
                    <a:pt x="185" y="102"/>
                  </a:lnTo>
                  <a:lnTo>
                    <a:pt x="184" y="102"/>
                  </a:lnTo>
                  <a:lnTo>
                    <a:pt x="184" y="6"/>
                  </a:lnTo>
                  <a:lnTo>
                    <a:pt x="179" y="6"/>
                  </a:lnTo>
                  <a:lnTo>
                    <a:pt x="179" y="2"/>
                  </a:lnTo>
                  <a:lnTo>
                    <a:pt x="173" y="2"/>
                  </a:lnTo>
                  <a:lnTo>
                    <a:pt x="173" y="0"/>
                  </a:lnTo>
                  <a:lnTo>
                    <a:pt x="0" y="0"/>
                  </a:lnTo>
                </a:path>
              </a:pathLst>
            </a:custGeom>
            <a:noFill/>
            <a:ln w="28575" cap="flat">
              <a:solidFill>
                <a:srgbClr val="89D32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21920" tIns="60960" rIns="121920" bIns="60960"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>
                <a:solidFill>
                  <a:srgbClr val="000000"/>
                </a:solidFill>
              </a:endParaRPr>
            </a:p>
          </p:txBody>
        </p:sp>
        <p:sp>
          <p:nvSpPr>
            <p:cNvPr id="100" name="Freeform 5">
              <a:extLst>
                <a:ext uri="{FF2B5EF4-FFF2-40B4-BE49-F238E27FC236}">
                  <a16:creationId xmlns:a16="http://schemas.microsoft.com/office/drawing/2014/main" id="{0AE90264-9547-458D-8917-6EE26005C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803106" y="876910"/>
              <a:ext cx="5492863" cy="2317744"/>
            </a:xfrm>
            <a:custGeom>
              <a:avLst/>
              <a:gdLst>
                <a:gd name="T0" fmla="*/ 0 w 2471"/>
                <a:gd name="T1" fmla="*/ 0 h 1460"/>
                <a:gd name="T2" fmla="*/ 0 w 2471"/>
                <a:gd name="T3" fmla="*/ 2317744 h 1460"/>
                <a:gd name="T4" fmla="*/ 5492863 w 2471"/>
                <a:gd name="T5" fmla="*/ 2317744 h 146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471" h="1460">
                  <a:moveTo>
                    <a:pt x="0" y="0"/>
                  </a:moveTo>
                  <a:lnTo>
                    <a:pt x="0" y="1460"/>
                  </a:lnTo>
                  <a:lnTo>
                    <a:pt x="2471" y="1460"/>
                  </a:lnTo>
                </a:path>
              </a:pathLst>
            </a:cu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900" kern="0">
                <a:solidFill>
                  <a:srgbClr val="000000"/>
                </a:solidFill>
              </a:endParaRPr>
            </a:p>
          </p:txBody>
        </p:sp>
        <p:grpSp>
          <p:nvGrpSpPr>
            <p:cNvPr id="101" name="Group 31">
              <a:extLst>
                <a:ext uri="{FF2B5EF4-FFF2-40B4-BE49-F238E27FC236}">
                  <a16:creationId xmlns:a16="http://schemas.microsoft.com/office/drawing/2014/main" id="{734043CA-795B-4864-83C6-8DBAEB9E3A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11860902" y="881673"/>
              <a:ext cx="57797" cy="2268530"/>
              <a:chOff x="2613025" y="1063404"/>
              <a:chExt cx="41275" cy="2252884"/>
            </a:xfrm>
          </p:grpSpPr>
          <p:sp>
            <p:nvSpPr>
              <p:cNvPr id="163" name="Line 6">
                <a:extLst>
                  <a:ext uri="{FF2B5EF4-FFF2-40B4-BE49-F238E27FC236}">
                    <a16:creationId xmlns:a16="http://schemas.microsoft.com/office/drawing/2014/main" id="{E7D66496-C14D-48DE-8316-463C184A50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063404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Line 7">
                <a:extLst>
                  <a:ext uri="{FF2B5EF4-FFF2-40B4-BE49-F238E27FC236}">
                    <a16:creationId xmlns:a16="http://schemas.microsoft.com/office/drawing/2014/main" id="{9BDF9A98-AAC3-44FB-BD84-E63C0CFE24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295419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Line 8">
                <a:extLst>
                  <a:ext uri="{FF2B5EF4-FFF2-40B4-BE49-F238E27FC236}">
                    <a16:creationId xmlns:a16="http://schemas.microsoft.com/office/drawing/2014/main" id="{C00F6004-042A-45F9-825D-A999163AF0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524212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Line 9">
                <a:extLst>
                  <a:ext uri="{FF2B5EF4-FFF2-40B4-BE49-F238E27FC236}">
                    <a16:creationId xmlns:a16="http://schemas.microsoft.com/office/drawing/2014/main" id="{6F114805-4220-4317-9CF8-BD25312E96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754615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Line 10">
                <a:extLst>
                  <a:ext uri="{FF2B5EF4-FFF2-40B4-BE49-F238E27FC236}">
                    <a16:creationId xmlns:a16="http://schemas.microsoft.com/office/drawing/2014/main" id="{CC52D7D5-C2CA-4777-AF54-9A239EEC79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983408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Line 11">
                <a:extLst>
                  <a:ext uri="{FF2B5EF4-FFF2-40B4-BE49-F238E27FC236}">
                    <a16:creationId xmlns:a16="http://schemas.microsoft.com/office/drawing/2014/main" id="{38EF457D-53E5-47AD-95B5-AB2C9977F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2215423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Line 12">
                <a:extLst>
                  <a:ext uri="{FF2B5EF4-FFF2-40B4-BE49-F238E27FC236}">
                    <a16:creationId xmlns:a16="http://schemas.microsoft.com/office/drawing/2014/main" id="{8464B28C-4BAE-4710-927E-98030FDE02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2444216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0" name="Line 13">
                <a:extLst>
                  <a:ext uri="{FF2B5EF4-FFF2-40B4-BE49-F238E27FC236}">
                    <a16:creationId xmlns:a16="http://schemas.microsoft.com/office/drawing/2014/main" id="{2D180DA2-63E8-4031-B465-EFC2D62B8C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2674621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1" name="Line 14">
                <a:extLst>
                  <a:ext uri="{FF2B5EF4-FFF2-40B4-BE49-F238E27FC236}">
                    <a16:creationId xmlns:a16="http://schemas.microsoft.com/office/drawing/2014/main" id="{D7211284-DE60-4F3D-95B7-4ACF993686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2906636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2" name="Line 15">
                <a:extLst>
                  <a:ext uri="{FF2B5EF4-FFF2-40B4-BE49-F238E27FC236}">
                    <a16:creationId xmlns:a16="http://schemas.microsoft.com/office/drawing/2014/main" id="{86F9A3FD-ECDE-461B-A8EB-76E8F6229B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3135429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3" name="Line 16">
                <a:extLst>
                  <a:ext uri="{FF2B5EF4-FFF2-40B4-BE49-F238E27FC236}">
                    <a16:creationId xmlns:a16="http://schemas.microsoft.com/office/drawing/2014/main" id="{65BC8D63-B47F-45D0-BFC8-AA84B942E1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3316288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2" name="Group 32">
              <a:extLst>
                <a:ext uri="{FF2B5EF4-FFF2-40B4-BE49-F238E27FC236}">
                  <a16:creationId xmlns:a16="http://schemas.microsoft.com/office/drawing/2014/main" id="{19631479-6B0E-4C08-8809-2450E6D7292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11660839" y="3196241"/>
              <a:ext cx="5206105" cy="39688"/>
              <a:chOff x="2773574" y="3362326"/>
              <a:chExt cx="3700251" cy="39688"/>
            </a:xfrm>
          </p:grpSpPr>
          <p:sp>
            <p:nvSpPr>
              <p:cNvPr id="150" name="Line 17">
                <a:extLst>
                  <a:ext uri="{FF2B5EF4-FFF2-40B4-BE49-F238E27FC236}">
                    <a16:creationId xmlns:a16="http://schemas.microsoft.com/office/drawing/2014/main" id="{33F6B319-6735-45EF-9197-A13959A13A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773574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" name="Line 18">
                <a:extLst>
                  <a:ext uri="{FF2B5EF4-FFF2-40B4-BE49-F238E27FC236}">
                    <a16:creationId xmlns:a16="http://schemas.microsoft.com/office/drawing/2014/main" id="{178374AE-4873-48B8-9D6A-07BEAE1381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085122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" name="Line 19">
                <a:extLst>
                  <a:ext uri="{FF2B5EF4-FFF2-40B4-BE49-F238E27FC236}">
                    <a16:creationId xmlns:a16="http://schemas.microsoft.com/office/drawing/2014/main" id="{B2075294-2546-42FE-8563-11D01A4F10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96670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" name="Line 20">
                <a:extLst>
                  <a:ext uri="{FF2B5EF4-FFF2-40B4-BE49-F238E27FC236}">
                    <a16:creationId xmlns:a16="http://schemas.microsoft.com/office/drawing/2014/main" id="{BA7AE6A8-3F0E-4AF7-AEC5-0E9374CEBC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708218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" name="Line 21">
                <a:extLst>
                  <a:ext uri="{FF2B5EF4-FFF2-40B4-BE49-F238E27FC236}">
                    <a16:creationId xmlns:a16="http://schemas.microsoft.com/office/drawing/2014/main" id="{2FC31D36-09C0-4DAF-ACAD-D3E7A376A0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019765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Line 22">
                <a:extLst>
                  <a:ext uri="{FF2B5EF4-FFF2-40B4-BE49-F238E27FC236}">
                    <a16:creationId xmlns:a16="http://schemas.microsoft.com/office/drawing/2014/main" id="{341CC6D3-9369-455B-9C93-116ACB1CB2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31314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Line 23">
                <a:extLst>
                  <a:ext uri="{FF2B5EF4-FFF2-40B4-BE49-F238E27FC236}">
                    <a16:creationId xmlns:a16="http://schemas.microsoft.com/office/drawing/2014/main" id="{A823E212-A7A0-4F13-8B68-0F9862C1C8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42861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Line 24">
                <a:extLst>
                  <a:ext uri="{FF2B5EF4-FFF2-40B4-BE49-F238E27FC236}">
                    <a16:creationId xmlns:a16="http://schemas.microsoft.com/office/drawing/2014/main" id="{53026651-26D5-426B-A683-AAD3C8390E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957604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Line 25">
                <a:extLst>
                  <a:ext uri="{FF2B5EF4-FFF2-40B4-BE49-F238E27FC236}">
                    <a16:creationId xmlns:a16="http://schemas.microsoft.com/office/drawing/2014/main" id="{1338E8CF-449D-4A48-BD46-6D059BFCB7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69152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" name="Line 26">
                <a:extLst>
                  <a:ext uri="{FF2B5EF4-FFF2-40B4-BE49-F238E27FC236}">
                    <a16:creationId xmlns:a16="http://schemas.microsoft.com/office/drawing/2014/main" id="{687D9529-7591-463A-8A7C-92848052E1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580700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Line 27">
                <a:extLst>
                  <a:ext uri="{FF2B5EF4-FFF2-40B4-BE49-F238E27FC236}">
                    <a16:creationId xmlns:a16="http://schemas.microsoft.com/office/drawing/2014/main" id="{3CDC4B19-54C0-43D3-AF32-79ED3A9BD1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892247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Line 28">
                <a:extLst>
                  <a:ext uri="{FF2B5EF4-FFF2-40B4-BE49-F238E27FC236}">
                    <a16:creationId xmlns:a16="http://schemas.microsoft.com/office/drawing/2014/main" id="{B58A9866-FBC4-4ACA-A633-B147C30AEC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03796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Line 29">
                <a:extLst>
                  <a:ext uri="{FF2B5EF4-FFF2-40B4-BE49-F238E27FC236}">
                    <a16:creationId xmlns:a16="http://schemas.microsoft.com/office/drawing/2014/main" id="{A8B3FDB1-5357-4D34-A1CC-9F0A06F35B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473825" y="3362326"/>
                <a:ext cx="0" cy="39688"/>
              </a:xfrm>
              <a:prstGeom prst="line">
                <a:avLst/>
              </a:prstGeom>
              <a:noFill/>
              <a:ln w="14288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CAE668A4-3A2E-4741-9427-6DA20FCB3E81}"/>
                </a:ext>
              </a:extLst>
            </p:cNvPr>
            <p:cNvSpPr txBox="1"/>
            <p:nvPr/>
          </p:nvSpPr>
          <p:spPr>
            <a:xfrm>
              <a:off x="-12269645" y="818172"/>
              <a:ext cx="298361" cy="108865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</a:rPr>
                <a:t>1.0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4EBE25B7-5318-46A9-8814-55BB80606868}"/>
                </a:ext>
              </a:extLst>
            </p:cNvPr>
            <p:cNvSpPr txBox="1"/>
            <p:nvPr/>
          </p:nvSpPr>
          <p:spPr>
            <a:xfrm>
              <a:off x="-12269645" y="1045196"/>
              <a:ext cx="298361" cy="108865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</a:rPr>
                <a:t>0.9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EB8AE6C7-0C48-457B-8E54-B83AB80A1DE7}"/>
                </a:ext>
              </a:extLst>
            </p:cNvPr>
            <p:cNvSpPr txBox="1"/>
            <p:nvPr/>
          </p:nvSpPr>
          <p:spPr>
            <a:xfrm>
              <a:off x="-12269645" y="1270892"/>
              <a:ext cx="298361" cy="110192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</a:rPr>
                <a:t>0.8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B0188460-4504-4579-8F0C-6533A5340B88}"/>
                </a:ext>
              </a:extLst>
            </p:cNvPr>
            <p:cNvSpPr txBox="1"/>
            <p:nvPr/>
          </p:nvSpPr>
          <p:spPr>
            <a:xfrm>
              <a:off x="-12269645" y="1497916"/>
              <a:ext cx="298361" cy="108865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</a:rPr>
                <a:t>0.7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ED99F59D-F671-4938-A0CD-513B94D297EF}"/>
                </a:ext>
              </a:extLst>
            </p:cNvPr>
            <p:cNvSpPr txBox="1"/>
            <p:nvPr/>
          </p:nvSpPr>
          <p:spPr>
            <a:xfrm>
              <a:off x="-12269645" y="1724940"/>
              <a:ext cx="298361" cy="108865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</a:rPr>
                <a:t>0.6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DB5A98E-524B-426A-8D7E-8D6E81E8AD0B}"/>
                </a:ext>
              </a:extLst>
            </p:cNvPr>
            <p:cNvSpPr txBox="1"/>
            <p:nvPr/>
          </p:nvSpPr>
          <p:spPr>
            <a:xfrm>
              <a:off x="-12269645" y="1951963"/>
              <a:ext cx="298361" cy="108865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</a:rPr>
                <a:t>0.5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2F4AD4EB-5E94-4045-99DA-FBDBA13F2ED4}"/>
                </a:ext>
              </a:extLst>
            </p:cNvPr>
            <p:cNvSpPr txBox="1"/>
            <p:nvPr/>
          </p:nvSpPr>
          <p:spPr>
            <a:xfrm>
              <a:off x="-12269645" y="2177659"/>
              <a:ext cx="298361" cy="110193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</a:rPr>
                <a:t>0.4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3161B11F-8798-42DB-BC2B-8ED39B5B1E4E}"/>
                </a:ext>
              </a:extLst>
            </p:cNvPr>
            <p:cNvSpPr txBox="1"/>
            <p:nvPr/>
          </p:nvSpPr>
          <p:spPr>
            <a:xfrm>
              <a:off x="-12269645" y="2404684"/>
              <a:ext cx="298361" cy="108865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</a:rPr>
                <a:t>0.3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3352B42B-3F8E-4D70-9A7D-94D4541FA6BA}"/>
                </a:ext>
              </a:extLst>
            </p:cNvPr>
            <p:cNvSpPr txBox="1"/>
            <p:nvPr/>
          </p:nvSpPr>
          <p:spPr>
            <a:xfrm>
              <a:off x="-12269645" y="2631707"/>
              <a:ext cx="298361" cy="108865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</a:rPr>
                <a:t>0.2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F98375E-3443-4B6A-B85E-8F0F7A38A388}"/>
                </a:ext>
              </a:extLst>
            </p:cNvPr>
            <p:cNvSpPr txBox="1"/>
            <p:nvPr/>
          </p:nvSpPr>
          <p:spPr>
            <a:xfrm>
              <a:off x="-12269645" y="2858731"/>
              <a:ext cx="298361" cy="108865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</a:rPr>
                <a:t>0.1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5B0B421-CBA1-4669-8F2F-4ADA5C07C01E}"/>
                </a:ext>
              </a:extLst>
            </p:cNvPr>
            <p:cNvSpPr txBox="1"/>
            <p:nvPr/>
          </p:nvSpPr>
          <p:spPr>
            <a:xfrm>
              <a:off x="-12269645" y="3084427"/>
              <a:ext cx="298361" cy="108865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</a:rPr>
                <a:t>0.0</a:t>
              </a:r>
            </a:p>
          </p:txBody>
        </p:sp>
        <p:grpSp>
          <p:nvGrpSpPr>
            <p:cNvPr id="114" name="Group 44">
              <a:extLst>
                <a:ext uri="{FF2B5EF4-FFF2-40B4-BE49-F238E27FC236}">
                  <a16:creationId xmlns:a16="http://schemas.microsoft.com/office/drawing/2014/main" id="{90A8D624-9B28-4B9E-A995-FC0D612527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12329941" y="3621814"/>
              <a:ext cx="5993477" cy="271840"/>
              <a:chOff x="2278062" y="3705672"/>
              <a:chExt cx="4280225" cy="271845"/>
            </a:xfrm>
          </p:grpSpPr>
          <p:sp>
            <p:nvSpPr>
              <p:cNvPr id="133" name="Line 30">
                <a:extLst>
                  <a:ext uri="{FF2B5EF4-FFF2-40B4-BE49-F238E27FC236}">
                    <a16:creationId xmlns:a16="http://schemas.microsoft.com/office/drawing/2014/main" id="{CB1F5237-C50A-4467-BB65-AA02096C21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32075" y="3705672"/>
                <a:ext cx="3922713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Line 31">
                <a:extLst>
                  <a:ext uri="{FF2B5EF4-FFF2-40B4-BE49-F238E27FC236}">
                    <a16:creationId xmlns:a16="http://schemas.microsoft.com/office/drawing/2014/main" id="{DE071963-4F99-4E75-92B5-3D5B620A6C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32075" y="3977517"/>
                <a:ext cx="3922713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900" kern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5" name="Group 65">
                <a:extLst>
                  <a:ext uri="{FF2B5EF4-FFF2-40B4-BE49-F238E27FC236}">
                    <a16:creationId xmlns:a16="http://schemas.microsoft.com/office/drawing/2014/main" id="{FF5F5EFC-9F72-4EB7-9A02-9D59C6BEED4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278062" y="3717593"/>
                <a:ext cx="4280225" cy="109082"/>
                <a:chOff x="2278062" y="3417555"/>
                <a:chExt cx="4280225" cy="109082"/>
              </a:xfrm>
            </p:grpSpPr>
            <p:sp>
              <p:nvSpPr>
                <p:cNvPr id="136" name="TextBox 135">
                  <a:extLst>
                    <a:ext uri="{FF2B5EF4-FFF2-40B4-BE49-F238E27FC236}">
                      <a16:creationId xmlns:a16="http://schemas.microsoft.com/office/drawing/2014/main" id="{4E177A4B-B1A0-447D-A4B4-D87E3A056350}"/>
                    </a:ext>
                  </a:extLst>
                </p:cNvPr>
                <p:cNvSpPr txBox="1"/>
                <p:nvPr/>
              </p:nvSpPr>
              <p:spPr>
                <a:xfrm>
                  <a:off x="2625392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955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554</a:t>
                  </a:r>
                </a:p>
              </p:txBody>
            </p:sp>
            <p:sp>
              <p:nvSpPr>
                <p:cNvPr id="137" name="TextBox 136">
                  <a:extLst>
                    <a:ext uri="{FF2B5EF4-FFF2-40B4-BE49-F238E27FC236}">
                      <a16:creationId xmlns:a16="http://schemas.microsoft.com/office/drawing/2014/main" id="{662A3090-8AB0-4AAF-994A-C48104E78166}"/>
                    </a:ext>
                  </a:extLst>
                </p:cNvPr>
                <p:cNvSpPr txBox="1"/>
                <p:nvPr/>
              </p:nvSpPr>
              <p:spPr>
                <a:xfrm>
                  <a:off x="2935628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749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387</a:t>
                  </a:r>
                </a:p>
              </p:txBody>
            </p:sp>
            <p:sp>
              <p:nvSpPr>
                <p:cNvPr id="138" name="TextBox 137">
                  <a:extLst>
                    <a:ext uri="{FF2B5EF4-FFF2-40B4-BE49-F238E27FC236}">
                      <a16:creationId xmlns:a16="http://schemas.microsoft.com/office/drawing/2014/main" id="{0ED176C5-A56F-429C-94F1-20A07B172F4D}"/>
                    </a:ext>
                  </a:extLst>
                </p:cNvPr>
                <p:cNvSpPr txBox="1"/>
                <p:nvPr/>
              </p:nvSpPr>
              <p:spPr>
                <a:xfrm>
                  <a:off x="3245011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585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285</a:t>
                  </a:r>
                </a:p>
              </p:txBody>
            </p:sp>
            <p:sp>
              <p:nvSpPr>
                <p:cNvPr id="139" name="TextBox 138">
                  <a:extLst>
                    <a:ext uri="{FF2B5EF4-FFF2-40B4-BE49-F238E27FC236}">
                      <a16:creationId xmlns:a16="http://schemas.microsoft.com/office/drawing/2014/main" id="{B723DD35-E7DE-416E-B27C-07BA6B3A8A5F}"/>
                    </a:ext>
                  </a:extLst>
                </p:cNvPr>
                <p:cNvSpPr txBox="1"/>
                <p:nvPr/>
              </p:nvSpPr>
              <p:spPr>
                <a:xfrm>
                  <a:off x="3555247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444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198</a:t>
                  </a:r>
                </a:p>
              </p:txBody>
            </p:sp>
            <p:sp>
              <p:nvSpPr>
                <p:cNvPr id="140" name="TextBox 139">
                  <a:extLst>
                    <a:ext uri="{FF2B5EF4-FFF2-40B4-BE49-F238E27FC236}">
                      <a16:creationId xmlns:a16="http://schemas.microsoft.com/office/drawing/2014/main" id="{9A13CA35-640C-40CA-A01D-434BC3916E6C}"/>
                    </a:ext>
                  </a:extLst>
                </p:cNvPr>
                <p:cNvSpPr txBox="1"/>
                <p:nvPr/>
              </p:nvSpPr>
              <p:spPr>
                <a:xfrm>
                  <a:off x="3865482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337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125</a:t>
                  </a:r>
                </a:p>
              </p:txBody>
            </p:sp>
            <p:sp>
              <p:nvSpPr>
                <p:cNvPr id="141" name="TextBox 140">
                  <a:extLst>
                    <a:ext uri="{FF2B5EF4-FFF2-40B4-BE49-F238E27FC236}">
                      <a16:creationId xmlns:a16="http://schemas.microsoft.com/office/drawing/2014/main" id="{6DF4A465-A595-4709-BDFB-2F42BDE321BC}"/>
                    </a:ext>
                  </a:extLst>
                </p:cNvPr>
                <p:cNvSpPr txBox="1"/>
                <p:nvPr/>
              </p:nvSpPr>
              <p:spPr>
                <a:xfrm>
                  <a:off x="4174866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238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83</a:t>
                  </a:r>
                </a:p>
              </p:txBody>
            </p:sp>
            <p:sp>
              <p:nvSpPr>
                <p:cNvPr id="142" name="TextBox 141">
                  <a:extLst>
                    <a:ext uri="{FF2B5EF4-FFF2-40B4-BE49-F238E27FC236}">
                      <a16:creationId xmlns:a16="http://schemas.microsoft.com/office/drawing/2014/main" id="{B5D4A15E-F112-4A9E-87C8-9DBC7956D917}"/>
                    </a:ext>
                  </a:extLst>
                </p:cNvPr>
                <p:cNvSpPr txBox="1"/>
                <p:nvPr/>
              </p:nvSpPr>
              <p:spPr>
                <a:xfrm>
                  <a:off x="4485102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170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54</a:t>
                  </a:r>
                </a:p>
              </p:txBody>
            </p:sp>
            <p:sp>
              <p:nvSpPr>
                <p:cNvPr id="143" name="TextBox 142">
                  <a:extLst>
                    <a:ext uri="{FF2B5EF4-FFF2-40B4-BE49-F238E27FC236}">
                      <a16:creationId xmlns:a16="http://schemas.microsoft.com/office/drawing/2014/main" id="{CABA6EAA-1F64-43DE-8659-649AC4AB5858}"/>
                    </a:ext>
                  </a:extLst>
                </p:cNvPr>
                <p:cNvSpPr txBox="1"/>
                <p:nvPr/>
              </p:nvSpPr>
              <p:spPr>
                <a:xfrm>
                  <a:off x="4795337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99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30</a:t>
                  </a:r>
                </a:p>
              </p:txBody>
            </p:sp>
            <p:sp>
              <p:nvSpPr>
                <p:cNvPr id="144" name="TextBox 143">
                  <a:extLst>
                    <a:ext uri="{FF2B5EF4-FFF2-40B4-BE49-F238E27FC236}">
                      <a16:creationId xmlns:a16="http://schemas.microsoft.com/office/drawing/2014/main" id="{3A201544-944E-4007-874D-5795011FA203}"/>
                    </a:ext>
                  </a:extLst>
                </p:cNvPr>
                <p:cNvSpPr txBox="1"/>
                <p:nvPr/>
              </p:nvSpPr>
              <p:spPr>
                <a:xfrm>
                  <a:off x="5104720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59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14</a:t>
                  </a:r>
                </a:p>
              </p:txBody>
            </p:sp>
            <p:sp>
              <p:nvSpPr>
                <p:cNvPr id="145" name="TextBox 144">
                  <a:extLst>
                    <a:ext uri="{FF2B5EF4-FFF2-40B4-BE49-F238E27FC236}">
                      <a16:creationId xmlns:a16="http://schemas.microsoft.com/office/drawing/2014/main" id="{1478369D-018E-4E44-877D-6593F6E62500}"/>
                    </a:ext>
                  </a:extLst>
                </p:cNvPr>
                <p:cNvSpPr txBox="1"/>
                <p:nvPr/>
              </p:nvSpPr>
              <p:spPr>
                <a:xfrm>
                  <a:off x="5414956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29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6</a:t>
                  </a:r>
                </a:p>
              </p:txBody>
            </p:sp>
            <p:sp>
              <p:nvSpPr>
                <p:cNvPr id="146" name="TextBox 145">
                  <a:extLst>
                    <a:ext uri="{FF2B5EF4-FFF2-40B4-BE49-F238E27FC236}">
                      <a16:creationId xmlns:a16="http://schemas.microsoft.com/office/drawing/2014/main" id="{A4958819-60C5-422D-B498-EF3CF7ECC093}"/>
                    </a:ext>
                  </a:extLst>
                </p:cNvPr>
                <p:cNvSpPr txBox="1"/>
                <p:nvPr/>
              </p:nvSpPr>
              <p:spPr>
                <a:xfrm>
                  <a:off x="5725192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14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1</a:t>
                  </a:r>
                </a:p>
              </p:txBody>
            </p:sp>
            <p:sp>
              <p:nvSpPr>
                <p:cNvPr id="147" name="TextBox 146">
                  <a:extLst>
                    <a:ext uri="{FF2B5EF4-FFF2-40B4-BE49-F238E27FC236}">
                      <a16:creationId xmlns:a16="http://schemas.microsoft.com/office/drawing/2014/main" id="{C46FBAC2-A2D2-4D5F-AEDA-EA08E140D8ED}"/>
                    </a:ext>
                  </a:extLst>
                </p:cNvPr>
                <p:cNvSpPr txBox="1"/>
                <p:nvPr/>
              </p:nvSpPr>
              <p:spPr>
                <a:xfrm>
                  <a:off x="6034575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1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0</a:t>
                  </a:r>
                </a:p>
              </p:txBody>
            </p:sp>
            <p:sp>
              <p:nvSpPr>
                <p:cNvPr id="148" name="TextBox 147">
                  <a:extLst>
                    <a:ext uri="{FF2B5EF4-FFF2-40B4-BE49-F238E27FC236}">
                      <a16:creationId xmlns:a16="http://schemas.microsoft.com/office/drawing/2014/main" id="{572A3230-3459-4E22-9A98-2726A78B57D5}"/>
                    </a:ext>
                  </a:extLst>
                </p:cNvPr>
                <p:cNvSpPr txBox="1"/>
                <p:nvPr/>
              </p:nvSpPr>
              <p:spPr>
                <a:xfrm>
                  <a:off x="6344811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0</a:t>
                  </a:r>
                </a:p>
                <a:p>
                  <a:pPr algn="ct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0</a:t>
                  </a:r>
                </a:p>
              </p:txBody>
            </p:sp>
            <p:sp>
              <p:nvSpPr>
                <p:cNvPr id="149" name="TextBox 148">
                  <a:extLst>
                    <a:ext uri="{FF2B5EF4-FFF2-40B4-BE49-F238E27FC236}">
                      <a16:creationId xmlns:a16="http://schemas.microsoft.com/office/drawing/2014/main" id="{08F66807-2652-41DB-A4E2-F1980FB9BD59}"/>
                    </a:ext>
                  </a:extLst>
                </p:cNvPr>
                <p:cNvSpPr txBox="1"/>
                <p:nvPr/>
              </p:nvSpPr>
              <p:spPr>
                <a:xfrm>
                  <a:off x="2277656" y="3417864"/>
                  <a:ext cx="213074" cy="1088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/>
                <a:lstStyle/>
                <a:p>
                  <a:pPr algn="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Darolutamide</a:t>
                  </a:r>
                </a:p>
                <a:p>
                  <a:pPr algn="r" defTabSz="121917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GB" sz="700" kern="0">
                      <a:solidFill>
                        <a:srgbClr val="000000"/>
                      </a:solidFill>
                    </a:rPr>
                    <a:t>Placebo</a:t>
                  </a:r>
                </a:p>
              </p:txBody>
            </p:sp>
          </p:grpSp>
        </p:grp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96730C92-D8D5-4C63-A79F-6DF9EAA85DCA}"/>
                </a:ext>
              </a:extLst>
            </p:cNvPr>
            <p:cNvSpPr txBox="1"/>
            <p:nvPr/>
          </p:nvSpPr>
          <p:spPr>
            <a:xfrm rot="16200000">
              <a:off x="-13664805" y="1967909"/>
              <a:ext cx="2359188" cy="152761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00" b="1" kern="0">
                  <a:solidFill>
                    <a:srgbClr val="000000"/>
                  </a:solidFill>
                </a:rPr>
                <a:t>Time to pain progression probability</a:t>
              </a:r>
            </a:p>
          </p:txBody>
        </p:sp>
        <p:grpSp>
          <p:nvGrpSpPr>
            <p:cNvPr id="116" name="Group 46">
              <a:extLst>
                <a:ext uri="{FF2B5EF4-FFF2-40B4-BE49-F238E27FC236}">
                  <a16:creationId xmlns:a16="http://schemas.microsoft.com/office/drawing/2014/main" id="{34D58D43-1D59-42C7-BD3A-0EA3F255B12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11803104" y="3284808"/>
              <a:ext cx="5506654" cy="261481"/>
              <a:chOff x="2625725" y="3417565"/>
              <a:chExt cx="3932562" cy="261472"/>
            </a:xfrm>
          </p:grpSpPr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5113A56E-BBB7-48FF-8670-A6DCD4AC5223}"/>
                  </a:ext>
                </a:extLst>
              </p:cNvPr>
              <p:cNvSpPr txBox="1"/>
              <p:nvPr/>
            </p:nvSpPr>
            <p:spPr>
              <a:xfrm>
                <a:off x="2625794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FB34E4E3-44E3-46B4-9963-207F39A4AAF9}"/>
                  </a:ext>
                </a:extLst>
              </p:cNvPr>
              <p:cNvSpPr txBox="1"/>
              <p:nvPr/>
            </p:nvSpPr>
            <p:spPr>
              <a:xfrm>
                <a:off x="2936029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4</a:t>
                </a:r>
              </a:p>
            </p:txBody>
          </p:sp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7C252300-46DB-4D3C-B8E0-D6ABAA473550}"/>
                  </a:ext>
                </a:extLst>
              </p:cNvPr>
              <p:cNvSpPr txBox="1"/>
              <p:nvPr/>
            </p:nvSpPr>
            <p:spPr>
              <a:xfrm>
                <a:off x="3245413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8</a:t>
                </a: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EA3EFA4F-4970-40F4-8F4D-4E2974DD5C05}"/>
                  </a:ext>
                </a:extLst>
              </p:cNvPr>
              <p:cNvSpPr txBox="1"/>
              <p:nvPr/>
            </p:nvSpPr>
            <p:spPr>
              <a:xfrm>
                <a:off x="3555648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12</a:t>
                </a:r>
              </a:p>
            </p:txBody>
          </p: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43939A86-4DC2-4EB6-AD20-781FBF8EA7A4}"/>
                  </a:ext>
                </a:extLst>
              </p:cNvPr>
              <p:cNvSpPr txBox="1"/>
              <p:nvPr/>
            </p:nvSpPr>
            <p:spPr>
              <a:xfrm>
                <a:off x="3865884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16</a:t>
                </a:r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C5F49825-378B-4ACF-821D-462ABECEA616}"/>
                  </a:ext>
                </a:extLst>
              </p:cNvPr>
              <p:cNvSpPr txBox="1"/>
              <p:nvPr/>
            </p:nvSpPr>
            <p:spPr>
              <a:xfrm>
                <a:off x="4175268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20</a:t>
                </a:r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24426CF2-4F7F-4467-BA03-951193408F6C}"/>
                  </a:ext>
                </a:extLst>
              </p:cNvPr>
              <p:cNvSpPr txBox="1"/>
              <p:nvPr/>
            </p:nvSpPr>
            <p:spPr>
              <a:xfrm>
                <a:off x="4485503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24</a:t>
                </a: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56B81F98-9545-42D9-AD37-FB97EF9DCB41}"/>
                  </a:ext>
                </a:extLst>
              </p:cNvPr>
              <p:cNvSpPr txBox="1"/>
              <p:nvPr/>
            </p:nvSpPr>
            <p:spPr>
              <a:xfrm>
                <a:off x="4795739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28</a:t>
                </a:r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8179C4ED-1BA2-48DB-A7A5-8951A1CE5E19}"/>
                  </a:ext>
                </a:extLst>
              </p:cNvPr>
              <p:cNvSpPr txBox="1"/>
              <p:nvPr/>
            </p:nvSpPr>
            <p:spPr>
              <a:xfrm>
                <a:off x="5105122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32</a:t>
                </a: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AB932340-6F70-4438-A56E-B7C2F6FE2974}"/>
                  </a:ext>
                </a:extLst>
              </p:cNvPr>
              <p:cNvSpPr txBox="1"/>
              <p:nvPr/>
            </p:nvSpPr>
            <p:spPr>
              <a:xfrm>
                <a:off x="5415358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36</a:t>
                </a:r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2CD31824-6158-4AAE-AF62-067F94BFDE0A}"/>
                  </a:ext>
                </a:extLst>
              </p:cNvPr>
              <p:cNvSpPr txBox="1"/>
              <p:nvPr/>
            </p:nvSpPr>
            <p:spPr>
              <a:xfrm>
                <a:off x="5725594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40</a:t>
                </a: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ED74FB7B-9B9B-4720-B9BA-29B10F57BDCE}"/>
                  </a:ext>
                </a:extLst>
              </p:cNvPr>
              <p:cNvSpPr txBox="1"/>
              <p:nvPr/>
            </p:nvSpPr>
            <p:spPr>
              <a:xfrm>
                <a:off x="6034977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44</a:t>
                </a: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CE31A8F5-F042-4C50-BCD0-644B30ED9597}"/>
                  </a:ext>
                </a:extLst>
              </p:cNvPr>
              <p:cNvSpPr txBox="1"/>
              <p:nvPr/>
            </p:nvSpPr>
            <p:spPr>
              <a:xfrm>
                <a:off x="6345213" y="3417655"/>
                <a:ext cx="21307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kern="0">
                    <a:solidFill>
                      <a:srgbClr val="000000"/>
                    </a:solidFill>
                  </a:rPr>
                  <a:t>48</a:t>
                </a:r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388E802B-9E36-43DC-B529-E74C945077B6}"/>
                  </a:ext>
                </a:extLst>
              </p:cNvPr>
              <p:cNvSpPr txBox="1"/>
              <p:nvPr/>
            </p:nvSpPr>
            <p:spPr>
              <a:xfrm>
                <a:off x="2631760" y="3570327"/>
                <a:ext cx="3921414" cy="108861"/>
              </a:xfrm>
              <a:prstGeom prst="rect">
                <a:avLst/>
              </a:prstGeom>
              <a:noFill/>
            </p:spPr>
            <p:txBody>
              <a:bodyPr wrap="none" lIns="0" tIns="0" rIns="0" bIns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b="1" kern="0">
                    <a:solidFill>
                      <a:srgbClr val="000000"/>
                    </a:solidFill>
                  </a:rPr>
                  <a:t>Months</a:t>
                </a:r>
              </a:p>
            </p:txBody>
          </p:sp>
        </p:grp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5201333D-126B-4AEF-82DE-E83C7F53CFBB}"/>
                </a:ext>
              </a:extLst>
            </p:cNvPr>
            <p:cNvSpPr txBox="1"/>
            <p:nvPr/>
          </p:nvSpPr>
          <p:spPr>
            <a:xfrm>
              <a:off x="-11670535" y="2753848"/>
              <a:ext cx="298361" cy="108865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>
                <a:solidFill>
                  <a:srgbClr val="000000"/>
                </a:solidFill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F0856667-FC65-4625-87AA-A8EA2F28FEF1}"/>
                </a:ext>
              </a:extLst>
            </p:cNvPr>
            <p:cNvSpPr txBox="1"/>
            <p:nvPr/>
          </p:nvSpPr>
          <p:spPr>
            <a:xfrm>
              <a:off x="-12667062" y="3444213"/>
              <a:ext cx="1040684" cy="110193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b="1" kern="0">
                  <a:solidFill>
                    <a:srgbClr val="000000"/>
                  </a:solidFill>
                </a:rPr>
                <a:t>Number of patients at risk</a:t>
              </a:r>
            </a:p>
          </p:txBody>
        </p:sp>
      </p:grpSp>
      <p:grpSp>
        <p:nvGrpSpPr>
          <p:cNvPr id="89" name="Group 105">
            <a:extLst>
              <a:ext uri="{FF2B5EF4-FFF2-40B4-BE49-F238E27FC236}">
                <a16:creationId xmlns:a16="http://schemas.microsoft.com/office/drawing/2014/main" id="{79F622C7-8FB6-4AFA-B696-CBEF0F19B388}"/>
              </a:ext>
            </a:extLst>
          </p:cNvPr>
          <p:cNvGrpSpPr>
            <a:grpSpLocks/>
          </p:cNvGrpSpPr>
          <p:nvPr/>
        </p:nvGrpSpPr>
        <p:grpSpPr bwMode="auto">
          <a:xfrm>
            <a:off x="847646" y="4028766"/>
            <a:ext cx="1611687" cy="415498"/>
            <a:chOff x="8462503" y="4730066"/>
            <a:chExt cx="2593061" cy="440244"/>
          </a:xfrm>
        </p:grpSpPr>
        <p:sp>
          <p:nvSpPr>
            <p:cNvPr id="94" name="TextBox 106">
              <a:extLst>
                <a:ext uri="{FF2B5EF4-FFF2-40B4-BE49-F238E27FC236}">
                  <a16:creationId xmlns:a16="http://schemas.microsoft.com/office/drawing/2014/main" id="{B822E025-2FBD-47F5-BC21-B6A4FAF7B7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06005" y="4730066"/>
              <a:ext cx="2349559" cy="4402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1pPr>
              <a:lvl2pPr marL="742950" indent="-285750"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2pPr>
              <a:lvl3pPr marL="1143000" indent="-228600"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3pPr>
              <a:lvl4pPr marL="1600200" indent="-228600"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4pPr>
              <a:lvl5pPr marL="2057400" indent="-228600"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5pPr>
              <a:lvl6pPr marL="2514600" indent="-228600" defTabSz="12176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6pPr>
              <a:lvl7pPr marL="2971800" indent="-228600" defTabSz="12176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7pPr>
              <a:lvl8pPr marL="3429000" indent="-228600" defTabSz="12176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8pPr>
              <a:lvl9pPr marL="3886200" indent="-228600" defTabSz="12176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9pPr>
            </a:lstStyle>
            <a:p>
              <a:pPr>
                <a:defRPr/>
              </a:pPr>
              <a:r>
                <a:rPr lang="en-US" altLang="en-US" sz="1050" kern="0">
                  <a:solidFill>
                    <a:srgbClr val="000000"/>
                  </a:solidFill>
                </a:rPr>
                <a:t>Darolutamide</a:t>
              </a:r>
            </a:p>
            <a:p>
              <a:pPr>
                <a:defRPr/>
              </a:pPr>
              <a:r>
                <a:rPr lang="en-US" altLang="en-US" sz="1050" kern="0">
                  <a:solidFill>
                    <a:srgbClr val="000000"/>
                  </a:solidFill>
                </a:rPr>
                <a:t>Placebo</a:t>
              </a:r>
            </a:p>
          </p:txBody>
        </p: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323489A-AE55-42BE-8C9B-A676C939C47F}"/>
                </a:ext>
              </a:extLst>
            </p:cNvPr>
            <p:cNvCxnSpPr/>
            <p:nvPr/>
          </p:nvCxnSpPr>
          <p:spPr>
            <a:xfrm>
              <a:off x="8462505" y="4898869"/>
              <a:ext cx="294238" cy="0"/>
            </a:xfrm>
            <a:prstGeom prst="line">
              <a:avLst/>
            </a:prstGeom>
            <a:noFill/>
            <a:ln w="25400" cap="flat" cmpd="sng" algn="ctr">
              <a:solidFill>
                <a:srgbClr val="77C45E"/>
              </a:solidFill>
              <a:prstDash val="solid"/>
            </a:ln>
            <a:effectLst/>
          </p:spPr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14A7452F-DE00-42D5-B2E8-ECA246CC830C}"/>
                </a:ext>
              </a:extLst>
            </p:cNvPr>
            <p:cNvCxnSpPr/>
            <p:nvPr/>
          </p:nvCxnSpPr>
          <p:spPr>
            <a:xfrm>
              <a:off x="8462503" y="5034512"/>
              <a:ext cx="294238" cy="0"/>
            </a:xfrm>
            <a:prstGeom prst="line">
              <a:avLst/>
            </a:prstGeom>
            <a:noFill/>
            <a:ln w="2540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</a:ln>
            <a:effectLst/>
          </p:spPr>
        </p:cxn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89B30BFD-2D8B-46D2-97DE-417418038656}"/>
              </a:ext>
            </a:extLst>
          </p:cNvPr>
          <p:cNvSpPr txBox="1"/>
          <p:nvPr/>
        </p:nvSpPr>
        <p:spPr>
          <a:xfrm>
            <a:off x="1919917" y="2537933"/>
            <a:ext cx="1578587" cy="305911"/>
          </a:xfrm>
          <a:prstGeom prst="rect">
            <a:avLst/>
          </a:prstGeom>
          <a:noFill/>
          <a:ln>
            <a:solidFill>
              <a:srgbClr val="89D329"/>
            </a:solidFill>
          </a:ln>
        </p:spPr>
        <p:txBody>
          <a:bodyPr wrap="none" lIns="121920" tIns="0" rIns="121920" bIns="0" anchor="ctr"/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0" b="1" kern="0">
                <a:solidFill>
                  <a:srgbClr val="000000"/>
                </a:solidFill>
              </a:rPr>
              <a:t>HR</a:t>
            </a:r>
            <a:r>
              <a:rPr lang="it-IT" sz="900" kern="0">
                <a:solidFill>
                  <a:srgbClr val="000000"/>
                </a:solidFill>
              </a:rPr>
              <a:t> 0.65 (95% CI 0.53-0.79)</a:t>
            </a:r>
          </a:p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0" i="1" kern="0">
                <a:solidFill>
                  <a:srgbClr val="000000"/>
                </a:solidFill>
              </a:rPr>
              <a:t>P</a:t>
            </a:r>
            <a:r>
              <a:rPr lang="it-IT" sz="900" kern="0">
                <a:solidFill>
                  <a:srgbClr val="000000"/>
                </a:solidFill>
              </a:rPr>
              <a:t>&lt;0.001</a:t>
            </a:r>
            <a:endParaRPr lang="en-GB" sz="900" kern="0">
              <a:solidFill>
                <a:srgbClr val="000000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E20B238-8FE5-425E-BA1C-32E66D49E5E7}"/>
              </a:ext>
            </a:extLst>
          </p:cNvPr>
          <p:cNvSpPr/>
          <p:nvPr/>
        </p:nvSpPr>
        <p:spPr>
          <a:xfrm>
            <a:off x="1769263" y="2888962"/>
            <a:ext cx="225574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0" b="1" kern="0">
                <a:solidFill>
                  <a:srgbClr val="000000"/>
                </a:solidFill>
              </a:rPr>
              <a:t>Darolutamide + ADT:</a:t>
            </a:r>
            <a:r>
              <a:rPr lang="it-IT" sz="900" kern="0">
                <a:solidFill>
                  <a:srgbClr val="000000"/>
                </a:solidFill>
              </a:rPr>
              <a:t> 40.3 months (median)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F8A4C17-5E3E-4C15-9BD6-FC97C6714193}"/>
              </a:ext>
            </a:extLst>
          </p:cNvPr>
          <p:cNvSpPr/>
          <p:nvPr/>
        </p:nvSpPr>
        <p:spPr>
          <a:xfrm>
            <a:off x="729236" y="3713547"/>
            <a:ext cx="196720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0" b="1" kern="0">
                <a:solidFill>
                  <a:srgbClr val="000000"/>
                </a:solidFill>
              </a:rPr>
              <a:t>Placebo + ADT:</a:t>
            </a:r>
            <a:r>
              <a:rPr lang="it-IT" sz="900" kern="0">
                <a:solidFill>
                  <a:srgbClr val="000000"/>
                </a:solidFill>
              </a:rPr>
              <a:t> 25.4 months (median)</a:t>
            </a: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A4A5BC17-E680-4E6C-B9F0-3A55F882C470}"/>
              </a:ext>
            </a:extLst>
          </p:cNvPr>
          <p:cNvGrpSpPr>
            <a:grpSpLocks noChangeAspect="1"/>
          </p:cNvGrpSpPr>
          <p:nvPr/>
        </p:nvGrpSpPr>
        <p:grpSpPr>
          <a:xfrm>
            <a:off x="4241771" y="2581243"/>
            <a:ext cx="3937425" cy="2553223"/>
            <a:chOff x="752232" y="219271"/>
            <a:chExt cx="10192212" cy="6609141"/>
          </a:xfrm>
        </p:grpSpPr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EDF5C6CE-7CA6-4375-8757-6251CEF837D2}"/>
                </a:ext>
              </a:extLst>
            </p:cNvPr>
            <p:cNvSpPr txBox="1"/>
            <p:nvPr/>
          </p:nvSpPr>
          <p:spPr bwMode="auto">
            <a:xfrm>
              <a:off x="1357953" y="270088"/>
              <a:ext cx="396874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0</a:t>
              </a: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3A03BCFC-65B8-458A-BFF6-ABAECF0FB829}"/>
                </a:ext>
              </a:extLst>
            </p:cNvPr>
            <p:cNvSpPr txBox="1"/>
            <p:nvPr/>
          </p:nvSpPr>
          <p:spPr bwMode="auto">
            <a:xfrm>
              <a:off x="1357953" y="794162"/>
              <a:ext cx="396874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9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7B58DF23-EE81-4DEE-8DAB-0CC8F40CA198}"/>
                </a:ext>
              </a:extLst>
            </p:cNvPr>
            <p:cNvSpPr txBox="1"/>
            <p:nvPr/>
          </p:nvSpPr>
          <p:spPr bwMode="auto">
            <a:xfrm>
              <a:off x="1357953" y="1316046"/>
              <a:ext cx="396874" cy="13176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8</a:t>
              </a: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B5772B90-2C63-4110-91CD-890B6633A727}"/>
                </a:ext>
              </a:extLst>
            </p:cNvPr>
            <p:cNvSpPr txBox="1"/>
            <p:nvPr/>
          </p:nvSpPr>
          <p:spPr bwMode="auto">
            <a:xfrm>
              <a:off x="1357953" y="1839517"/>
              <a:ext cx="396874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7</a:t>
              </a: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05748420-F21E-4E73-BFE9-A6C16EFD9B3C}"/>
                </a:ext>
              </a:extLst>
            </p:cNvPr>
            <p:cNvSpPr txBox="1"/>
            <p:nvPr/>
          </p:nvSpPr>
          <p:spPr bwMode="auto">
            <a:xfrm>
              <a:off x="1357953" y="2330184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6</a:t>
              </a: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5C913CF6-721B-45FD-80EA-03EFCBD42762}"/>
                </a:ext>
              </a:extLst>
            </p:cNvPr>
            <p:cNvSpPr txBox="1"/>
            <p:nvPr/>
          </p:nvSpPr>
          <p:spPr bwMode="auto">
            <a:xfrm>
              <a:off x="1357953" y="2831505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5</a:t>
              </a:r>
            </a:p>
          </p:txBody>
        </p:sp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77BA063A-05F3-48DF-BCBF-1C6AEFCD980D}"/>
                </a:ext>
              </a:extLst>
            </p:cNvPr>
            <p:cNvSpPr txBox="1"/>
            <p:nvPr/>
          </p:nvSpPr>
          <p:spPr bwMode="auto">
            <a:xfrm>
              <a:off x="1357953" y="3332726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4</a:t>
              </a:r>
            </a:p>
          </p:txBody>
        </p: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5646166D-0B73-4633-B41E-D687591263E2}"/>
                </a:ext>
              </a:extLst>
            </p:cNvPr>
            <p:cNvSpPr txBox="1"/>
            <p:nvPr/>
          </p:nvSpPr>
          <p:spPr bwMode="auto">
            <a:xfrm>
              <a:off x="1357953" y="3854537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3</a:t>
              </a:r>
            </a:p>
          </p:txBody>
        </p:sp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id="{7B6CC55A-DF5B-4627-AACC-292438A4515B}"/>
                </a:ext>
              </a:extLst>
            </p:cNvPr>
            <p:cNvSpPr txBox="1"/>
            <p:nvPr/>
          </p:nvSpPr>
          <p:spPr bwMode="auto">
            <a:xfrm>
              <a:off x="1357953" y="4376348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2</a:t>
              </a:r>
            </a:p>
          </p:txBody>
        </p:sp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6BB38A5A-B6A7-4318-B1E4-6E2FD04152CB}"/>
                </a:ext>
              </a:extLst>
            </p:cNvPr>
            <p:cNvSpPr txBox="1"/>
            <p:nvPr/>
          </p:nvSpPr>
          <p:spPr bwMode="auto">
            <a:xfrm>
              <a:off x="1357953" y="4898159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1</a:t>
              </a: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29BC4CF7-F5F9-4136-97A8-3F6FBEBECD71}"/>
                </a:ext>
              </a:extLst>
            </p:cNvPr>
            <p:cNvSpPr txBox="1"/>
            <p:nvPr/>
          </p:nvSpPr>
          <p:spPr bwMode="auto">
            <a:xfrm>
              <a:off x="1357953" y="5343670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0</a:t>
              </a:r>
            </a:p>
          </p:txBody>
        </p: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816C7019-DE00-40EF-82D2-EF3E92E314B5}"/>
                </a:ext>
              </a:extLst>
            </p:cNvPr>
            <p:cNvSpPr txBox="1"/>
            <p:nvPr/>
          </p:nvSpPr>
          <p:spPr bwMode="auto">
            <a:xfrm rot="16200000">
              <a:off x="-488535" y="2651123"/>
              <a:ext cx="2820987" cy="203200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00" b="1" kern="0">
                  <a:solidFill>
                    <a:srgbClr val="000000"/>
                  </a:solidFill>
                </a:rPr>
                <a:t>Time to initiation of cytotoxic </a:t>
              </a:r>
              <a:br>
                <a:rPr lang="en-GB" sz="800" b="1" kern="0">
                  <a:solidFill>
                    <a:srgbClr val="000000"/>
                  </a:solidFill>
                </a:rPr>
              </a:br>
              <a:r>
                <a:rPr lang="en-GB" sz="800" b="1" kern="0">
                  <a:solidFill>
                    <a:srgbClr val="000000"/>
                  </a:solidFill>
                </a:rPr>
                <a:t>chemotherapy probability</a:t>
              </a: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5272C8D2-77A4-4120-A9CC-B910A197C213}"/>
                </a:ext>
              </a:extLst>
            </p:cNvPr>
            <p:cNvSpPr txBox="1"/>
            <p:nvPr/>
          </p:nvSpPr>
          <p:spPr bwMode="auto">
            <a:xfrm>
              <a:off x="1945893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2F26EE6F-6035-4858-9E81-B35C6AE9CE49}"/>
                </a:ext>
              </a:extLst>
            </p:cNvPr>
            <p:cNvSpPr txBox="1"/>
            <p:nvPr/>
          </p:nvSpPr>
          <p:spPr bwMode="auto">
            <a:xfrm>
              <a:off x="2511864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78681026-7F4A-4041-A119-F99E6BD464E2}"/>
                </a:ext>
              </a:extLst>
            </p:cNvPr>
            <p:cNvSpPr txBox="1"/>
            <p:nvPr/>
          </p:nvSpPr>
          <p:spPr bwMode="auto">
            <a:xfrm>
              <a:off x="3058035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F539A5B-C633-42D4-A228-737B235B36E6}"/>
                </a:ext>
              </a:extLst>
            </p:cNvPr>
            <p:cNvSpPr txBox="1"/>
            <p:nvPr/>
          </p:nvSpPr>
          <p:spPr bwMode="auto">
            <a:xfrm>
              <a:off x="3635883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DD6BA779-7EA8-44DF-B93A-3927E0CBDEED}"/>
                </a:ext>
              </a:extLst>
            </p:cNvPr>
            <p:cNvSpPr txBox="1"/>
            <p:nvPr/>
          </p:nvSpPr>
          <p:spPr bwMode="auto">
            <a:xfrm>
              <a:off x="4213734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</a:t>
              </a: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66B17BF3-FEB0-4EF6-A31C-318C528AA848}"/>
                </a:ext>
              </a:extLst>
            </p:cNvPr>
            <p:cNvSpPr txBox="1"/>
            <p:nvPr/>
          </p:nvSpPr>
          <p:spPr bwMode="auto">
            <a:xfrm>
              <a:off x="4789997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FCE4D19D-DBBC-4F1D-963D-38272AA74867}"/>
                </a:ext>
              </a:extLst>
            </p:cNvPr>
            <p:cNvSpPr txBox="1"/>
            <p:nvPr/>
          </p:nvSpPr>
          <p:spPr bwMode="auto">
            <a:xfrm>
              <a:off x="5317049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4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C7D76799-7415-4F7B-A933-47F35C3A8650}"/>
                </a:ext>
              </a:extLst>
            </p:cNvPr>
            <p:cNvSpPr txBox="1"/>
            <p:nvPr/>
          </p:nvSpPr>
          <p:spPr bwMode="auto">
            <a:xfrm>
              <a:off x="5894899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8</a:t>
              </a: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9C2C1FC-D0E6-4CAF-A901-241E0CA520A9}"/>
                </a:ext>
              </a:extLst>
            </p:cNvPr>
            <p:cNvSpPr txBox="1"/>
            <p:nvPr/>
          </p:nvSpPr>
          <p:spPr bwMode="auto">
            <a:xfrm>
              <a:off x="6445762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2</a:t>
              </a: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9DD4E443-A9E3-4570-A416-195389200B4E}"/>
                </a:ext>
              </a:extLst>
            </p:cNvPr>
            <p:cNvSpPr txBox="1"/>
            <p:nvPr/>
          </p:nvSpPr>
          <p:spPr bwMode="auto">
            <a:xfrm>
              <a:off x="7005892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6</a:t>
              </a: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0E6E15FD-5F19-4610-AAB0-43597B4FCCC8}"/>
                </a:ext>
              </a:extLst>
            </p:cNvPr>
            <p:cNvSpPr txBox="1"/>
            <p:nvPr/>
          </p:nvSpPr>
          <p:spPr bwMode="auto">
            <a:xfrm>
              <a:off x="7571045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</a:t>
              </a: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4216D48D-036A-4DEE-AFD6-485B88E2B354}"/>
                </a:ext>
              </a:extLst>
            </p:cNvPr>
            <p:cNvSpPr txBox="1"/>
            <p:nvPr/>
          </p:nvSpPr>
          <p:spPr bwMode="auto">
            <a:xfrm>
              <a:off x="8139625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4</a:t>
              </a:r>
            </a:p>
          </p:txBody>
        </p: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612AD94-B3D3-4944-842E-759BFCEB48FD}"/>
                </a:ext>
              </a:extLst>
            </p:cNvPr>
            <p:cNvSpPr txBox="1"/>
            <p:nvPr/>
          </p:nvSpPr>
          <p:spPr bwMode="auto">
            <a:xfrm>
              <a:off x="8698426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8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88A9081A-682E-487B-AE97-5D880F9D9036}"/>
                </a:ext>
              </a:extLst>
            </p:cNvPr>
            <p:cNvSpPr txBox="1"/>
            <p:nvPr/>
          </p:nvSpPr>
          <p:spPr bwMode="auto">
            <a:xfrm>
              <a:off x="2793718" y="6009829"/>
              <a:ext cx="7304088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b="1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nths</a:t>
              </a: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4EB7DA72-163F-4B07-A06F-759644E86C5E}"/>
                </a:ext>
              </a:extLst>
            </p:cNvPr>
            <p:cNvSpPr txBox="1"/>
            <p:nvPr/>
          </p:nvSpPr>
          <p:spPr bwMode="auto">
            <a:xfrm>
              <a:off x="9267210" y="5717836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2</a:t>
              </a: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38B83EA4-C98A-481C-853F-A39A24A8E3B7}"/>
                </a:ext>
              </a:extLst>
            </p:cNvPr>
            <p:cNvSpPr txBox="1"/>
            <p:nvPr/>
          </p:nvSpPr>
          <p:spPr bwMode="auto">
            <a:xfrm>
              <a:off x="9818866" y="5717836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6</a:t>
              </a: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3388B01D-81DD-4FB1-9E08-A53F72B4BFB0}"/>
                </a:ext>
              </a:extLst>
            </p:cNvPr>
            <p:cNvSpPr txBox="1"/>
            <p:nvPr/>
          </p:nvSpPr>
          <p:spPr bwMode="auto">
            <a:xfrm>
              <a:off x="10395922" y="5717836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0</a:t>
              </a:r>
            </a:p>
          </p:txBody>
        </p: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4F0680F1-0D86-4457-9775-EBB89DCF137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903922" y="2932904"/>
              <a:ext cx="8987199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dash"/>
            </a:ln>
            <a:effectLst/>
          </p:spPr>
        </p:cxnSp>
        <p:sp>
          <p:nvSpPr>
            <p:cNvPr id="205" name="Line 30">
              <a:extLst>
                <a:ext uri="{FF2B5EF4-FFF2-40B4-BE49-F238E27FC236}">
                  <a16:creationId xmlns:a16="http://schemas.microsoft.com/office/drawing/2014/main" id="{F849B88A-27F8-493E-93D4-512BF022381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35169" y="6267432"/>
              <a:ext cx="895595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sp>
          <p:nvSpPr>
            <p:cNvPr id="206" name="Line 31">
              <a:extLst>
                <a:ext uri="{FF2B5EF4-FFF2-40B4-BE49-F238E27FC236}">
                  <a16:creationId xmlns:a16="http://schemas.microsoft.com/office/drawing/2014/main" id="{A28B441B-509E-4532-A605-7351651A19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19543" y="6828412"/>
              <a:ext cx="8955953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4321AB19-2AE1-4A52-B782-4018667365C1}"/>
                </a:ext>
              </a:extLst>
            </p:cNvPr>
            <p:cNvSpPr txBox="1"/>
            <p:nvPr/>
          </p:nvSpPr>
          <p:spPr bwMode="auto">
            <a:xfrm>
              <a:off x="1945893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95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554</a:t>
              </a:r>
            </a:p>
          </p:txBody>
        </p: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828FED95-C58C-472F-9FFB-301CBA477E75}"/>
                </a:ext>
              </a:extLst>
            </p:cNvPr>
            <p:cNvSpPr txBox="1"/>
            <p:nvPr/>
          </p:nvSpPr>
          <p:spPr bwMode="auto">
            <a:xfrm>
              <a:off x="2511863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916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511</a:t>
              </a:r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D9E30648-EEAE-402F-98B6-8CDC09EF70F8}"/>
                </a:ext>
              </a:extLst>
            </p:cNvPr>
            <p:cNvSpPr txBox="1"/>
            <p:nvPr/>
          </p:nvSpPr>
          <p:spPr bwMode="auto">
            <a:xfrm>
              <a:off x="3059372" y="6295830"/>
              <a:ext cx="396875" cy="175644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863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459</a:t>
              </a:r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700D8675-ADED-4BCA-95A4-A81A1055FC5E}"/>
                </a:ext>
              </a:extLst>
            </p:cNvPr>
            <p:cNvSpPr txBox="1"/>
            <p:nvPr/>
          </p:nvSpPr>
          <p:spPr bwMode="auto">
            <a:xfrm>
              <a:off x="3630852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805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403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BDB6C234-2036-40A9-B145-38CFBCE4DADD}"/>
                </a:ext>
              </a:extLst>
            </p:cNvPr>
            <p:cNvSpPr txBox="1"/>
            <p:nvPr/>
          </p:nvSpPr>
          <p:spPr bwMode="auto">
            <a:xfrm>
              <a:off x="4232533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738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364</a:t>
              </a:r>
            </a:p>
          </p:txBody>
        </p: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802EA432-AB59-4496-9B37-48B2F1707B11}"/>
                </a:ext>
              </a:extLst>
            </p:cNvPr>
            <p:cNvSpPr txBox="1"/>
            <p:nvPr/>
          </p:nvSpPr>
          <p:spPr bwMode="auto">
            <a:xfrm>
              <a:off x="4789997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678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312</a:t>
              </a:r>
            </a:p>
          </p:txBody>
        </p: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B87736A1-0D1F-46E4-A0C7-9AC83BCE53B3}"/>
                </a:ext>
              </a:extLst>
            </p:cNvPr>
            <p:cNvSpPr txBox="1"/>
            <p:nvPr/>
          </p:nvSpPr>
          <p:spPr bwMode="auto">
            <a:xfrm>
              <a:off x="5317008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578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254</a:t>
              </a: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06C26BA9-30A2-4701-8E79-808069213102}"/>
                </a:ext>
              </a:extLst>
            </p:cNvPr>
            <p:cNvSpPr txBox="1"/>
            <p:nvPr/>
          </p:nvSpPr>
          <p:spPr bwMode="auto">
            <a:xfrm>
              <a:off x="5894898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453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183</a:t>
              </a: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EA00E796-ADB6-4AA3-8435-C35E706B97B9}"/>
                </a:ext>
              </a:extLst>
            </p:cNvPr>
            <p:cNvSpPr txBox="1"/>
            <p:nvPr/>
          </p:nvSpPr>
          <p:spPr bwMode="auto">
            <a:xfrm>
              <a:off x="6445761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339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119</a:t>
              </a: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E7162DA1-777F-4389-88F8-98462E1730A2}"/>
                </a:ext>
              </a:extLst>
            </p:cNvPr>
            <p:cNvSpPr txBox="1"/>
            <p:nvPr/>
          </p:nvSpPr>
          <p:spPr bwMode="auto">
            <a:xfrm>
              <a:off x="7005891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232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78</a:t>
              </a:r>
            </a:p>
          </p:txBody>
        </p: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D2249DD3-A3DE-46A9-BEA2-C9D335F6185E}"/>
                </a:ext>
              </a:extLst>
            </p:cNvPr>
            <p:cNvSpPr txBox="1"/>
            <p:nvPr/>
          </p:nvSpPr>
          <p:spPr bwMode="auto">
            <a:xfrm>
              <a:off x="7583742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164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58</a:t>
              </a: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0F66FF97-B733-4C0B-8932-27EF5CB1BDBB}"/>
                </a:ext>
              </a:extLst>
            </p:cNvPr>
            <p:cNvSpPr txBox="1"/>
            <p:nvPr/>
          </p:nvSpPr>
          <p:spPr bwMode="auto">
            <a:xfrm>
              <a:off x="8139624" y="6295831"/>
              <a:ext cx="396875" cy="130064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93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26</a:t>
              </a:r>
            </a:p>
          </p:txBody>
        </p: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AE50B4CB-1774-4F46-BC20-8CA42A2DA42C}"/>
                </a:ext>
              </a:extLst>
            </p:cNvPr>
            <p:cNvSpPr txBox="1"/>
            <p:nvPr/>
          </p:nvSpPr>
          <p:spPr bwMode="auto">
            <a:xfrm>
              <a:off x="8693697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45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C8EC17F-827E-44E2-8FC1-F1B888B9EB6C}"/>
                </a:ext>
              </a:extLst>
            </p:cNvPr>
            <p:cNvSpPr txBox="1"/>
            <p:nvPr/>
          </p:nvSpPr>
          <p:spPr bwMode="auto">
            <a:xfrm>
              <a:off x="1275023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700" kern="0">
                <a:solidFill>
                  <a:srgbClr val="000000"/>
                </a:solidFill>
              </a:endParaRP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48E9B91F-036C-46AC-B935-338AEE2132A7}"/>
                </a:ext>
              </a:extLst>
            </p:cNvPr>
            <p:cNvSpPr txBox="1"/>
            <p:nvPr/>
          </p:nvSpPr>
          <p:spPr bwMode="auto">
            <a:xfrm>
              <a:off x="752232" y="6008243"/>
              <a:ext cx="1384299" cy="131762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b="1" kern="0">
                  <a:solidFill>
                    <a:srgbClr val="000000"/>
                  </a:solidFill>
                </a:rPr>
                <a:t>Number of patients at risk</a:t>
              </a: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2884A22E-A68E-4D29-94F1-6F26872CA8A7}"/>
                </a:ext>
              </a:extLst>
            </p:cNvPr>
            <p:cNvSpPr txBox="1"/>
            <p:nvPr/>
          </p:nvSpPr>
          <p:spPr bwMode="auto">
            <a:xfrm>
              <a:off x="9267210" y="6295719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19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2765D824-3937-4E81-A0F2-90E3F8EDCFD1}"/>
                </a:ext>
              </a:extLst>
            </p:cNvPr>
            <p:cNvSpPr txBox="1"/>
            <p:nvPr/>
          </p:nvSpPr>
          <p:spPr bwMode="auto">
            <a:xfrm>
              <a:off x="9818054" y="6295719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3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0D91F456-0754-4AFD-AF0E-ADBAF126AD14}"/>
                </a:ext>
              </a:extLst>
            </p:cNvPr>
            <p:cNvSpPr txBox="1"/>
            <p:nvPr/>
          </p:nvSpPr>
          <p:spPr bwMode="auto">
            <a:xfrm>
              <a:off x="10395922" y="6295719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25" name="Freeform 5">
              <a:extLst>
                <a:ext uri="{FF2B5EF4-FFF2-40B4-BE49-F238E27FC236}">
                  <a16:creationId xmlns:a16="http://schemas.microsoft.com/office/drawing/2014/main" id="{7BDF00EE-7696-4768-ACA2-52D25E484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9801" y="219271"/>
              <a:ext cx="9044643" cy="5379593"/>
            </a:xfrm>
            <a:custGeom>
              <a:avLst/>
              <a:gdLst>
                <a:gd name="T0" fmla="*/ 0 w 2471"/>
                <a:gd name="T1" fmla="*/ 0 h 1460"/>
                <a:gd name="T2" fmla="*/ 0 w 2471"/>
                <a:gd name="T3" fmla="*/ 2317744 h 1460"/>
                <a:gd name="T4" fmla="*/ 5492863 w 2471"/>
                <a:gd name="T5" fmla="*/ 2317744 h 146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471" h="1460">
                  <a:moveTo>
                    <a:pt x="0" y="0"/>
                  </a:moveTo>
                  <a:lnTo>
                    <a:pt x="0" y="1460"/>
                  </a:lnTo>
                  <a:lnTo>
                    <a:pt x="2471" y="1460"/>
                  </a:lnTo>
                </a:path>
              </a:pathLst>
            </a:cu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grpSp>
          <p:nvGrpSpPr>
            <p:cNvPr id="226" name="Group 31">
              <a:extLst>
                <a:ext uri="{FF2B5EF4-FFF2-40B4-BE49-F238E27FC236}">
                  <a16:creationId xmlns:a16="http://schemas.microsoft.com/office/drawing/2014/main" id="{31FB8F35-505F-4CBA-A941-E7B2EC41BD4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22918" y="326466"/>
              <a:ext cx="122976" cy="5093745"/>
              <a:chOff x="2613024" y="1063404"/>
              <a:chExt cx="41276" cy="2252884"/>
            </a:xfrm>
          </p:grpSpPr>
          <p:sp>
            <p:nvSpPr>
              <p:cNvPr id="255" name="Line 6">
                <a:extLst>
                  <a:ext uri="{FF2B5EF4-FFF2-40B4-BE49-F238E27FC236}">
                    <a16:creationId xmlns:a16="http://schemas.microsoft.com/office/drawing/2014/main" id="{E7DD2D9C-582D-4335-BC27-4455B0ABA1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4" y="1063404"/>
                <a:ext cx="2580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" name="Line 7">
                <a:extLst>
                  <a:ext uri="{FF2B5EF4-FFF2-40B4-BE49-F238E27FC236}">
                    <a16:creationId xmlns:a16="http://schemas.microsoft.com/office/drawing/2014/main" id="{11D0A6ED-8866-42D5-A26C-5963CF319D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295419"/>
                <a:ext cx="2580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" name="Line 8">
                <a:extLst>
                  <a:ext uri="{FF2B5EF4-FFF2-40B4-BE49-F238E27FC236}">
                    <a16:creationId xmlns:a16="http://schemas.microsoft.com/office/drawing/2014/main" id="{EE78F51A-5CDA-435F-A99E-1AA84DBBB8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524212"/>
                <a:ext cx="2580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" name="Line 9">
                <a:extLst>
                  <a:ext uri="{FF2B5EF4-FFF2-40B4-BE49-F238E27FC236}">
                    <a16:creationId xmlns:a16="http://schemas.microsoft.com/office/drawing/2014/main" id="{C3453191-DB68-46D5-938A-9BC5F6F045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754615"/>
                <a:ext cx="2580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" name="Line 10">
                <a:extLst>
                  <a:ext uri="{FF2B5EF4-FFF2-40B4-BE49-F238E27FC236}">
                    <a16:creationId xmlns:a16="http://schemas.microsoft.com/office/drawing/2014/main" id="{740D6C7A-2A1B-4CC6-A996-038F0AB9AD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4" y="1983408"/>
                <a:ext cx="2580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" name="Line 11">
                <a:extLst>
                  <a:ext uri="{FF2B5EF4-FFF2-40B4-BE49-F238E27FC236}">
                    <a16:creationId xmlns:a16="http://schemas.microsoft.com/office/drawing/2014/main" id="{D0A2D611-EC08-4586-B1A0-847A25619C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2215423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1" name="Line 12">
                <a:extLst>
                  <a:ext uri="{FF2B5EF4-FFF2-40B4-BE49-F238E27FC236}">
                    <a16:creationId xmlns:a16="http://schemas.microsoft.com/office/drawing/2014/main" id="{A13F3100-D997-4A87-951A-06DC11C11F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2444216"/>
                <a:ext cx="2580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" name="Line 13">
                <a:extLst>
                  <a:ext uri="{FF2B5EF4-FFF2-40B4-BE49-F238E27FC236}">
                    <a16:creationId xmlns:a16="http://schemas.microsoft.com/office/drawing/2014/main" id="{68C0A038-2D23-4C9D-86DB-368CC1574A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4" y="2674621"/>
                <a:ext cx="2580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" name="Line 14">
                <a:extLst>
                  <a:ext uri="{FF2B5EF4-FFF2-40B4-BE49-F238E27FC236}">
                    <a16:creationId xmlns:a16="http://schemas.microsoft.com/office/drawing/2014/main" id="{E0C8F0CC-9D8D-4E14-B48A-5ED48B5C92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2906636"/>
                <a:ext cx="2580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" name="Line 15">
                <a:extLst>
                  <a:ext uri="{FF2B5EF4-FFF2-40B4-BE49-F238E27FC236}">
                    <a16:creationId xmlns:a16="http://schemas.microsoft.com/office/drawing/2014/main" id="{5474278D-7AB6-4DD3-B796-F64D8F07AF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4" y="3135429"/>
                <a:ext cx="2580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" name="Line 16">
                <a:extLst>
                  <a:ext uri="{FF2B5EF4-FFF2-40B4-BE49-F238E27FC236}">
                    <a16:creationId xmlns:a16="http://schemas.microsoft.com/office/drawing/2014/main" id="{F9C0BC25-22DA-41A4-AA77-741E8110C5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3316288"/>
                <a:ext cx="2580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7" name="Group 31">
              <a:extLst>
                <a:ext uri="{FF2B5EF4-FFF2-40B4-BE49-F238E27FC236}">
                  <a16:creationId xmlns:a16="http://schemas.microsoft.com/office/drawing/2014/main" id="{4534AE40-8207-4182-B30A-B7A62E965B82}"/>
                </a:ext>
              </a:extLst>
            </p:cNvPr>
            <p:cNvGrpSpPr>
              <a:grpSpLocks/>
            </p:cNvGrpSpPr>
            <p:nvPr/>
          </p:nvGrpSpPr>
          <p:grpSpPr bwMode="auto">
            <a:xfrm rot="5400000">
              <a:off x="4943668" y="2799504"/>
              <a:ext cx="33542" cy="5632215"/>
              <a:chOff x="2636318" y="1534883"/>
              <a:chExt cx="18008" cy="1781404"/>
            </a:xfrm>
          </p:grpSpPr>
          <p:sp>
            <p:nvSpPr>
              <p:cNvPr id="244" name="Line 6">
                <a:extLst>
                  <a:ext uri="{FF2B5EF4-FFF2-40B4-BE49-F238E27FC236}">
                    <a16:creationId xmlns:a16="http://schemas.microsoft.com/office/drawing/2014/main" id="{64DF4890-99BA-40D0-A8F7-89E2F3499F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40325" y="1534883"/>
                <a:ext cx="139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5" name="Line 7">
                <a:extLst>
                  <a:ext uri="{FF2B5EF4-FFF2-40B4-BE49-F238E27FC236}">
                    <a16:creationId xmlns:a16="http://schemas.microsoft.com/office/drawing/2014/main" id="{C5B44A6C-E4EA-436E-8C27-397363F4E2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18" y="1714177"/>
                <a:ext cx="17982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6" name="Line 8">
                <a:extLst>
                  <a:ext uri="{FF2B5EF4-FFF2-40B4-BE49-F238E27FC236}">
                    <a16:creationId xmlns:a16="http://schemas.microsoft.com/office/drawing/2014/main" id="{2562A7FE-6E34-465D-95F0-A5E4529621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18" y="1894531"/>
                <a:ext cx="17982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7" name="Line 9">
                <a:extLst>
                  <a:ext uri="{FF2B5EF4-FFF2-40B4-BE49-F238E27FC236}">
                    <a16:creationId xmlns:a16="http://schemas.microsoft.com/office/drawing/2014/main" id="{4A5780D2-F5C0-439C-9567-630121DC22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18" y="2066420"/>
                <a:ext cx="17982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8" name="Line 10">
                <a:extLst>
                  <a:ext uri="{FF2B5EF4-FFF2-40B4-BE49-F238E27FC236}">
                    <a16:creationId xmlns:a16="http://schemas.microsoft.com/office/drawing/2014/main" id="{5D3D5E63-637C-4EC8-9929-F47DCC4E5A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18" y="2244756"/>
                <a:ext cx="17981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9" name="Line 11">
                <a:extLst>
                  <a:ext uri="{FF2B5EF4-FFF2-40B4-BE49-F238E27FC236}">
                    <a16:creationId xmlns:a16="http://schemas.microsoft.com/office/drawing/2014/main" id="{6E916F9F-885C-47C9-B4D3-51C9BD4181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8" y="2416517"/>
                <a:ext cx="17972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0" name="Line 12">
                <a:extLst>
                  <a:ext uri="{FF2B5EF4-FFF2-40B4-BE49-F238E27FC236}">
                    <a16:creationId xmlns:a16="http://schemas.microsoft.com/office/drawing/2014/main" id="{149B0331-53DE-4041-AF77-363B783285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40325" y="2596354"/>
                <a:ext cx="13990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1" name="Line 13">
                <a:extLst>
                  <a:ext uri="{FF2B5EF4-FFF2-40B4-BE49-F238E27FC236}">
                    <a16:creationId xmlns:a16="http://schemas.microsoft.com/office/drawing/2014/main" id="{3A2CA368-3F8E-461E-9548-8CD5B08FFFD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19" y="2779309"/>
                <a:ext cx="1800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2" name="Line 14">
                <a:extLst>
                  <a:ext uri="{FF2B5EF4-FFF2-40B4-BE49-F238E27FC236}">
                    <a16:creationId xmlns:a16="http://schemas.microsoft.com/office/drawing/2014/main" id="{6B6F106F-A477-40F8-B38E-DDC80A7F7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1" y="2962406"/>
                <a:ext cx="17979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3" name="Line 15">
                <a:extLst>
                  <a:ext uri="{FF2B5EF4-FFF2-40B4-BE49-F238E27FC236}">
                    <a16:creationId xmlns:a16="http://schemas.microsoft.com/office/drawing/2014/main" id="{CD3B37EE-4B1F-4E76-890B-EA8A4ABCC2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2" y="3135429"/>
                <a:ext cx="17978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4" name="Line 16">
                <a:extLst>
                  <a:ext uri="{FF2B5EF4-FFF2-40B4-BE49-F238E27FC236}">
                    <a16:creationId xmlns:a16="http://schemas.microsoft.com/office/drawing/2014/main" id="{7EA068C1-47B2-491D-A0E5-1A58828AEE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2" y="3316287"/>
                <a:ext cx="1797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28" name="Line 6">
              <a:extLst>
                <a:ext uri="{FF2B5EF4-FFF2-40B4-BE49-F238E27FC236}">
                  <a16:creationId xmlns:a16="http://schemas.microsoft.com/office/drawing/2014/main" id="{1DB11742-0DEE-4C3A-9D9C-3CE58697D110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10008241" y="5611376"/>
              <a:ext cx="4194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sp>
          <p:nvSpPr>
            <p:cNvPr id="229" name="Line 7">
              <a:extLst>
                <a:ext uri="{FF2B5EF4-FFF2-40B4-BE49-F238E27FC236}">
                  <a16:creationId xmlns:a16="http://schemas.microsoft.com/office/drawing/2014/main" id="{2FAF31AB-B779-4794-AA8C-7CC3C07773F2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9445600" y="5615605"/>
              <a:ext cx="3348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sp>
          <p:nvSpPr>
            <p:cNvPr id="230" name="Line 8">
              <a:extLst>
                <a:ext uri="{FF2B5EF4-FFF2-40B4-BE49-F238E27FC236}">
                  <a16:creationId xmlns:a16="http://schemas.microsoft.com/office/drawing/2014/main" id="{5B03D65A-C322-4FE6-935F-91EF6F983C7F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8875379" y="5615605"/>
              <a:ext cx="3348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sp>
          <p:nvSpPr>
            <p:cNvPr id="231" name="Line 9">
              <a:extLst>
                <a:ext uri="{FF2B5EF4-FFF2-40B4-BE49-F238E27FC236}">
                  <a16:creationId xmlns:a16="http://schemas.microsoft.com/office/drawing/2014/main" id="{05123C73-CCC3-44B9-90D8-5C07053C6670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8335234" y="5618915"/>
              <a:ext cx="26863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sp>
          <p:nvSpPr>
            <p:cNvPr id="232" name="Line 6">
              <a:extLst>
                <a:ext uri="{FF2B5EF4-FFF2-40B4-BE49-F238E27FC236}">
                  <a16:creationId xmlns:a16="http://schemas.microsoft.com/office/drawing/2014/main" id="{25D9EA81-9148-4715-A6AA-686E5C22DFCB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10580794" y="5615605"/>
              <a:ext cx="3348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0B361E7E-3C74-4B3F-886E-C47335C14CC0}"/>
                </a:ext>
              </a:extLst>
            </p:cNvPr>
            <p:cNvGrpSpPr/>
            <p:nvPr/>
          </p:nvGrpSpPr>
          <p:grpSpPr>
            <a:xfrm>
              <a:off x="2097881" y="330994"/>
              <a:ext cx="8315136" cy="1476375"/>
              <a:chOff x="2097881" y="330994"/>
              <a:chExt cx="8315136" cy="1476375"/>
            </a:xfrm>
          </p:grpSpPr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32742C2E-4160-48CE-9EC8-F4F5D3D37512}"/>
                  </a:ext>
                </a:extLst>
              </p:cNvPr>
              <p:cNvSpPr/>
              <p:nvPr/>
            </p:nvSpPr>
            <p:spPr>
              <a:xfrm>
                <a:off x="2097881" y="330994"/>
                <a:ext cx="819150" cy="45244"/>
              </a:xfrm>
              <a:custGeom>
                <a:avLst/>
                <a:gdLst>
                  <a:gd name="connsiteX0" fmla="*/ 0 w 819150"/>
                  <a:gd name="connsiteY0" fmla="*/ 0 h 45244"/>
                  <a:gd name="connsiteX1" fmla="*/ 102394 w 819150"/>
                  <a:gd name="connsiteY1" fmla="*/ 4762 h 45244"/>
                  <a:gd name="connsiteX2" fmla="*/ 228600 w 819150"/>
                  <a:gd name="connsiteY2" fmla="*/ 4762 h 45244"/>
                  <a:gd name="connsiteX3" fmla="*/ 335757 w 819150"/>
                  <a:gd name="connsiteY3" fmla="*/ 4762 h 45244"/>
                  <a:gd name="connsiteX4" fmla="*/ 423863 w 819150"/>
                  <a:gd name="connsiteY4" fmla="*/ 4762 h 45244"/>
                  <a:gd name="connsiteX5" fmla="*/ 545307 w 819150"/>
                  <a:gd name="connsiteY5" fmla="*/ 4762 h 45244"/>
                  <a:gd name="connsiteX6" fmla="*/ 619125 w 819150"/>
                  <a:gd name="connsiteY6" fmla="*/ 4762 h 45244"/>
                  <a:gd name="connsiteX7" fmla="*/ 652463 w 819150"/>
                  <a:gd name="connsiteY7" fmla="*/ 4762 h 45244"/>
                  <a:gd name="connsiteX8" fmla="*/ 652463 w 819150"/>
                  <a:gd name="connsiteY8" fmla="*/ 28575 h 45244"/>
                  <a:gd name="connsiteX9" fmla="*/ 697707 w 819150"/>
                  <a:gd name="connsiteY9" fmla="*/ 28575 h 45244"/>
                  <a:gd name="connsiteX10" fmla="*/ 726282 w 819150"/>
                  <a:gd name="connsiteY10" fmla="*/ 28575 h 45244"/>
                  <a:gd name="connsiteX11" fmla="*/ 740569 w 819150"/>
                  <a:gd name="connsiteY11" fmla="*/ 28575 h 45244"/>
                  <a:gd name="connsiteX12" fmla="*/ 740569 w 819150"/>
                  <a:gd name="connsiteY12" fmla="*/ 35719 h 45244"/>
                  <a:gd name="connsiteX13" fmla="*/ 764382 w 819150"/>
                  <a:gd name="connsiteY13" fmla="*/ 35719 h 45244"/>
                  <a:gd name="connsiteX14" fmla="*/ 764382 w 819150"/>
                  <a:gd name="connsiteY14" fmla="*/ 45244 h 45244"/>
                  <a:gd name="connsiteX15" fmla="*/ 819150 w 819150"/>
                  <a:gd name="connsiteY15" fmla="*/ 45244 h 45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19150" h="45244">
                    <a:moveTo>
                      <a:pt x="0" y="0"/>
                    </a:moveTo>
                    <a:lnTo>
                      <a:pt x="102394" y="4762"/>
                    </a:lnTo>
                    <a:lnTo>
                      <a:pt x="228600" y="4762"/>
                    </a:lnTo>
                    <a:lnTo>
                      <a:pt x="335757" y="4762"/>
                    </a:lnTo>
                    <a:lnTo>
                      <a:pt x="423863" y="4762"/>
                    </a:lnTo>
                    <a:lnTo>
                      <a:pt x="545307" y="4762"/>
                    </a:lnTo>
                    <a:lnTo>
                      <a:pt x="619125" y="4762"/>
                    </a:lnTo>
                    <a:lnTo>
                      <a:pt x="652463" y="4762"/>
                    </a:lnTo>
                    <a:lnTo>
                      <a:pt x="652463" y="28575"/>
                    </a:lnTo>
                    <a:lnTo>
                      <a:pt x="697707" y="28575"/>
                    </a:lnTo>
                    <a:lnTo>
                      <a:pt x="726282" y="28575"/>
                    </a:lnTo>
                    <a:lnTo>
                      <a:pt x="740569" y="28575"/>
                    </a:lnTo>
                    <a:lnTo>
                      <a:pt x="740569" y="35719"/>
                    </a:lnTo>
                    <a:lnTo>
                      <a:pt x="764382" y="35719"/>
                    </a:lnTo>
                    <a:lnTo>
                      <a:pt x="764382" y="45244"/>
                    </a:lnTo>
                    <a:lnTo>
                      <a:pt x="819150" y="45244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13E33257-A32E-495E-9FB0-0B2BEADC177F}"/>
                  </a:ext>
                </a:extLst>
              </p:cNvPr>
              <p:cNvSpPr/>
              <p:nvPr/>
            </p:nvSpPr>
            <p:spPr>
              <a:xfrm>
                <a:off x="2905125" y="376238"/>
                <a:ext cx="2078831" cy="402431"/>
              </a:xfrm>
              <a:custGeom>
                <a:avLst/>
                <a:gdLst>
                  <a:gd name="connsiteX0" fmla="*/ 0 w 2078831"/>
                  <a:gd name="connsiteY0" fmla="*/ 0 h 402431"/>
                  <a:gd name="connsiteX1" fmla="*/ 126206 w 2078831"/>
                  <a:gd name="connsiteY1" fmla="*/ 0 h 402431"/>
                  <a:gd name="connsiteX2" fmla="*/ 126206 w 2078831"/>
                  <a:gd name="connsiteY2" fmla="*/ 16668 h 402431"/>
                  <a:gd name="connsiteX3" fmla="*/ 264319 w 2078831"/>
                  <a:gd name="connsiteY3" fmla="*/ 16668 h 402431"/>
                  <a:gd name="connsiteX4" fmla="*/ 264319 w 2078831"/>
                  <a:gd name="connsiteY4" fmla="*/ 35718 h 402431"/>
                  <a:gd name="connsiteX5" fmla="*/ 326231 w 2078831"/>
                  <a:gd name="connsiteY5" fmla="*/ 35718 h 402431"/>
                  <a:gd name="connsiteX6" fmla="*/ 326231 w 2078831"/>
                  <a:gd name="connsiteY6" fmla="*/ 57150 h 402431"/>
                  <a:gd name="connsiteX7" fmla="*/ 397669 w 2078831"/>
                  <a:gd name="connsiteY7" fmla="*/ 57150 h 402431"/>
                  <a:gd name="connsiteX8" fmla="*/ 397669 w 2078831"/>
                  <a:gd name="connsiteY8" fmla="*/ 71437 h 402431"/>
                  <a:gd name="connsiteX9" fmla="*/ 461963 w 2078831"/>
                  <a:gd name="connsiteY9" fmla="*/ 71437 h 402431"/>
                  <a:gd name="connsiteX10" fmla="*/ 461963 w 2078831"/>
                  <a:gd name="connsiteY10" fmla="*/ 90487 h 402431"/>
                  <a:gd name="connsiteX11" fmla="*/ 554831 w 2078831"/>
                  <a:gd name="connsiteY11" fmla="*/ 90487 h 402431"/>
                  <a:gd name="connsiteX12" fmla="*/ 554831 w 2078831"/>
                  <a:gd name="connsiteY12" fmla="*/ 116681 h 402431"/>
                  <a:gd name="connsiteX13" fmla="*/ 723900 w 2078831"/>
                  <a:gd name="connsiteY13" fmla="*/ 116681 h 402431"/>
                  <a:gd name="connsiteX14" fmla="*/ 723900 w 2078831"/>
                  <a:gd name="connsiteY14" fmla="*/ 140493 h 402431"/>
                  <a:gd name="connsiteX15" fmla="*/ 859631 w 2078831"/>
                  <a:gd name="connsiteY15" fmla="*/ 140493 h 402431"/>
                  <a:gd name="connsiteX16" fmla="*/ 859631 w 2078831"/>
                  <a:gd name="connsiteY16" fmla="*/ 157162 h 402431"/>
                  <a:gd name="connsiteX17" fmla="*/ 1092994 w 2078831"/>
                  <a:gd name="connsiteY17" fmla="*/ 157162 h 402431"/>
                  <a:gd name="connsiteX18" fmla="*/ 1092994 w 2078831"/>
                  <a:gd name="connsiteY18" fmla="*/ 197643 h 402431"/>
                  <a:gd name="connsiteX19" fmla="*/ 1164431 w 2078831"/>
                  <a:gd name="connsiteY19" fmla="*/ 197643 h 402431"/>
                  <a:gd name="connsiteX20" fmla="*/ 1164431 w 2078831"/>
                  <a:gd name="connsiteY20" fmla="*/ 219075 h 402431"/>
                  <a:gd name="connsiteX21" fmla="*/ 1285875 w 2078831"/>
                  <a:gd name="connsiteY21" fmla="*/ 219075 h 402431"/>
                  <a:gd name="connsiteX22" fmla="*/ 1285875 w 2078831"/>
                  <a:gd name="connsiteY22" fmla="*/ 238125 h 402431"/>
                  <a:gd name="connsiteX23" fmla="*/ 1388269 w 2078831"/>
                  <a:gd name="connsiteY23" fmla="*/ 238125 h 402431"/>
                  <a:gd name="connsiteX24" fmla="*/ 1388269 w 2078831"/>
                  <a:gd name="connsiteY24" fmla="*/ 259556 h 402431"/>
                  <a:gd name="connsiteX25" fmla="*/ 1462088 w 2078831"/>
                  <a:gd name="connsiteY25" fmla="*/ 259556 h 402431"/>
                  <a:gd name="connsiteX26" fmla="*/ 1462088 w 2078831"/>
                  <a:gd name="connsiteY26" fmla="*/ 283368 h 402431"/>
                  <a:gd name="connsiteX27" fmla="*/ 1588294 w 2078831"/>
                  <a:gd name="connsiteY27" fmla="*/ 283368 h 402431"/>
                  <a:gd name="connsiteX28" fmla="*/ 1588294 w 2078831"/>
                  <a:gd name="connsiteY28" fmla="*/ 307181 h 402431"/>
                  <a:gd name="connsiteX29" fmla="*/ 1714500 w 2078831"/>
                  <a:gd name="connsiteY29" fmla="*/ 307181 h 402431"/>
                  <a:gd name="connsiteX30" fmla="*/ 1714500 w 2078831"/>
                  <a:gd name="connsiteY30" fmla="*/ 321468 h 402431"/>
                  <a:gd name="connsiteX31" fmla="*/ 1854994 w 2078831"/>
                  <a:gd name="connsiteY31" fmla="*/ 321468 h 402431"/>
                  <a:gd name="connsiteX32" fmla="*/ 1854994 w 2078831"/>
                  <a:gd name="connsiteY32" fmla="*/ 350043 h 402431"/>
                  <a:gd name="connsiteX33" fmla="*/ 1902619 w 2078831"/>
                  <a:gd name="connsiteY33" fmla="*/ 350043 h 402431"/>
                  <a:gd name="connsiteX34" fmla="*/ 1902619 w 2078831"/>
                  <a:gd name="connsiteY34" fmla="*/ 381000 h 402431"/>
                  <a:gd name="connsiteX35" fmla="*/ 2005013 w 2078831"/>
                  <a:gd name="connsiteY35" fmla="*/ 381000 h 402431"/>
                  <a:gd name="connsiteX36" fmla="*/ 2005013 w 2078831"/>
                  <a:gd name="connsiteY36" fmla="*/ 402431 h 402431"/>
                  <a:gd name="connsiteX37" fmla="*/ 2078831 w 2078831"/>
                  <a:gd name="connsiteY37" fmla="*/ 402431 h 402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078831" h="402431">
                    <a:moveTo>
                      <a:pt x="0" y="0"/>
                    </a:moveTo>
                    <a:lnTo>
                      <a:pt x="126206" y="0"/>
                    </a:lnTo>
                    <a:lnTo>
                      <a:pt x="126206" y="16668"/>
                    </a:lnTo>
                    <a:lnTo>
                      <a:pt x="264319" y="16668"/>
                    </a:lnTo>
                    <a:lnTo>
                      <a:pt x="264319" y="35718"/>
                    </a:lnTo>
                    <a:lnTo>
                      <a:pt x="326231" y="35718"/>
                    </a:lnTo>
                    <a:lnTo>
                      <a:pt x="326231" y="57150"/>
                    </a:lnTo>
                    <a:lnTo>
                      <a:pt x="397669" y="57150"/>
                    </a:lnTo>
                    <a:lnTo>
                      <a:pt x="397669" y="71437"/>
                    </a:lnTo>
                    <a:lnTo>
                      <a:pt x="461963" y="71437"/>
                    </a:lnTo>
                    <a:lnTo>
                      <a:pt x="461963" y="90487"/>
                    </a:lnTo>
                    <a:lnTo>
                      <a:pt x="554831" y="90487"/>
                    </a:lnTo>
                    <a:lnTo>
                      <a:pt x="554831" y="116681"/>
                    </a:lnTo>
                    <a:lnTo>
                      <a:pt x="723900" y="116681"/>
                    </a:lnTo>
                    <a:lnTo>
                      <a:pt x="723900" y="140493"/>
                    </a:lnTo>
                    <a:lnTo>
                      <a:pt x="859631" y="140493"/>
                    </a:lnTo>
                    <a:lnTo>
                      <a:pt x="859631" y="157162"/>
                    </a:lnTo>
                    <a:lnTo>
                      <a:pt x="1092994" y="157162"/>
                    </a:lnTo>
                    <a:lnTo>
                      <a:pt x="1092994" y="197643"/>
                    </a:lnTo>
                    <a:lnTo>
                      <a:pt x="1164431" y="197643"/>
                    </a:lnTo>
                    <a:lnTo>
                      <a:pt x="1164431" y="219075"/>
                    </a:lnTo>
                    <a:lnTo>
                      <a:pt x="1285875" y="219075"/>
                    </a:lnTo>
                    <a:lnTo>
                      <a:pt x="1285875" y="238125"/>
                    </a:lnTo>
                    <a:lnTo>
                      <a:pt x="1388269" y="238125"/>
                    </a:lnTo>
                    <a:lnTo>
                      <a:pt x="1388269" y="259556"/>
                    </a:lnTo>
                    <a:lnTo>
                      <a:pt x="1462088" y="259556"/>
                    </a:lnTo>
                    <a:lnTo>
                      <a:pt x="1462088" y="283368"/>
                    </a:lnTo>
                    <a:lnTo>
                      <a:pt x="1588294" y="283368"/>
                    </a:lnTo>
                    <a:lnTo>
                      <a:pt x="1588294" y="307181"/>
                    </a:lnTo>
                    <a:lnTo>
                      <a:pt x="1714500" y="307181"/>
                    </a:lnTo>
                    <a:lnTo>
                      <a:pt x="1714500" y="321468"/>
                    </a:lnTo>
                    <a:lnTo>
                      <a:pt x="1854994" y="321468"/>
                    </a:lnTo>
                    <a:lnTo>
                      <a:pt x="1854994" y="350043"/>
                    </a:lnTo>
                    <a:lnTo>
                      <a:pt x="1902619" y="350043"/>
                    </a:lnTo>
                    <a:lnTo>
                      <a:pt x="1902619" y="381000"/>
                    </a:lnTo>
                    <a:lnTo>
                      <a:pt x="2005013" y="381000"/>
                    </a:lnTo>
                    <a:lnTo>
                      <a:pt x="2005013" y="402431"/>
                    </a:lnTo>
                    <a:lnTo>
                      <a:pt x="2078831" y="402431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2E5DA334-C2C7-426C-B447-8EAA8721249A}"/>
                  </a:ext>
                </a:extLst>
              </p:cNvPr>
              <p:cNvSpPr/>
              <p:nvPr/>
            </p:nvSpPr>
            <p:spPr>
              <a:xfrm>
                <a:off x="4962337" y="781051"/>
                <a:ext cx="2243136" cy="428625"/>
              </a:xfrm>
              <a:custGeom>
                <a:avLst/>
                <a:gdLst>
                  <a:gd name="connsiteX0" fmla="*/ 0 w 2243137"/>
                  <a:gd name="connsiteY0" fmla="*/ 0 h 428625"/>
                  <a:gd name="connsiteX1" fmla="*/ 252412 w 2243137"/>
                  <a:gd name="connsiteY1" fmla="*/ 0 h 428625"/>
                  <a:gd name="connsiteX2" fmla="*/ 252412 w 2243137"/>
                  <a:gd name="connsiteY2" fmla="*/ 35719 h 428625"/>
                  <a:gd name="connsiteX3" fmla="*/ 350043 w 2243137"/>
                  <a:gd name="connsiteY3" fmla="*/ 35719 h 428625"/>
                  <a:gd name="connsiteX4" fmla="*/ 350043 w 2243137"/>
                  <a:gd name="connsiteY4" fmla="*/ 66675 h 428625"/>
                  <a:gd name="connsiteX5" fmla="*/ 431006 w 2243137"/>
                  <a:gd name="connsiteY5" fmla="*/ 66675 h 428625"/>
                  <a:gd name="connsiteX6" fmla="*/ 431006 w 2243137"/>
                  <a:gd name="connsiteY6" fmla="*/ 92869 h 428625"/>
                  <a:gd name="connsiteX7" fmla="*/ 521493 w 2243137"/>
                  <a:gd name="connsiteY7" fmla="*/ 92869 h 428625"/>
                  <a:gd name="connsiteX8" fmla="*/ 521493 w 2243137"/>
                  <a:gd name="connsiteY8" fmla="*/ 119063 h 428625"/>
                  <a:gd name="connsiteX9" fmla="*/ 659606 w 2243137"/>
                  <a:gd name="connsiteY9" fmla="*/ 119063 h 428625"/>
                  <a:gd name="connsiteX10" fmla="*/ 728662 w 2243137"/>
                  <a:gd name="connsiteY10" fmla="*/ 119063 h 428625"/>
                  <a:gd name="connsiteX11" fmla="*/ 828675 w 2243137"/>
                  <a:gd name="connsiteY11" fmla="*/ 119063 h 428625"/>
                  <a:gd name="connsiteX12" fmla="*/ 828675 w 2243137"/>
                  <a:gd name="connsiteY12" fmla="*/ 161925 h 428625"/>
                  <a:gd name="connsiteX13" fmla="*/ 921543 w 2243137"/>
                  <a:gd name="connsiteY13" fmla="*/ 161925 h 428625"/>
                  <a:gd name="connsiteX14" fmla="*/ 921543 w 2243137"/>
                  <a:gd name="connsiteY14" fmla="*/ 188119 h 428625"/>
                  <a:gd name="connsiteX15" fmla="*/ 1090612 w 2243137"/>
                  <a:gd name="connsiteY15" fmla="*/ 188119 h 428625"/>
                  <a:gd name="connsiteX16" fmla="*/ 1090612 w 2243137"/>
                  <a:gd name="connsiteY16" fmla="*/ 214313 h 428625"/>
                  <a:gd name="connsiteX17" fmla="*/ 1214437 w 2243137"/>
                  <a:gd name="connsiteY17" fmla="*/ 214313 h 428625"/>
                  <a:gd name="connsiteX18" fmla="*/ 1214437 w 2243137"/>
                  <a:gd name="connsiteY18" fmla="*/ 245269 h 428625"/>
                  <a:gd name="connsiteX19" fmla="*/ 1338262 w 2243137"/>
                  <a:gd name="connsiteY19" fmla="*/ 245269 h 428625"/>
                  <a:gd name="connsiteX20" fmla="*/ 1338262 w 2243137"/>
                  <a:gd name="connsiteY20" fmla="*/ 269081 h 428625"/>
                  <a:gd name="connsiteX21" fmla="*/ 1497806 w 2243137"/>
                  <a:gd name="connsiteY21" fmla="*/ 269081 h 428625"/>
                  <a:gd name="connsiteX22" fmla="*/ 1497806 w 2243137"/>
                  <a:gd name="connsiteY22" fmla="*/ 297656 h 428625"/>
                  <a:gd name="connsiteX23" fmla="*/ 1657350 w 2243137"/>
                  <a:gd name="connsiteY23" fmla="*/ 297656 h 428625"/>
                  <a:gd name="connsiteX24" fmla="*/ 1657350 w 2243137"/>
                  <a:gd name="connsiteY24" fmla="*/ 326231 h 428625"/>
                  <a:gd name="connsiteX25" fmla="*/ 1878806 w 2243137"/>
                  <a:gd name="connsiteY25" fmla="*/ 326231 h 428625"/>
                  <a:gd name="connsiteX26" fmla="*/ 1878806 w 2243137"/>
                  <a:gd name="connsiteY26" fmla="*/ 352425 h 428625"/>
                  <a:gd name="connsiteX27" fmla="*/ 2047875 w 2243137"/>
                  <a:gd name="connsiteY27" fmla="*/ 352425 h 428625"/>
                  <a:gd name="connsiteX28" fmla="*/ 2047875 w 2243137"/>
                  <a:gd name="connsiteY28" fmla="*/ 383381 h 428625"/>
                  <a:gd name="connsiteX29" fmla="*/ 2135981 w 2243137"/>
                  <a:gd name="connsiteY29" fmla="*/ 383381 h 428625"/>
                  <a:gd name="connsiteX30" fmla="*/ 2135981 w 2243137"/>
                  <a:gd name="connsiteY30" fmla="*/ 407194 h 428625"/>
                  <a:gd name="connsiteX31" fmla="*/ 2169318 w 2243137"/>
                  <a:gd name="connsiteY31" fmla="*/ 407194 h 428625"/>
                  <a:gd name="connsiteX32" fmla="*/ 2169318 w 2243137"/>
                  <a:gd name="connsiteY32" fmla="*/ 428625 h 428625"/>
                  <a:gd name="connsiteX33" fmla="*/ 2243137 w 2243137"/>
                  <a:gd name="connsiteY33" fmla="*/ 428625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43137" h="428625">
                    <a:moveTo>
                      <a:pt x="0" y="0"/>
                    </a:moveTo>
                    <a:lnTo>
                      <a:pt x="252412" y="0"/>
                    </a:lnTo>
                    <a:lnTo>
                      <a:pt x="252412" y="35719"/>
                    </a:lnTo>
                    <a:lnTo>
                      <a:pt x="350043" y="35719"/>
                    </a:lnTo>
                    <a:lnTo>
                      <a:pt x="350043" y="66675"/>
                    </a:lnTo>
                    <a:lnTo>
                      <a:pt x="431006" y="66675"/>
                    </a:lnTo>
                    <a:lnTo>
                      <a:pt x="431006" y="92869"/>
                    </a:lnTo>
                    <a:lnTo>
                      <a:pt x="521493" y="92869"/>
                    </a:lnTo>
                    <a:lnTo>
                      <a:pt x="521493" y="119063"/>
                    </a:lnTo>
                    <a:lnTo>
                      <a:pt x="659606" y="119063"/>
                    </a:lnTo>
                    <a:lnTo>
                      <a:pt x="728662" y="119063"/>
                    </a:lnTo>
                    <a:lnTo>
                      <a:pt x="828675" y="119063"/>
                    </a:lnTo>
                    <a:lnTo>
                      <a:pt x="828675" y="161925"/>
                    </a:lnTo>
                    <a:lnTo>
                      <a:pt x="921543" y="161925"/>
                    </a:lnTo>
                    <a:lnTo>
                      <a:pt x="921543" y="188119"/>
                    </a:lnTo>
                    <a:lnTo>
                      <a:pt x="1090612" y="188119"/>
                    </a:lnTo>
                    <a:lnTo>
                      <a:pt x="1090612" y="214313"/>
                    </a:lnTo>
                    <a:lnTo>
                      <a:pt x="1214437" y="214313"/>
                    </a:lnTo>
                    <a:lnTo>
                      <a:pt x="1214437" y="245269"/>
                    </a:lnTo>
                    <a:lnTo>
                      <a:pt x="1338262" y="245269"/>
                    </a:lnTo>
                    <a:lnTo>
                      <a:pt x="1338262" y="269081"/>
                    </a:lnTo>
                    <a:lnTo>
                      <a:pt x="1497806" y="269081"/>
                    </a:lnTo>
                    <a:lnTo>
                      <a:pt x="1497806" y="297656"/>
                    </a:lnTo>
                    <a:lnTo>
                      <a:pt x="1657350" y="297656"/>
                    </a:lnTo>
                    <a:lnTo>
                      <a:pt x="1657350" y="326231"/>
                    </a:lnTo>
                    <a:lnTo>
                      <a:pt x="1878806" y="326231"/>
                    </a:lnTo>
                    <a:lnTo>
                      <a:pt x="1878806" y="352425"/>
                    </a:lnTo>
                    <a:lnTo>
                      <a:pt x="2047875" y="352425"/>
                    </a:lnTo>
                    <a:lnTo>
                      <a:pt x="2047875" y="383381"/>
                    </a:lnTo>
                    <a:lnTo>
                      <a:pt x="2135981" y="383381"/>
                    </a:lnTo>
                    <a:lnTo>
                      <a:pt x="2135981" y="407194"/>
                    </a:lnTo>
                    <a:lnTo>
                      <a:pt x="2169318" y="407194"/>
                    </a:lnTo>
                    <a:lnTo>
                      <a:pt x="2169318" y="428625"/>
                    </a:lnTo>
                    <a:lnTo>
                      <a:pt x="2243137" y="428625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6E0A44AF-A885-43DA-8E75-CDC733C37DC7}"/>
                  </a:ext>
                </a:extLst>
              </p:cNvPr>
              <p:cNvSpPr/>
              <p:nvPr/>
            </p:nvSpPr>
            <p:spPr>
              <a:xfrm>
                <a:off x="7195759" y="1202531"/>
                <a:ext cx="2645569" cy="604838"/>
              </a:xfrm>
              <a:custGeom>
                <a:avLst/>
                <a:gdLst>
                  <a:gd name="connsiteX0" fmla="*/ 0 w 2645568"/>
                  <a:gd name="connsiteY0" fmla="*/ 0 h 604838"/>
                  <a:gd name="connsiteX1" fmla="*/ 161925 w 2645568"/>
                  <a:gd name="connsiteY1" fmla="*/ 0 h 604838"/>
                  <a:gd name="connsiteX2" fmla="*/ 161925 w 2645568"/>
                  <a:gd name="connsiteY2" fmla="*/ 85725 h 604838"/>
                  <a:gd name="connsiteX3" fmla="*/ 300037 w 2645568"/>
                  <a:gd name="connsiteY3" fmla="*/ 85725 h 604838"/>
                  <a:gd name="connsiteX4" fmla="*/ 300037 w 2645568"/>
                  <a:gd name="connsiteY4" fmla="*/ 121444 h 604838"/>
                  <a:gd name="connsiteX5" fmla="*/ 411956 w 2645568"/>
                  <a:gd name="connsiteY5" fmla="*/ 121444 h 604838"/>
                  <a:gd name="connsiteX6" fmla="*/ 411956 w 2645568"/>
                  <a:gd name="connsiteY6" fmla="*/ 164307 h 604838"/>
                  <a:gd name="connsiteX7" fmla="*/ 533400 w 2645568"/>
                  <a:gd name="connsiteY7" fmla="*/ 164307 h 604838"/>
                  <a:gd name="connsiteX8" fmla="*/ 533400 w 2645568"/>
                  <a:gd name="connsiteY8" fmla="*/ 202407 h 604838"/>
                  <a:gd name="connsiteX9" fmla="*/ 981075 w 2645568"/>
                  <a:gd name="connsiteY9" fmla="*/ 202407 h 604838"/>
                  <a:gd name="connsiteX10" fmla="*/ 981075 w 2645568"/>
                  <a:gd name="connsiteY10" fmla="*/ 247650 h 604838"/>
                  <a:gd name="connsiteX11" fmla="*/ 1033462 w 2645568"/>
                  <a:gd name="connsiteY11" fmla="*/ 247650 h 604838"/>
                  <a:gd name="connsiteX12" fmla="*/ 1033462 w 2645568"/>
                  <a:gd name="connsiteY12" fmla="*/ 283369 h 604838"/>
                  <a:gd name="connsiteX13" fmla="*/ 1209675 w 2645568"/>
                  <a:gd name="connsiteY13" fmla="*/ 283369 h 604838"/>
                  <a:gd name="connsiteX14" fmla="*/ 1209675 w 2645568"/>
                  <a:gd name="connsiteY14" fmla="*/ 323850 h 604838"/>
                  <a:gd name="connsiteX15" fmla="*/ 2645568 w 2645568"/>
                  <a:gd name="connsiteY15" fmla="*/ 323850 h 604838"/>
                  <a:gd name="connsiteX16" fmla="*/ 2645568 w 2645568"/>
                  <a:gd name="connsiteY16" fmla="*/ 604838 h 604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5568" h="604838">
                    <a:moveTo>
                      <a:pt x="0" y="0"/>
                    </a:moveTo>
                    <a:lnTo>
                      <a:pt x="161925" y="0"/>
                    </a:lnTo>
                    <a:lnTo>
                      <a:pt x="161925" y="85725"/>
                    </a:lnTo>
                    <a:lnTo>
                      <a:pt x="300037" y="85725"/>
                    </a:lnTo>
                    <a:lnTo>
                      <a:pt x="300037" y="121444"/>
                    </a:lnTo>
                    <a:lnTo>
                      <a:pt x="411956" y="121444"/>
                    </a:lnTo>
                    <a:lnTo>
                      <a:pt x="411956" y="164307"/>
                    </a:lnTo>
                    <a:lnTo>
                      <a:pt x="533400" y="164307"/>
                    </a:lnTo>
                    <a:lnTo>
                      <a:pt x="533400" y="202407"/>
                    </a:lnTo>
                    <a:lnTo>
                      <a:pt x="981075" y="202407"/>
                    </a:lnTo>
                    <a:lnTo>
                      <a:pt x="981075" y="247650"/>
                    </a:lnTo>
                    <a:lnTo>
                      <a:pt x="1033462" y="247650"/>
                    </a:lnTo>
                    <a:lnTo>
                      <a:pt x="1033462" y="283369"/>
                    </a:lnTo>
                    <a:lnTo>
                      <a:pt x="1209675" y="283369"/>
                    </a:lnTo>
                    <a:lnTo>
                      <a:pt x="1209675" y="323850"/>
                    </a:lnTo>
                    <a:lnTo>
                      <a:pt x="2645568" y="323850"/>
                    </a:lnTo>
                    <a:lnTo>
                      <a:pt x="2645568" y="604838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31A03718-5CD7-4BFA-8210-B1E44D6CABE2}"/>
                  </a:ext>
                </a:extLst>
              </p:cNvPr>
              <p:cNvSpPr/>
              <p:nvPr/>
            </p:nvSpPr>
            <p:spPr>
              <a:xfrm>
                <a:off x="9865328" y="1783366"/>
                <a:ext cx="547689" cy="0"/>
              </a:xfrm>
              <a:custGeom>
                <a:avLst/>
                <a:gdLst>
                  <a:gd name="connsiteX0" fmla="*/ 0 w 547688"/>
                  <a:gd name="connsiteY0" fmla="*/ 0 h 0"/>
                  <a:gd name="connsiteX1" fmla="*/ 547688 w 547688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7688">
                    <a:moveTo>
                      <a:pt x="0" y="0"/>
                    </a:moveTo>
                    <a:lnTo>
                      <a:pt x="547688" y="0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F348756-6D9B-49EF-9619-465A549A281D}"/>
                </a:ext>
              </a:extLst>
            </p:cNvPr>
            <p:cNvGrpSpPr/>
            <p:nvPr/>
          </p:nvGrpSpPr>
          <p:grpSpPr>
            <a:xfrm>
              <a:off x="2097881" y="333375"/>
              <a:ext cx="7779544" cy="1676400"/>
              <a:chOff x="2097881" y="333375"/>
              <a:chExt cx="7779544" cy="1676400"/>
            </a:xfrm>
          </p:grpSpPr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1517DE6C-3995-4647-8ED9-A11CB403EFF5}"/>
                  </a:ext>
                </a:extLst>
              </p:cNvPr>
              <p:cNvSpPr/>
              <p:nvPr/>
            </p:nvSpPr>
            <p:spPr>
              <a:xfrm>
                <a:off x="2097881" y="333375"/>
                <a:ext cx="1666875" cy="473869"/>
              </a:xfrm>
              <a:custGeom>
                <a:avLst/>
                <a:gdLst>
                  <a:gd name="connsiteX0" fmla="*/ 0 w 1666875"/>
                  <a:gd name="connsiteY0" fmla="*/ 0 h 473869"/>
                  <a:gd name="connsiteX1" fmla="*/ 609600 w 1666875"/>
                  <a:gd name="connsiteY1" fmla="*/ 0 h 473869"/>
                  <a:gd name="connsiteX2" fmla="*/ 609600 w 1666875"/>
                  <a:gd name="connsiteY2" fmla="*/ 50006 h 473869"/>
                  <a:gd name="connsiteX3" fmla="*/ 659607 w 1666875"/>
                  <a:gd name="connsiteY3" fmla="*/ 50006 h 473869"/>
                  <a:gd name="connsiteX4" fmla="*/ 659607 w 1666875"/>
                  <a:gd name="connsiteY4" fmla="*/ 76200 h 473869"/>
                  <a:gd name="connsiteX5" fmla="*/ 704850 w 1666875"/>
                  <a:gd name="connsiteY5" fmla="*/ 76200 h 473869"/>
                  <a:gd name="connsiteX6" fmla="*/ 704850 w 1666875"/>
                  <a:gd name="connsiteY6" fmla="*/ 104775 h 473869"/>
                  <a:gd name="connsiteX7" fmla="*/ 757238 w 1666875"/>
                  <a:gd name="connsiteY7" fmla="*/ 104775 h 473869"/>
                  <a:gd name="connsiteX8" fmla="*/ 757238 w 1666875"/>
                  <a:gd name="connsiteY8" fmla="*/ 130969 h 473869"/>
                  <a:gd name="connsiteX9" fmla="*/ 797719 w 1666875"/>
                  <a:gd name="connsiteY9" fmla="*/ 130969 h 473869"/>
                  <a:gd name="connsiteX10" fmla="*/ 842963 w 1666875"/>
                  <a:gd name="connsiteY10" fmla="*/ 130969 h 473869"/>
                  <a:gd name="connsiteX11" fmla="*/ 842963 w 1666875"/>
                  <a:gd name="connsiteY11" fmla="*/ 159544 h 473869"/>
                  <a:gd name="connsiteX12" fmla="*/ 900113 w 1666875"/>
                  <a:gd name="connsiteY12" fmla="*/ 159544 h 473869"/>
                  <a:gd name="connsiteX13" fmla="*/ 933450 w 1666875"/>
                  <a:gd name="connsiteY13" fmla="*/ 159544 h 473869"/>
                  <a:gd name="connsiteX14" fmla="*/ 933450 w 1666875"/>
                  <a:gd name="connsiteY14" fmla="*/ 197644 h 473869"/>
                  <a:gd name="connsiteX15" fmla="*/ 1002507 w 1666875"/>
                  <a:gd name="connsiteY15" fmla="*/ 197644 h 473869"/>
                  <a:gd name="connsiteX16" fmla="*/ 1002507 w 1666875"/>
                  <a:gd name="connsiteY16" fmla="*/ 221456 h 473869"/>
                  <a:gd name="connsiteX17" fmla="*/ 1064419 w 1666875"/>
                  <a:gd name="connsiteY17" fmla="*/ 221456 h 473869"/>
                  <a:gd name="connsiteX18" fmla="*/ 1097757 w 1666875"/>
                  <a:gd name="connsiteY18" fmla="*/ 221456 h 473869"/>
                  <a:gd name="connsiteX19" fmla="*/ 1097757 w 1666875"/>
                  <a:gd name="connsiteY19" fmla="*/ 250031 h 473869"/>
                  <a:gd name="connsiteX20" fmla="*/ 1143000 w 1666875"/>
                  <a:gd name="connsiteY20" fmla="*/ 250031 h 473869"/>
                  <a:gd name="connsiteX21" fmla="*/ 1143000 w 1666875"/>
                  <a:gd name="connsiteY21" fmla="*/ 271463 h 473869"/>
                  <a:gd name="connsiteX22" fmla="*/ 1214438 w 1666875"/>
                  <a:gd name="connsiteY22" fmla="*/ 271463 h 473869"/>
                  <a:gd name="connsiteX23" fmla="*/ 1214438 w 1666875"/>
                  <a:gd name="connsiteY23" fmla="*/ 295275 h 473869"/>
                  <a:gd name="connsiteX24" fmla="*/ 1266825 w 1666875"/>
                  <a:gd name="connsiteY24" fmla="*/ 295275 h 473869"/>
                  <a:gd name="connsiteX25" fmla="*/ 1297782 w 1666875"/>
                  <a:gd name="connsiteY25" fmla="*/ 295275 h 473869"/>
                  <a:gd name="connsiteX26" fmla="*/ 1297782 w 1666875"/>
                  <a:gd name="connsiteY26" fmla="*/ 354806 h 473869"/>
                  <a:gd name="connsiteX27" fmla="*/ 1323975 w 1666875"/>
                  <a:gd name="connsiteY27" fmla="*/ 354806 h 473869"/>
                  <a:gd name="connsiteX28" fmla="*/ 1323975 w 1666875"/>
                  <a:gd name="connsiteY28" fmla="*/ 392906 h 473869"/>
                  <a:gd name="connsiteX29" fmla="*/ 1471613 w 1666875"/>
                  <a:gd name="connsiteY29" fmla="*/ 392906 h 473869"/>
                  <a:gd name="connsiteX30" fmla="*/ 1471613 w 1666875"/>
                  <a:gd name="connsiteY30" fmla="*/ 416719 h 473869"/>
                  <a:gd name="connsiteX31" fmla="*/ 1571625 w 1666875"/>
                  <a:gd name="connsiteY31" fmla="*/ 416719 h 473869"/>
                  <a:gd name="connsiteX32" fmla="*/ 1571625 w 1666875"/>
                  <a:gd name="connsiteY32" fmla="*/ 473869 h 473869"/>
                  <a:gd name="connsiteX33" fmla="*/ 1666875 w 1666875"/>
                  <a:gd name="connsiteY33" fmla="*/ 473869 h 473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666875" h="473869">
                    <a:moveTo>
                      <a:pt x="0" y="0"/>
                    </a:moveTo>
                    <a:lnTo>
                      <a:pt x="609600" y="0"/>
                    </a:lnTo>
                    <a:lnTo>
                      <a:pt x="609600" y="50006"/>
                    </a:lnTo>
                    <a:lnTo>
                      <a:pt x="659607" y="50006"/>
                    </a:lnTo>
                    <a:lnTo>
                      <a:pt x="659607" y="76200"/>
                    </a:lnTo>
                    <a:lnTo>
                      <a:pt x="704850" y="76200"/>
                    </a:lnTo>
                    <a:lnTo>
                      <a:pt x="704850" y="104775"/>
                    </a:lnTo>
                    <a:lnTo>
                      <a:pt x="757238" y="104775"/>
                    </a:lnTo>
                    <a:lnTo>
                      <a:pt x="757238" y="130969"/>
                    </a:lnTo>
                    <a:lnTo>
                      <a:pt x="797719" y="130969"/>
                    </a:lnTo>
                    <a:lnTo>
                      <a:pt x="842963" y="130969"/>
                    </a:lnTo>
                    <a:lnTo>
                      <a:pt x="842963" y="159544"/>
                    </a:lnTo>
                    <a:lnTo>
                      <a:pt x="900113" y="159544"/>
                    </a:lnTo>
                    <a:lnTo>
                      <a:pt x="933450" y="159544"/>
                    </a:lnTo>
                    <a:lnTo>
                      <a:pt x="933450" y="197644"/>
                    </a:lnTo>
                    <a:lnTo>
                      <a:pt x="1002507" y="197644"/>
                    </a:lnTo>
                    <a:lnTo>
                      <a:pt x="1002507" y="221456"/>
                    </a:lnTo>
                    <a:lnTo>
                      <a:pt x="1064419" y="221456"/>
                    </a:lnTo>
                    <a:lnTo>
                      <a:pt x="1097757" y="221456"/>
                    </a:lnTo>
                    <a:lnTo>
                      <a:pt x="1097757" y="250031"/>
                    </a:lnTo>
                    <a:lnTo>
                      <a:pt x="1143000" y="250031"/>
                    </a:lnTo>
                    <a:lnTo>
                      <a:pt x="1143000" y="271463"/>
                    </a:lnTo>
                    <a:lnTo>
                      <a:pt x="1214438" y="271463"/>
                    </a:lnTo>
                    <a:lnTo>
                      <a:pt x="1214438" y="295275"/>
                    </a:lnTo>
                    <a:lnTo>
                      <a:pt x="1266825" y="295275"/>
                    </a:lnTo>
                    <a:lnTo>
                      <a:pt x="1297782" y="295275"/>
                    </a:lnTo>
                    <a:lnTo>
                      <a:pt x="1297782" y="354806"/>
                    </a:lnTo>
                    <a:lnTo>
                      <a:pt x="1323975" y="354806"/>
                    </a:lnTo>
                    <a:lnTo>
                      <a:pt x="1323975" y="392906"/>
                    </a:lnTo>
                    <a:lnTo>
                      <a:pt x="1471613" y="392906"/>
                    </a:lnTo>
                    <a:lnTo>
                      <a:pt x="1471613" y="416719"/>
                    </a:lnTo>
                    <a:lnTo>
                      <a:pt x="1571625" y="416719"/>
                    </a:lnTo>
                    <a:lnTo>
                      <a:pt x="1571625" y="473869"/>
                    </a:lnTo>
                    <a:lnTo>
                      <a:pt x="1666875" y="473869"/>
                    </a:lnTo>
                  </a:path>
                </a:pathLst>
              </a:custGeom>
              <a:noFill/>
              <a:ln w="38100">
                <a:solidFill>
                  <a:srgbClr val="BDBD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/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56C9D244-60F3-4AEB-8602-A6ABE44D16F2}"/>
                  </a:ext>
                </a:extLst>
              </p:cNvPr>
              <p:cNvSpPr/>
              <p:nvPr/>
            </p:nvSpPr>
            <p:spPr>
              <a:xfrm>
                <a:off x="3757613" y="807244"/>
                <a:ext cx="864393" cy="204787"/>
              </a:xfrm>
              <a:custGeom>
                <a:avLst/>
                <a:gdLst>
                  <a:gd name="connsiteX0" fmla="*/ 0 w 864393"/>
                  <a:gd name="connsiteY0" fmla="*/ 0 h 204787"/>
                  <a:gd name="connsiteX1" fmla="*/ 152400 w 864393"/>
                  <a:gd name="connsiteY1" fmla="*/ 0 h 204787"/>
                  <a:gd name="connsiteX2" fmla="*/ 152400 w 864393"/>
                  <a:gd name="connsiteY2" fmla="*/ 61912 h 204787"/>
                  <a:gd name="connsiteX3" fmla="*/ 219075 w 864393"/>
                  <a:gd name="connsiteY3" fmla="*/ 61912 h 204787"/>
                  <a:gd name="connsiteX4" fmla="*/ 219075 w 864393"/>
                  <a:gd name="connsiteY4" fmla="*/ 90487 h 204787"/>
                  <a:gd name="connsiteX5" fmla="*/ 290512 w 864393"/>
                  <a:gd name="connsiteY5" fmla="*/ 90487 h 204787"/>
                  <a:gd name="connsiteX6" fmla="*/ 290512 w 864393"/>
                  <a:gd name="connsiteY6" fmla="*/ 114300 h 204787"/>
                  <a:gd name="connsiteX7" fmla="*/ 473868 w 864393"/>
                  <a:gd name="connsiteY7" fmla="*/ 114300 h 204787"/>
                  <a:gd name="connsiteX8" fmla="*/ 473868 w 864393"/>
                  <a:gd name="connsiteY8" fmla="*/ 128587 h 204787"/>
                  <a:gd name="connsiteX9" fmla="*/ 547687 w 864393"/>
                  <a:gd name="connsiteY9" fmla="*/ 128587 h 204787"/>
                  <a:gd name="connsiteX10" fmla="*/ 547687 w 864393"/>
                  <a:gd name="connsiteY10" fmla="*/ 145256 h 204787"/>
                  <a:gd name="connsiteX11" fmla="*/ 650081 w 864393"/>
                  <a:gd name="connsiteY11" fmla="*/ 145256 h 204787"/>
                  <a:gd name="connsiteX12" fmla="*/ 650081 w 864393"/>
                  <a:gd name="connsiteY12" fmla="*/ 183356 h 204787"/>
                  <a:gd name="connsiteX13" fmla="*/ 766762 w 864393"/>
                  <a:gd name="connsiteY13" fmla="*/ 183356 h 204787"/>
                  <a:gd name="connsiteX14" fmla="*/ 766762 w 864393"/>
                  <a:gd name="connsiteY14" fmla="*/ 204787 h 204787"/>
                  <a:gd name="connsiteX15" fmla="*/ 864393 w 864393"/>
                  <a:gd name="connsiteY15" fmla="*/ 204787 h 204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393" h="204787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61912"/>
                    </a:lnTo>
                    <a:lnTo>
                      <a:pt x="219075" y="61912"/>
                    </a:lnTo>
                    <a:lnTo>
                      <a:pt x="219075" y="90487"/>
                    </a:lnTo>
                    <a:lnTo>
                      <a:pt x="290512" y="90487"/>
                    </a:lnTo>
                    <a:lnTo>
                      <a:pt x="290512" y="114300"/>
                    </a:lnTo>
                    <a:lnTo>
                      <a:pt x="473868" y="114300"/>
                    </a:lnTo>
                    <a:lnTo>
                      <a:pt x="473868" y="128587"/>
                    </a:lnTo>
                    <a:lnTo>
                      <a:pt x="547687" y="128587"/>
                    </a:lnTo>
                    <a:lnTo>
                      <a:pt x="547687" y="145256"/>
                    </a:lnTo>
                    <a:lnTo>
                      <a:pt x="650081" y="145256"/>
                    </a:lnTo>
                    <a:lnTo>
                      <a:pt x="650081" y="183356"/>
                    </a:lnTo>
                    <a:lnTo>
                      <a:pt x="766762" y="183356"/>
                    </a:lnTo>
                    <a:lnTo>
                      <a:pt x="766762" y="204787"/>
                    </a:lnTo>
                    <a:lnTo>
                      <a:pt x="864393" y="204787"/>
                    </a:lnTo>
                  </a:path>
                </a:pathLst>
              </a:custGeom>
              <a:noFill/>
              <a:ln w="38100">
                <a:solidFill>
                  <a:srgbClr val="BDBD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/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36073B58-4146-43D9-B181-77D120A7CA78}"/>
                  </a:ext>
                </a:extLst>
              </p:cNvPr>
              <p:cNvSpPr/>
              <p:nvPr/>
            </p:nvSpPr>
            <p:spPr>
              <a:xfrm>
                <a:off x="4617244" y="1007269"/>
                <a:ext cx="3381375" cy="838200"/>
              </a:xfrm>
              <a:custGeom>
                <a:avLst/>
                <a:gdLst>
                  <a:gd name="connsiteX0" fmla="*/ 0 w 3381375"/>
                  <a:gd name="connsiteY0" fmla="*/ 0 h 838200"/>
                  <a:gd name="connsiteX1" fmla="*/ 47625 w 3381375"/>
                  <a:gd name="connsiteY1" fmla="*/ 0 h 838200"/>
                  <a:gd name="connsiteX2" fmla="*/ 47625 w 3381375"/>
                  <a:gd name="connsiteY2" fmla="*/ 59531 h 838200"/>
                  <a:gd name="connsiteX3" fmla="*/ 100012 w 3381375"/>
                  <a:gd name="connsiteY3" fmla="*/ 59531 h 838200"/>
                  <a:gd name="connsiteX4" fmla="*/ 100012 w 3381375"/>
                  <a:gd name="connsiteY4" fmla="*/ 80962 h 838200"/>
                  <a:gd name="connsiteX5" fmla="*/ 207169 w 3381375"/>
                  <a:gd name="connsiteY5" fmla="*/ 80962 h 838200"/>
                  <a:gd name="connsiteX6" fmla="*/ 207169 w 3381375"/>
                  <a:gd name="connsiteY6" fmla="*/ 102394 h 838200"/>
                  <a:gd name="connsiteX7" fmla="*/ 383381 w 3381375"/>
                  <a:gd name="connsiteY7" fmla="*/ 102394 h 838200"/>
                  <a:gd name="connsiteX8" fmla="*/ 383381 w 3381375"/>
                  <a:gd name="connsiteY8" fmla="*/ 133350 h 838200"/>
                  <a:gd name="connsiteX9" fmla="*/ 445294 w 3381375"/>
                  <a:gd name="connsiteY9" fmla="*/ 133350 h 838200"/>
                  <a:gd name="connsiteX10" fmla="*/ 445294 w 3381375"/>
                  <a:gd name="connsiteY10" fmla="*/ 171450 h 838200"/>
                  <a:gd name="connsiteX11" fmla="*/ 640556 w 3381375"/>
                  <a:gd name="connsiteY11" fmla="*/ 171450 h 838200"/>
                  <a:gd name="connsiteX12" fmla="*/ 673894 w 3381375"/>
                  <a:gd name="connsiteY12" fmla="*/ 171450 h 838200"/>
                  <a:gd name="connsiteX13" fmla="*/ 673894 w 3381375"/>
                  <a:gd name="connsiteY13" fmla="*/ 207169 h 838200"/>
                  <a:gd name="connsiteX14" fmla="*/ 762000 w 3381375"/>
                  <a:gd name="connsiteY14" fmla="*/ 207169 h 838200"/>
                  <a:gd name="connsiteX15" fmla="*/ 866775 w 3381375"/>
                  <a:gd name="connsiteY15" fmla="*/ 207169 h 838200"/>
                  <a:gd name="connsiteX16" fmla="*/ 866775 w 3381375"/>
                  <a:gd name="connsiteY16" fmla="*/ 257175 h 838200"/>
                  <a:gd name="connsiteX17" fmla="*/ 1352550 w 3381375"/>
                  <a:gd name="connsiteY17" fmla="*/ 257175 h 838200"/>
                  <a:gd name="connsiteX18" fmla="*/ 1352550 w 3381375"/>
                  <a:gd name="connsiteY18" fmla="*/ 297656 h 838200"/>
                  <a:gd name="connsiteX19" fmla="*/ 1654969 w 3381375"/>
                  <a:gd name="connsiteY19" fmla="*/ 297656 h 838200"/>
                  <a:gd name="connsiteX20" fmla="*/ 1654969 w 3381375"/>
                  <a:gd name="connsiteY20" fmla="*/ 347662 h 838200"/>
                  <a:gd name="connsiteX21" fmla="*/ 1745456 w 3381375"/>
                  <a:gd name="connsiteY21" fmla="*/ 347662 h 838200"/>
                  <a:gd name="connsiteX22" fmla="*/ 1745456 w 3381375"/>
                  <a:gd name="connsiteY22" fmla="*/ 369094 h 838200"/>
                  <a:gd name="connsiteX23" fmla="*/ 1816894 w 3381375"/>
                  <a:gd name="connsiteY23" fmla="*/ 369094 h 838200"/>
                  <a:gd name="connsiteX24" fmla="*/ 1816894 w 3381375"/>
                  <a:gd name="connsiteY24" fmla="*/ 411956 h 838200"/>
                  <a:gd name="connsiteX25" fmla="*/ 1909762 w 3381375"/>
                  <a:gd name="connsiteY25" fmla="*/ 411956 h 838200"/>
                  <a:gd name="connsiteX26" fmla="*/ 1909762 w 3381375"/>
                  <a:gd name="connsiteY26" fmla="*/ 438150 h 838200"/>
                  <a:gd name="connsiteX27" fmla="*/ 2102644 w 3381375"/>
                  <a:gd name="connsiteY27" fmla="*/ 438150 h 838200"/>
                  <a:gd name="connsiteX28" fmla="*/ 2102644 w 3381375"/>
                  <a:gd name="connsiteY28" fmla="*/ 464344 h 838200"/>
                  <a:gd name="connsiteX29" fmla="*/ 2169319 w 3381375"/>
                  <a:gd name="connsiteY29" fmla="*/ 464344 h 838200"/>
                  <a:gd name="connsiteX30" fmla="*/ 2169319 w 3381375"/>
                  <a:gd name="connsiteY30" fmla="*/ 497681 h 838200"/>
                  <a:gd name="connsiteX31" fmla="*/ 2212181 w 3381375"/>
                  <a:gd name="connsiteY31" fmla="*/ 497681 h 838200"/>
                  <a:gd name="connsiteX32" fmla="*/ 2212181 w 3381375"/>
                  <a:gd name="connsiteY32" fmla="*/ 545306 h 838200"/>
                  <a:gd name="connsiteX33" fmla="*/ 2419350 w 3381375"/>
                  <a:gd name="connsiteY33" fmla="*/ 545306 h 838200"/>
                  <a:gd name="connsiteX34" fmla="*/ 2419350 w 3381375"/>
                  <a:gd name="connsiteY34" fmla="*/ 581025 h 838200"/>
                  <a:gd name="connsiteX35" fmla="*/ 2519362 w 3381375"/>
                  <a:gd name="connsiteY35" fmla="*/ 581025 h 838200"/>
                  <a:gd name="connsiteX36" fmla="*/ 2519362 w 3381375"/>
                  <a:gd name="connsiteY36" fmla="*/ 628650 h 838200"/>
                  <a:gd name="connsiteX37" fmla="*/ 2583656 w 3381375"/>
                  <a:gd name="connsiteY37" fmla="*/ 628650 h 838200"/>
                  <a:gd name="connsiteX38" fmla="*/ 2583656 w 3381375"/>
                  <a:gd name="connsiteY38" fmla="*/ 669131 h 838200"/>
                  <a:gd name="connsiteX39" fmla="*/ 2688431 w 3381375"/>
                  <a:gd name="connsiteY39" fmla="*/ 669131 h 838200"/>
                  <a:gd name="connsiteX40" fmla="*/ 2688431 w 3381375"/>
                  <a:gd name="connsiteY40" fmla="*/ 728662 h 838200"/>
                  <a:gd name="connsiteX41" fmla="*/ 2895600 w 3381375"/>
                  <a:gd name="connsiteY41" fmla="*/ 728662 h 838200"/>
                  <a:gd name="connsiteX42" fmla="*/ 2895600 w 3381375"/>
                  <a:gd name="connsiteY42" fmla="*/ 778669 h 838200"/>
                  <a:gd name="connsiteX43" fmla="*/ 3028950 w 3381375"/>
                  <a:gd name="connsiteY43" fmla="*/ 778669 h 838200"/>
                  <a:gd name="connsiteX44" fmla="*/ 3028950 w 3381375"/>
                  <a:gd name="connsiteY44" fmla="*/ 838200 h 838200"/>
                  <a:gd name="connsiteX45" fmla="*/ 3381375 w 3381375"/>
                  <a:gd name="connsiteY45" fmla="*/ 838200 h 83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3381375" h="83820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59531"/>
                    </a:lnTo>
                    <a:lnTo>
                      <a:pt x="100012" y="59531"/>
                    </a:lnTo>
                    <a:lnTo>
                      <a:pt x="100012" y="80962"/>
                    </a:lnTo>
                    <a:lnTo>
                      <a:pt x="207169" y="80962"/>
                    </a:lnTo>
                    <a:lnTo>
                      <a:pt x="207169" y="102394"/>
                    </a:lnTo>
                    <a:lnTo>
                      <a:pt x="383381" y="102394"/>
                    </a:lnTo>
                    <a:lnTo>
                      <a:pt x="383381" y="133350"/>
                    </a:lnTo>
                    <a:lnTo>
                      <a:pt x="445294" y="133350"/>
                    </a:lnTo>
                    <a:lnTo>
                      <a:pt x="445294" y="171450"/>
                    </a:lnTo>
                    <a:lnTo>
                      <a:pt x="640556" y="171450"/>
                    </a:lnTo>
                    <a:lnTo>
                      <a:pt x="673894" y="171450"/>
                    </a:lnTo>
                    <a:lnTo>
                      <a:pt x="673894" y="207169"/>
                    </a:lnTo>
                    <a:lnTo>
                      <a:pt x="762000" y="207169"/>
                    </a:lnTo>
                    <a:lnTo>
                      <a:pt x="866775" y="207169"/>
                    </a:lnTo>
                    <a:lnTo>
                      <a:pt x="866775" y="257175"/>
                    </a:lnTo>
                    <a:lnTo>
                      <a:pt x="1352550" y="257175"/>
                    </a:lnTo>
                    <a:lnTo>
                      <a:pt x="1352550" y="297656"/>
                    </a:lnTo>
                    <a:lnTo>
                      <a:pt x="1654969" y="297656"/>
                    </a:lnTo>
                    <a:lnTo>
                      <a:pt x="1654969" y="347662"/>
                    </a:lnTo>
                    <a:lnTo>
                      <a:pt x="1745456" y="347662"/>
                    </a:lnTo>
                    <a:lnTo>
                      <a:pt x="1745456" y="369094"/>
                    </a:lnTo>
                    <a:lnTo>
                      <a:pt x="1816894" y="369094"/>
                    </a:lnTo>
                    <a:lnTo>
                      <a:pt x="1816894" y="411956"/>
                    </a:lnTo>
                    <a:lnTo>
                      <a:pt x="1909762" y="411956"/>
                    </a:lnTo>
                    <a:lnTo>
                      <a:pt x="1909762" y="438150"/>
                    </a:lnTo>
                    <a:lnTo>
                      <a:pt x="2102644" y="438150"/>
                    </a:lnTo>
                    <a:lnTo>
                      <a:pt x="2102644" y="464344"/>
                    </a:lnTo>
                    <a:lnTo>
                      <a:pt x="2169319" y="464344"/>
                    </a:lnTo>
                    <a:lnTo>
                      <a:pt x="2169319" y="497681"/>
                    </a:lnTo>
                    <a:lnTo>
                      <a:pt x="2212181" y="497681"/>
                    </a:lnTo>
                    <a:lnTo>
                      <a:pt x="2212181" y="545306"/>
                    </a:lnTo>
                    <a:lnTo>
                      <a:pt x="2419350" y="545306"/>
                    </a:lnTo>
                    <a:lnTo>
                      <a:pt x="2419350" y="581025"/>
                    </a:lnTo>
                    <a:lnTo>
                      <a:pt x="2519362" y="581025"/>
                    </a:lnTo>
                    <a:lnTo>
                      <a:pt x="2519362" y="628650"/>
                    </a:lnTo>
                    <a:lnTo>
                      <a:pt x="2583656" y="628650"/>
                    </a:lnTo>
                    <a:lnTo>
                      <a:pt x="2583656" y="669131"/>
                    </a:lnTo>
                    <a:lnTo>
                      <a:pt x="2688431" y="669131"/>
                    </a:lnTo>
                    <a:lnTo>
                      <a:pt x="2688431" y="728662"/>
                    </a:lnTo>
                    <a:lnTo>
                      <a:pt x="2895600" y="728662"/>
                    </a:lnTo>
                    <a:lnTo>
                      <a:pt x="2895600" y="778669"/>
                    </a:lnTo>
                    <a:lnTo>
                      <a:pt x="3028950" y="778669"/>
                    </a:lnTo>
                    <a:lnTo>
                      <a:pt x="3028950" y="838200"/>
                    </a:lnTo>
                    <a:lnTo>
                      <a:pt x="3381375" y="838200"/>
                    </a:lnTo>
                  </a:path>
                </a:pathLst>
              </a:custGeom>
              <a:noFill/>
              <a:ln w="38100">
                <a:solidFill>
                  <a:srgbClr val="BDBD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/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169CC576-A35C-4BD7-B9F3-55BEFD31B2B7}"/>
                  </a:ext>
                </a:extLst>
              </p:cNvPr>
              <p:cNvSpPr/>
              <p:nvPr/>
            </p:nvSpPr>
            <p:spPr>
              <a:xfrm>
                <a:off x="7996238" y="1850231"/>
                <a:ext cx="1881187" cy="159544"/>
              </a:xfrm>
              <a:custGeom>
                <a:avLst/>
                <a:gdLst>
                  <a:gd name="connsiteX0" fmla="*/ 0 w 1881187"/>
                  <a:gd name="connsiteY0" fmla="*/ 0 h 159544"/>
                  <a:gd name="connsiteX1" fmla="*/ 0 w 1881187"/>
                  <a:gd name="connsiteY1" fmla="*/ 78582 h 159544"/>
                  <a:gd name="connsiteX2" fmla="*/ 28575 w 1881187"/>
                  <a:gd name="connsiteY2" fmla="*/ 78582 h 159544"/>
                  <a:gd name="connsiteX3" fmla="*/ 28575 w 1881187"/>
                  <a:gd name="connsiteY3" fmla="*/ 159544 h 159544"/>
                  <a:gd name="connsiteX4" fmla="*/ 1881187 w 1881187"/>
                  <a:gd name="connsiteY4" fmla="*/ 159544 h 15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1187" h="159544">
                    <a:moveTo>
                      <a:pt x="0" y="0"/>
                    </a:moveTo>
                    <a:lnTo>
                      <a:pt x="0" y="78582"/>
                    </a:lnTo>
                    <a:lnTo>
                      <a:pt x="28575" y="78582"/>
                    </a:lnTo>
                    <a:lnTo>
                      <a:pt x="28575" y="159544"/>
                    </a:lnTo>
                    <a:lnTo>
                      <a:pt x="1881187" y="159544"/>
                    </a:lnTo>
                  </a:path>
                </a:pathLst>
              </a:custGeom>
              <a:noFill/>
              <a:ln w="38100">
                <a:solidFill>
                  <a:srgbClr val="BDBD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/>
              </a:p>
            </p:txBody>
          </p:sp>
        </p:grpSp>
      </p:grp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A8975535-D42A-45CB-9F6F-ED0F543D1661}"/>
              </a:ext>
            </a:extLst>
          </p:cNvPr>
          <p:cNvGrpSpPr>
            <a:grpSpLocks noChangeAspect="1"/>
          </p:cNvGrpSpPr>
          <p:nvPr/>
        </p:nvGrpSpPr>
        <p:grpSpPr>
          <a:xfrm>
            <a:off x="8336949" y="2589013"/>
            <a:ext cx="3754418" cy="2539822"/>
            <a:chOff x="752232" y="219271"/>
            <a:chExt cx="10192212" cy="6645301"/>
          </a:xfrm>
        </p:grpSpPr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DCB85FC0-C52E-4D44-83C5-88E75C1C2706}"/>
                </a:ext>
              </a:extLst>
            </p:cNvPr>
            <p:cNvSpPr txBox="1"/>
            <p:nvPr/>
          </p:nvSpPr>
          <p:spPr bwMode="auto">
            <a:xfrm>
              <a:off x="1357953" y="270088"/>
              <a:ext cx="396874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0</a:t>
              </a:r>
            </a:p>
          </p:txBody>
        </p:sp>
        <p:sp>
          <p:nvSpPr>
            <p:cNvPr id="268" name="TextBox 267">
              <a:extLst>
                <a:ext uri="{FF2B5EF4-FFF2-40B4-BE49-F238E27FC236}">
                  <a16:creationId xmlns:a16="http://schemas.microsoft.com/office/drawing/2014/main" id="{73D80EF9-27CB-44B8-A90E-041227F88660}"/>
                </a:ext>
              </a:extLst>
            </p:cNvPr>
            <p:cNvSpPr txBox="1"/>
            <p:nvPr/>
          </p:nvSpPr>
          <p:spPr bwMode="auto">
            <a:xfrm>
              <a:off x="1357953" y="794162"/>
              <a:ext cx="396874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9</a:t>
              </a:r>
            </a:p>
          </p:txBody>
        </p:sp>
        <p:sp>
          <p:nvSpPr>
            <p:cNvPr id="269" name="TextBox 268">
              <a:extLst>
                <a:ext uri="{FF2B5EF4-FFF2-40B4-BE49-F238E27FC236}">
                  <a16:creationId xmlns:a16="http://schemas.microsoft.com/office/drawing/2014/main" id="{947CF64A-76BE-4C8C-8000-4DCF78E4A568}"/>
                </a:ext>
              </a:extLst>
            </p:cNvPr>
            <p:cNvSpPr txBox="1"/>
            <p:nvPr/>
          </p:nvSpPr>
          <p:spPr bwMode="auto">
            <a:xfrm>
              <a:off x="1357953" y="1316046"/>
              <a:ext cx="396874" cy="13176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8</a:t>
              </a:r>
            </a:p>
          </p:txBody>
        </p:sp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F7838138-68F0-46E5-9C1B-46655EE68BCE}"/>
                </a:ext>
              </a:extLst>
            </p:cNvPr>
            <p:cNvSpPr txBox="1"/>
            <p:nvPr/>
          </p:nvSpPr>
          <p:spPr bwMode="auto">
            <a:xfrm>
              <a:off x="1357953" y="1839517"/>
              <a:ext cx="396874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7</a:t>
              </a:r>
            </a:p>
          </p:txBody>
        </p:sp>
        <p:sp>
          <p:nvSpPr>
            <p:cNvPr id="271" name="TextBox 270">
              <a:extLst>
                <a:ext uri="{FF2B5EF4-FFF2-40B4-BE49-F238E27FC236}">
                  <a16:creationId xmlns:a16="http://schemas.microsoft.com/office/drawing/2014/main" id="{940A8385-4E84-45EB-BD65-BB16F64D0C66}"/>
                </a:ext>
              </a:extLst>
            </p:cNvPr>
            <p:cNvSpPr txBox="1"/>
            <p:nvPr/>
          </p:nvSpPr>
          <p:spPr bwMode="auto">
            <a:xfrm>
              <a:off x="1357953" y="2330184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6</a:t>
              </a:r>
            </a:p>
          </p:txBody>
        </p:sp>
        <p:sp>
          <p:nvSpPr>
            <p:cNvPr id="272" name="TextBox 271">
              <a:extLst>
                <a:ext uri="{FF2B5EF4-FFF2-40B4-BE49-F238E27FC236}">
                  <a16:creationId xmlns:a16="http://schemas.microsoft.com/office/drawing/2014/main" id="{F4CE601F-8034-4ED4-AF96-6D93697B690D}"/>
                </a:ext>
              </a:extLst>
            </p:cNvPr>
            <p:cNvSpPr txBox="1"/>
            <p:nvPr/>
          </p:nvSpPr>
          <p:spPr bwMode="auto">
            <a:xfrm>
              <a:off x="1357953" y="2831505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5</a:t>
              </a:r>
            </a:p>
          </p:txBody>
        </p:sp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26EA65F9-5E1E-4F26-8806-7361F3A5364E}"/>
                </a:ext>
              </a:extLst>
            </p:cNvPr>
            <p:cNvSpPr txBox="1"/>
            <p:nvPr/>
          </p:nvSpPr>
          <p:spPr bwMode="auto">
            <a:xfrm>
              <a:off x="1357953" y="3332726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4</a:t>
              </a:r>
            </a:p>
          </p:txBody>
        </p:sp>
        <p:sp>
          <p:nvSpPr>
            <p:cNvPr id="274" name="TextBox 273">
              <a:extLst>
                <a:ext uri="{FF2B5EF4-FFF2-40B4-BE49-F238E27FC236}">
                  <a16:creationId xmlns:a16="http://schemas.microsoft.com/office/drawing/2014/main" id="{0D1B884A-70D4-4C82-BE96-2E4674CFD2C6}"/>
                </a:ext>
              </a:extLst>
            </p:cNvPr>
            <p:cNvSpPr txBox="1"/>
            <p:nvPr/>
          </p:nvSpPr>
          <p:spPr bwMode="auto">
            <a:xfrm>
              <a:off x="1357953" y="3854537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3</a:t>
              </a:r>
            </a:p>
          </p:txBody>
        </p:sp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4FD0F849-4829-4C2E-A8B8-181E8C4B01EF}"/>
                </a:ext>
              </a:extLst>
            </p:cNvPr>
            <p:cNvSpPr txBox="1"/>
            <p:nvPr/>
          </p:nvSpPr>
          <p:spPr bwMode="auto">
            <a:xfrm>
              <a:off x="1357953" y="4376348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2</a:t>
              </a:r>
            </a:p>
          </p:txBody>
        </p:sp>
        <p:sp>
          <p:nvSpPr>
            <p:cNvPr id="276" name="TextBox 275">
              <a:extLst>
                <a:ext uri="{FF2B5EF4-FFF2-40B4-BE49-F238E27FC236}">
                  <a16:creationId xmlns:a16="http://schemas.microsoft.com/office/drawing/2014/main" id="{4B8DF488-C28E-4E94-8A3E-67F02B125932}"/>
                </a:ext>
              </a:extLst>
            </p:cNvPr>
            <p:cNvSpPr txBox="1"/>
            <p:nvPr/>
          </p:nvSpPr>
          <p:spPr bwMode="auto">
            <a:xfrm>
              <a:off x="1357953" y="4898159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1</a:t>
              </a:r>
            </a:p>
          </p:txBody>
        </p:sp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EA842E16-5465-48C9-B353-958EFCD1B3D4}"/>
                </a:ext>
              </a:extLst>
            </p:cNvPr>
            <p:cNvSpPr txBox="1"/>
            <p:nvPr/>
          </p:nvSpPr>
          <p:spPr bwMode="auto">
            <a:xfrm>
              <a:off x="1357953" y="5343670"/>
              <a:ext cx="396874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0</a:t>
              </a:r>
            </a:p>
          </p:txBody>
        </p:sp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id="{D1DCA3F0-C603-4ACF-9D2D-75089CF45334}"/>
                </a:ext>
              </a:extLst>
            </p:cNvPr>
            <p:cNvSpPr txBox="1"/>
            <p:nvPr/>
          </p:nvSpPr>
          <p:spPr bwMode="auto">
            <a:xfrm rot="16200000">
              <a:off x="-493292" y="2624938"/>
              <a:ext cx="2820987" cy="203201"/>
            </a:xfrm>
            <a:prstGeom prst="rect">
              <a:avLst/>
            </a:prstGeom>
            <a:noFill/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00" b="1" kern="0">
                  <a:solidFill>
                    <a:srgbClr val="000000"/>
                  </a:solidFill>
                </a:rPr>
                <a:t>Time to first symptomatic </a:t>
              </a:r>
              <a:br>
                <a:rPr lang="en-GB" sz="800" b="1" kern="0">
                  <a:solidFill>
                    <a:srgbClr val="000000"/>
                  </a:solidFill>
                </a:rPr>
              </a:br>
              <a:r>
                <a:rPr lang="en-GB" sz="800" b="1" kern="0">
                  <a:solidFill>
                    <a:srgbClr val="000000"/>
                  </a:solidFill>
                </a:rPr>
                <a:t>skeletal event probability</a:t>
              </a:r>
            </a:p>
          </p:txBody>
        </p:sp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5B81720C-8378-4BC1-8FC0-339F569EE6D4}"/>
                </a:ext>
              </a:extLst>
            </p:cNvPr>
            <p:cNvSpPr txBox="1"/>
            <p:nvPr/>
          </p:nvSpPr>
          <p:spPr bwMode="auto">
            <a:xfrm>
              <a:off x="1945893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8222B36D-7A32-40D9-9890-E092F787E3E2}"/>
                </a:ext>
              </a:extLst>
            </p:cNvPr>
            <p:cNvSpPr txBox="1"/>
            <p:nvPr/>
          </p:nvSpPr>
          <p:spPr bwMode="auto">
            <a:xfrm>
              <a:off x="2511864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3EDB4DEF-7763-4EAB-9D86-D536BB5FCB75}"/>
                </a:ext>
              </a:extLst>
            </p:cNvPr>
            <p:cNvSpPr txBox="1"/>
            <p:nvPr/>
          </p:nvSpPr>
          <p:spPr bwMode="auto">
            <a:xfrm>
              <a:off x="3058035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</a:p>
          </p:txBody>
        </p:sp>
        <p:sp>
          <p:nvSpPr>
            <p:cNvPr id="282" name="TextBox 281">
              <a:extLst>
                <a:ext uri="{FF2B5EF4-FFF2-40B4-BE49-F238E27FC236}">
                  <a16:creationId xmlns:a16="http://schemas.microsoft.com/office/drawing/2014/main" id="{819927E4-84DD-402A-92C5-FAC44CE7827F}"/>
                </a:ext>
              </a:extLst>
            </p:cNvPr>
            <p:cNvSpPr txBox="1"/>
            <p:nvPr/>
          </p:nvSpPr>
          <p:spPr bwMode="auto">
            <a:xfrm>
              <a:off x="3635883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</a:p>
          </p:txBody>
        </p: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6DCA4EF6-1BB8-4A32-8D02-C89062DB3F5B}"/>
                </a:ext>
              </a:extLst>
            </p:cNvPr>
            <p:cNvSpPr txBox="1"/>
            <p:nvPr/>
          </p:nvSpPr>
          <p:spPr bwMode="auto">
            <a:xfrm>
              <a:off x="4213734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</a:t>
              </a:r>
            </a:p>
          </p:txBody>
        </p:sp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id="{7A38B18D-7BCC-490E-868B-87DC99B194A1}"/>
                </a:ext>
              </a:extLst>
            </p:cNvPr>
            <p:cNvSpPr txBox="1"/>
            <p:nvPr/>
          </p:nvSpPr>
          <p:spPr bwMode="auto">
            <a:xfrm>
              <a:off x="4789997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</a:t>
              </a:r>
            </a:p>
          </p:txBody>
        </p:sp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9ECD3094-B535-4C69-A832-1D74CFF7628D}"/>
                </a:ext>
              </a:extLst>
            </p:cNvPr>
            <p:cNvSpPr txBox="1"/>
            <p:nvPr/>
          </p:nvSpPr>
          <p:spPr bwMode="auto">
            <a:xfrm>
              <a:off x="5317049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4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DD5E3C8C-6CEA-4603-AA3B-8C75D7F11A93}"/>
                </a:ext>
              </a:extLst>
            </p:cNvPr>
            <p:cNvSpPr txBox="1"/>
            <p:nvPr/>
          </p:nvSpPr>
          <p:spPr bwMode="auto">
            <a:xfrm>
              <a:off x="5894899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8</a:t>
              </a:r>
            </a:p>
          </p:txBody>
        </p:sp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1B32A3C5-C6B0-41D7-8174-75DC47C09B0F}"/>
                </a:ext>
              </a:extLst>
            </p:cNvPr>
            <p:cNvSpPr txBox="1"/>
            <p:nvPr/>
          </p:nvSpPr>
          <p:spPr bwMode="auto">
            <a:xfrm>
              <a:off x="6445762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2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04C208AD-4A36-45C8-9946-FB969242ED4C}"/>
                </a:ext>
              </a:extLst>
            </p:cNvPr>
            <p:cNvSpPr txBox="1"/>
            <p:nvPr/>
          </p:nvSpPr>
          <p:spPr bwMode="auto">
            <a:xfrm>
              <a:off x="7005892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6</a:t>
              </a:r>
            </a:p>
          </p:txBody>
        </p: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383DBA35-EF4D-4345-A096-E5B802BB8AEE}"/>
                </a:ext>
              </a:extLst>
            </p:cNvPr>
            <p:cNvSpPr txBox="1"/>
            <p:nvPr/>
          </p:nvSpPr>
          <p:spPr bwMode="auto">
            <a:xfrm>
              <a:off x="7571045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</a:t>
              </a:r>
            </a:p>
          </p:txBody>
        </p: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3BA62A67-40E9-4AE5-AFCE-565A3AC7BCC1}"/>
                </a:ext>
              </a:extLst>
            </p:cNvPr>
            <p:cNvSpPr txBox="1"/>
            <p:nvPr/>
          </p:nvSpPr>
          <p:spPr bwMode="auto">
            <a:xfrm>
              <a:off x="8139625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4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9EEF26AA-0D06-487F-9916-ADA6BC941595}"/>
                </a:ext>
              </a:extLst>
            </p:cNvPr>
            <p:cNvSpPr txBox="1"/>
            <p:nvPr/>
          </p:nvSpPr>
          <p:spPr bwMode="auto">
            <a:xfrm>
              <a:off x="8698426" y="5717838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8</a:t>
              </a: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9DF5870C-0C1E-41CF-A34C-8610FE34B8A1}"/>
                </a:ext>
              </a:extLst>
            </p:cNvPr>
            <p:cNvSpPr txBox="1"/>
            <p:nvPr/>
          </p:nvSpPr>
          <p:spPr bwMode="auto">
            <a:xfrm>
              <a:off x="2793718" y="6009829"/>
              <a:ext cx="7304088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b="1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nths</a:t>
              </a:r>
            </a:p>
          </p:txBody>
        </p: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2CFAD77C-3A4E-4F60-A793-ED9929323DEE}"/>
                </a:ext>
              </a:extLst>
            </p:cNvPr>
            <p:cNvSpPr txBox="1"/>
            <p:nvPr/>
          </p:nvSpPr>
          <p:spPr bwMode="auto">
            <a:xfrm>
              <a:off x="9267210" y="5717836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2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96163EC1-B3BF-4F93-95A7-2C24966DBC41}"/>
                </a:ext>
              </a:extLst>
            </p:cNvPr>
            <p:cNvSpPr txBox="1"/>
            <p:nvPr/>
          </p:nvSpPr>
          <p:spPr bwMode="auto">
            <a:xfrm>
              <a:off x="9818866" y="5717836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6</a:t>
              </a:r>
            </a:p>
          </p:txBody>
        </p:sp>
        <p:sp>
          <p:nvSpPr>
            <p:cNvPr id="295" name="TextBox 294">
              <a:extLst>
                <a:ext uri="{FF2B5EF4-FFF2-40B4-BE49-F238E27FC236}">
                  <a16:creationId xmlns:a16="http://schemas.microsoft.com/office/drawing/2014/main" id="{100619F7-93FC-4844-8FB8-CC4C9A85913C}"/>
                </a:ext>
              </a:extLst>
            </p:cNvPr>
            <p:cNvSpPr txBox="1"/>
            <p:nvPr/>
          </p:nvSpPr>
          <p:spPr bwMode="auto">
            <a:xfrm>
              <a:off x="10395922" y="5717836"/>
              <a:ext cx="396875" cy="1301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0</a:t>
              </a:r>
            </a:p>
          </p:txBody>
        </p:sp>
        <p:cxnSp>
          <p:nvCxnSpPr>
            <p:cNvPr id="296" name="Straight Connector 295">
              <a:extLst>
                <a:ext uri="{FF2B5EF4-FFF2-40B4-BE49-F238E27FC236}">
                  <a16:creationId xmlns:a16="http://schemas.microsoft.com/office/drawing/2014/main" id="{5C8755A3-699A-4ABA-9412-EA3361E0FE5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903922" y="2932904"/>
              <a:ext cx="8987199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dash"/>
            </a:ln>
            <a:effectLst/>
          </p:spPr>
        </p:cxnSp>
        <p:sp>
          <p:nvSpPr>
            <p:cNvPr id="297" name="Line 30">
              <a:extLst>
                <a:ext uri="{FF2B5EF4-FFF2-40B4-BE49-F238E27FC236}">
                  <a16:creationId xmlns:a16="http://schemas.microsoft.com/office/drawing/2014/main" id="{8408D64F-8540-463A-B5E0-6B63B9B77B9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35169" y="6267432"/>
              <a:ext cx="895595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sp>
          <p:nvSpPr>
            <p:cNvPr id="298" name="Line 31">
              <a:extLst>
                <a:ext uri="{FF2B5EF4-FFF2-40B4-BE49-F238E27FC236}">
                  <a16:creationId xmlns:a16="http://schemas.microsoft.com/office/drawing/2014/main" id="{50D2E55B-097A-4E7C-8A88-5ADDD6D915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35169" y="6864572"/>
              <a:ext cx="895595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sp>
          <p:nvSpPr>
            <p:cNvPr id="299" name="TextBox 298">
              <a:extLst>
                <a:ext uri="{FF2B5EF4-FFF2-40B4-BE49-F238E27FC236}">
                  <a16:creationId xmlns:a16="http://schemas.microsoft.com/office/drawing/2014/main" id="{315D0A11-4869-455F-9068-8ADF5B87B4FF}"/>
                </a:ext>
              </a:extLst>
            </p:cNvPr>
            <p:cNvSpPr txBox="1"/>
            <p:nvPr/>
          </p:nvSpPr>
          <p:spPr bwMode="auto">
            <a:xfrm>
              <a:off x="1945893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95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554</a:t>
              </a:r>
            </a:p>
          </p:txBody>
        </p:sp>
        <p:sp>
          <p:nvSpPr>
            <p:cNvPr id="300" name="TextBox 299">
              <a:extLst>
                <a:ext uri="{FF2B5EF4-FFF2-40B4-BE49-F238E27FC236}">
                  <a16:creationId xmlns:a16="http://schemas.microsoft.com/office/drawing/2014/main" id="{56198D83-780E-4AE3-84FF-F80F2C95258B}"/>
                </a:ext>
              </a:extLst>
            </p:cNvPr>
            <p:cNvSpPr txBox="1"/>
            <p:nvPr/>
          </p:nvSpPr>
          <p:spPr bwMode="auto">
            <a:xfrm>
              <a:off x="2511863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916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511</a:t>
              </a:r>
            </a:p>
          </p:txBody>
        </p:sp>
        <p:sp>
          <p:nvSpPr>
            <p:cNvPr id="301" name="TextBox 300">
              <a:extLst>
                <a:ext uri="{FF2B5EF4-FFF2-40B4-BE49-F238E27FC236}">
                  <a16:creationId xmlns:a16="http://schemas.microsoft.com/office/drawing/2014/main" id="{D24C7306-5C18-47C4-8688-3BD0212E6411}"/>
                </a:ext>
              </a:extLst>
            </p:cNvPr>
            <p:cNvSpPr txBox="1"/>
            <p:nvPr/>
          </p:nvSpPr>
          <p:spPr bwMode="auto">
            <a:xfrm>
              <a:off x="3059372" y="6295830"/>
              <a:ext cx="396875" cy="175644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876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473</a:t>
              </a:r>
            </a:p>
          </p:txBody>
        </p:sp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4A591077-B254-44A4-AA03-786E590FDB2E}"/>
                </a:ext>
              </a:extLst>
            </p:cNvPr>
            <p:cNvSpPr txBox="1"/>
            <p:nvPr/>
          </p:nvSpPr>
          <p:spPr bwMode="auto">
            <a:xfrm>
              <a:off x="3630852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823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424</a:t>
              </a:r>
            </a:p>
          </p:txBody>
        </p:sp>
        <p:sp>
          <p:nvSpPr>
            <p:cNvPr id="303" name="TextBox 302">
              <a:extLst>
                <a:ext uri="{FF2B5EF4-FFF2-40B4-BE49-F238E27FC236}">
                  <a16:creationId xmlns:a16="http://schemas.microsoft.com/office/drawing/2014/main" id="{3F2BEC3D-61BE-4CED-A772-F9223E638D21}"/>
                </a:ext>
              </a:extLst>
            </p:cNvPr>
            <p:cNvSpPr txBox="1"/>
            <p:nvPr/>
          </p:nvSpPr>
          <p:spPr bwMode="auto">
            <a:xfrm>
              <a:off x="4232533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763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388</a:t>
              </a:r>
            </a:p>
          </p:txBody>
        </p:sp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EF972AFB-8801-45DC-A7B5-1F85704C600F}"/>
                </a:ext>
              </a:extLst>
            </p:cNvPr>
            <p:cNvSpPr txBox="1"/>
            <p:nvPr/>
          </p:nvSpPr>
          <p:spPr bwMode="auto">
            <a:xfrm>
              <a:off x="4789997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704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339</a:t>
              </a:r>
            </a:p>
          </p:txBody>
        </p:sp>
        <p:sp>
          <p:nvSpPr>
            <p:cNvPr id="305" name="TextBox 304">
              <a:extLst>
                <a:ext uri="{FF2B5EF4-FFF2-40B4-BE49-F238E27FC236}">
                  <a16:creationId xmlns:a16="http://schemas.microsoft.com/office/drawing/2014/main" id="{9490C09B-4656-4581-8916-A6AEEA0B3B74}"/>
                </a:ext>
              </a:extLst>
            </p:cNvPr>
            <p:cNvSpPr txBox="1"/>
            <p:nvPr/>
          </p:nvSpPr>
          <p:spPr bwMode="auto">
            <a:xfrm>
              <a:off x="5317008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601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282</a:t>
              </a:r>
            </a:p>
          </p:txBody>
        </p:sp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0D909CBF-0381-4532-BD3B-639A59E12E1B}"/>
                </a:ext>
              </a:extLst>
            </p:cNvPr>
            <p:cNvSpPr txBox="1"/>
            <p:nvPr/>
          </p:nvSpPr>
          <p:spPr bwMode="auto">
            <a:xfrm>
              <a:off x="5894898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477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210</a:t>
              </a:r>
            </a:p>
          </p:txBody>
        </p:sp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A083EF13-8FB5-431E-89B4-B0AAFCAD03CB}"/>
                </a:ext>
              </a:extLst>
            </p:cNvPr>
            <p:cNvSpPr txBox="1"/>
            <p:nvPr/>
          </p:nvSpPr>
          <p:spPr bwMode="auto">
            <a:xfrm>
              <a:off x="6445761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363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139</a:t>
              </a:r>
            </a:p>
          </p:txBody>
        </p:sp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0C437052-0A5B-409D-9668-AE7B8DC014C5}"/>
                </a:ext>
              </a:extLst>
            </p:cNvPr>
            <p:cNvSpPr txBox="1"/>
            <p:nvPr/>
          </p:nvSpPr>
          <p:spPr bwMode="auto">
            <a:xfrm>
              <a:off x="7005891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253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93</a:t>
              </a:r>
            </a:p>
          </p:txBody>
        </p:sp>
        <p:sp>
          <p:nvSpPr>
            <p:cNvPr id="309" name="TextBox 308">
              <a:extLst>
                <a:ext uri="{FF2B5EF4-FFF2-40B4-BE49-F238E27FC236}">
                  <a16:creationId xmlns:a16="http://schemas.microsoft.com/office/drawing/2014/main" id="{3DC6EE82-EAEA-4C5F-8DCC-0A003A0FAB29}"/>
                </a:ext>
              </a:extLst>
            </p:cNvPr>
            <p:cNvSpPr txBox="1"/>
            <p:nvPr/>
          </p:nvSpPr>
          <p:spPr bwMode="auto">
            <a:xfrm>
              <a:off x="7583742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182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70</a:t>
              </a:r>
            </a:p>
          </p:txBody>
        </p:sp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8D83306F-648C-48DF-BFED-51BAAD628DF3}"/>
                </a:ext>
              </a:extLst>
            </p:cNvPr>
            <p:cNvSpPr txBox="1"/>
            <p:nvPr/>
          </p:nvSpPr>
          <p:spPr bwMode="auto">
            <a:xfrm>
              <a:off x="8139624" y="6295831"/>
              <a:ext cx="396875" cy="130064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100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38</a:t>
              </a:r>
            </a:p>
          </p:txBody>
        </p: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AD3DB552-1AAF-4267-8AF5-0AE484512EBF}"/>
                </a:ext>
              </a:extLst>
            </p:cNvPr>
            <p:cNvSpPr txBox="1"/>
            <p:nvPr/>
          </p:nvSpPr>
          <p:spPr bwMode="auto">
            <a:xfrm>
              <a:off x="8693697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46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AE59DFF1-6D58-47A5-BBF0-97B62ACE89CD}"/>
                </a:ext>
              </a:extLst>
            </p:cNvPr>
            <p:cNvSpPr txBox="1"/>
            <p:nvPr/>
          </p:nvSpPr>
          <p:spPr bwMode="auto">
            <a:xfrm>
              <a:off x="1275023" y="6295830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700" kern="0">
                <a:solidFill>
                  <a:srgbClr val="000000"/>
                </a:solidFill>
              </a:endParaRPr>
            </a:p>
          </p:txBody>
        </p:sp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E4A93763-0CC3-48F9-A3D3-6ED7811021F9}"/>
                </a:ext>
              </a:extLst>
            </p:cNvPr>
            <p:cNvSpPr txBox="1"/>
            <p:nvPr/>
          </p:nvSpPr>
          <p:spPr bwMode="auto">
            <a:xfrm>
              <a:off x="752232" y="5990468"/>
              <a:ext cx="1384299" cy="131763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b="1" kern="0">
                  <a:solidFill>
                    <a:srgbClr val="000000"/>
                  </a:solidFill>
                </a:rPr>
                <a:t>Number of patients at risk</a:t>
              </a:r>
            </a:p>
          </p:txBody>
        </p:sp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41E8CB69-FC01-494C-A754-0F60B0BBAFDD}"/>
                </a:ext>
              </a:extLst>
            </p:cNvPr>
            <p:cNvSpPr txBox="1"/>
            <p:nvPr/>
          </p:nvSpPr>
          <p:spPr bwMode="auto">
            <a:xfrm>
              <a:off x="9267210" y="6295719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21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93817F49-F85E-4AF4-A306-019AE2C448E2}"/>
                </a:ext>
              </a:extLst>
            </p:cNvPr>
            <p:cNvSpPr txBox="1"/>
            <p:nvPr/>
          </p:nvSpPr>
          <p:spPr bwMode="auto">
            <a:xfrm>
              <a:off x="9818054" y="6295719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4</a:t>
              </a:r>
              <a:br>
                <a:rPr lang="en-GB" sz="700" kern="0">
                  <a:solidFill>
                    <a:srgbClr val="000000"/>
                  </a:solidFill>
                </a:rPr>
              </a:br>
              <a:r>
                <a:rPr lang="en-GB" sz="700" kern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16" name="TextBox 315">
              <a:extLst>
                <a:ext uri="{FF2B5EF4-FFF2-40B4-BE49-F238E27FC236}">
                  <a16:creationId xmlns:a16="http://schemas.microsoft.com/office/drawing/2014/main" id="{AB52926A-A716-4A15-9AA5-B8E349F5B6C0}"/>
                </a:ext>
              </a:extLst>
            </p:cNvPr>
            <p:cNvSpPr txBox="1"/>
            <p:nvPr/>
          </p:nvSpPr>
          <p:spPr bwMode="auto">
            <a:xfrm>
              <a:off x="10395922" y="6295719"/>
              <a:ext cx="396875" cy="130175"/>
            </a:xfrm>
            <a:prstGeom prst="rect">
              <a:avLst/>
            </a:prstGeom>
            <a:noFill/>
          </p:spPr>
          <p:txBody>
            <a:bodyPr wrap="none" lIns="0" tIns="0" rIns="0" bIns="0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kern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17" name="Freeform 5">
              <a:extLst>
                <a:ext uri="{FF2B5EF4-FFF2-40B4-BE49-F238E27FC236}">
                  <a16:creationId xmlns:a16="http://schemas.microsoft.com/office/drawing/2014/main" id="{F2163D5D-6E4D-4CC2-8C8C-158D41AB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9801" y="219271"/>
              <a:ext cx="9044643" cy="5379593"/>
            </a:xfrm>
            <a:custGeom>
              <a:avLst/>
              <a:gdLst>
                <a:gd name="T0" fmla="*/ 0 w 2471"/>
                <a:gd name="T1" fmla="*/ 0 h 1460"/>
                <a:gd name="T2" fmla="*/ 0 w 2471"/>
                <a:gd name="T3" fmla="*/ 2317744 h 1460"/>
                <a:gd name="T4" fmla="*/ 5492863 w 2471"/>
                <a:gd name="T5" fmla="*/ 2317744 h 146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471" h="1460">
                  <a:moveTo>
                    <a:pt x="0" y="0"/>
                  </a:moveTo>
                  <a:lnTo>
                    <a:pt x="0" y="1460"/>
                  </a:lnTo>
                  <a:lnTo>
                    <a:pt x="2471" y="1460"/>
                  </a:lnTo>
                </a:path>
              </a:pathLst>
            </a:cu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grpSp>
          <p:nvGrpSpPr>
            <p:cNvPr id="318" name="Group 31">
              <a:extLst>
                <a:ext uri="{FF2B5EF4-FFF2-40B4-BE49-F238E27FC236}">
                  <a16:creationId xmlns:a16="http://schemas.microsoft.com/office/drawing/2014/main" id="{3736F8AF-24D7-432A-8AF5-0DCE97C66B3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22920" y="326466"/>
              <a:ext cx="122973" cy="5093745"/>
              <a:chOff x="2613025" y="1063404"/>
              <a:chExt cx="41275" cy="2252884"/>
            </a:xfrm>
          </p:grpSpPr>
          <p:sp>
            <p:nvSpPr>
              <p:cNvPr id="342" name="Line 6">
                <a:extLst>
                  <a:ext uri="{FF2B5EF4-FFF2-40B4-BE49-F238E27FC236}">
                    <a16:creationId xmlns:a16="http://schemas.microsoft.com/office/drawing/2014/main" id="{3EF981BE-FF1B-4863-A5BD-A0F9886C7F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063404"/>
                <a:ext cx="2580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" name="Line 7">
                <a:extLst>
                  <a:ext uri="{FF2B5EF4-FFF2-40B4-BE49-F238E27FC236}">
                    <a16:creationId xmlns:a16="http://schemas.microsoft.com/office/drawing/2014/main" id="{CF724851-9CCE-40E3-8306-C4F4664621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295419"/>
                <a:ext cx="2580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" name="Line 8">
                <a:extLst>
                  <a:ext uri="{FF2B5EF4-FFF2-40B4-BE49-F238E27FC236}">
                    <a16:creationId xmlns:a16="http://schemas.microsoft.com/office/drawing/2014/main" id="{39DF1ED9-A65F-4C49-AB25-9646102595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524212"/>
                <a:ext cx="2580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" name="Line 9">
                <a:extLst>
                  <a:ext uri="{FF2B5EF4-FFF2-40B4-BE49-F238E27FC236}">
                    <a16:creationId xmlns:a16="http://schemas.microsoft.com/office/drawing/2014/main" id="{4BAAE3B3-8531-40BC-BEB8-DF0AB8D91A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754615"/>
                <a:ext cx="2580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" name="Line 10">
                <a:extLst>
                  <a:ext uri="{FF2B5EF4-FFF2-40B4-BE49-F238E27FC236}">
                    <a16:creationId xmlns:a16="http://schemas.microsoft.com/office/drawing/2014/main" id="{9A9EB072-45ED-4C36-8923-5A3888C9F89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1983408"/>
                <a:ext cx="2580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" name="Line 11">
                <a:extLst>
                  <a:ext uri="{FF2B5EF4-FFF2-40B4-BE49-F238E27FC236}">
                    <a16:creationId xmlns:a16="http://schemas.microsoft.com/office/drawing/2014/main" id="{7F91E261-6A4D-4383-9415-77AFCEDD9C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2215423"/>
                <a:ext cx="4127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" name="Line 12">
                <a:extLst>
                  <a:ext uri="{FF2B5EF4-FFF2-40B4-BE49-F238E27FC236}">
                    <a16:creationId xmlns:a16="http://schemas.microsoft.com/office/drawing/2014/main" id="{E44BD6A1-EEE0-4C71-AD9F-3740046F6F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2444216"/>
                <a:ext cx="2580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" name="Line 13">
                <a:extLst>
                  <a:ext uri="{FF2B5EF4-FFF2-40B4-BE49-F238E27FC236}">
                    <a16:creationId xmlns:a16="http://schemas.microsoft.com/office/drawing/2014/main" id="{734AF87B-5CE9-43EC-859F-4D13E58068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2674621"/>
                <a:ext cx="2580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" name="Line 14">
                <a:extLst>
                  <a:ext uri="{FF2B5EF4-FFF2-40B4-BE49-F238E27FC236}">
                    <a16:creationId xmlns:a16="http://schemas.microsoft.com/office/drawing/2014/main" id="{07455AB0-6AC0-417A-9DC2-FE8A069AA7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2906636"/>
                <a:ext cx="2580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1" name="Line 15">
                <a:extLst>
                  <a:ext uri="{FF2B5EF4-FFF2-40B4-BE49-F238E27FC236}">
                    <a16:creationId xmlns:a16="http://schemas.microsoft.com/office/drawing/2014/main" id="{9DE922FC-9B7C-4AC9-9359-97208353D6A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3135429"/>
                <a:ext cx="2580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" name="Line 16">
                <a:extLst>
                  <a:ext uri="{FF2B5EF4-FFF2-40B4-BE49-F238E27FC236}">
                    <a16:creationId xmlns:a16="http://schemas.microsoft.com/office/drawing/2014/main" id="{F9026477-BF4A-420A-8B7D-BE97DA37AF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13025" y="3316288"/>
                <a:ext cx="2580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19" name="Group 31">
              <a:extLst>
                <a:ext uri="{FF2B5EF4-FFF2-40B4-BE49-F238E27FC236}">
                  <a16:creationId xmlns:a16="http://schemas.microsoft.com/office/drawing/2014/main" id="{24911B7D-0D34-4069-AE5E-24387FA717AA}"/>
                </a:ext>
              </a:extLst>
            </p:cNvPr>
            <p:cNvGrpSpPr>
              <a:grpSpLocks/>
            </p:cNvGrpSpPr>
            <p:nvPr/>
          </p:nvGrpSpPr>
          <p:grpSpPr bwMode="auto">
            <a:xfrm rot="5400000">
              <a:off x="4943671" y="2799575"/>
              <a:ext cx="33535" cy="5632218"/>
              <a:chOff x="2636323" y="1534883"/>
              <a:chExt cx="18004" cy="1781405"/>
            </a:xfrm>
          </p:grpSpPr>
          <p:sp>
            <p:nvSpPr>
              <p:cNvPr id="331" name="Line 6">
                <a:extLst>
                  <a:ext uri="{FF2B5EF4-FFF2-40B4-BE49-F238E27FC236}">
                    <a16:creationId xmlns:a16="http://schemas.microsoft.com/office/drawing/2014/main" id="{C2680769-78C2-44E5-9F38-435D8E46B9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3" y="1534883"/>
                <a:ext cx="1797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" name="Line 7">
                <a:extLst>
                  <a:ext uri="{FF2B5EF4-FFF2-40B4-BE49-F238E27FC236}">
                    <a16:creationId xmlns:a16="http://schemas.microsoft.com/office/drawing/2014/main" id="{DBE2C35E-72B5-44B7-97B8-ED36058AA3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3" y="1714177"/>
                <a:ext cx="1797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" name="Line 8">
                <a:extLst>
                  <a:ext uri="{FF2B5EF4-FFF2-40B4-BE49-F238E27FC236}">
                    <a16:creationId xmlns:a16="http://schemas.microsoft.com/office/drawing/2014/main" id="{58FC4D2D-38EE-417F-B40C-C594988102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3" y="1894531"/>
                <a:ext cx="1797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" name="Line 9">
                <a:extLst>
                  <a:ext uri="{FF2B5EF4-FFF2-40B4-BE49-F238E27FC236}">
                    <a16:creationId xmlns:a16="http://schemas.microsoft.com/office/drawing/2014/main" id="{6D44B0ED-5C7D-49EF-A690-27F60E3085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3" y="2066420"/>
                <a:ext cx="1797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" name="Line 10">
                <a:extLst>
                  <a:ext uri="{FF2B5EF4-FFF2-40B4-BE49-F238E27FC236}">
                    <a16:creationId xmlns:a16="http://schemas.microsoft.com/office/drawing/2014/main" id="{C793CE71-9624-4FD5-A43B-7DA5810703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3" y="2244755"/>
                <a:ext cx="1797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" name="Line 11">
                <a:extLst>
                  <a:ext uri="{FF2B5EF4-FFF2-40B4-BE49-F238E27FC236}">
                    <a16:creationId xmlns:a16="http://schemas.microsoft.com/office/drawing/2014/main" id="{F9B2E7BF-9785-4B81-A214-146C41711B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3" y="2416517"/>
                <a:ext cx="1797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" name="Line 12">
                <a:extLst>
                  <a:ext uri="{FF2B5EF4-FFF2-40B4-BE49-F238E27FC236}">
                    <a16:creationId xmlns:a16="http://schemas.microsoft.com/office/drawing/2014/main" id="{DBB4C5AC-ED72-4BFF-8FEF-589A0354D5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3" y="2596354"/>
                <a:ext cx="17992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" name="Line 13">
                <a:extLst>
                  <a:ext uri="{FF2B5EF4-FFF2-40B4-BE49-F238E27FC236}">
                    <a16:creationId xmlns:a16="http://schemas.microsoft.com/office/drawing/2014/main" id="{69BC840A-5CE0-4924-8399-C35E49E068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3" y="2779310"/>
                <a:ext cx="1800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" name="Line 14">
                <a:extLst>
                  <a:ext uri="{FF2B5EF4-FFF2-40B4-BE49-F238E27FC236}">
                    <a16:creationId xmlns:a16="http://schemas.microsoft.com/office/drawing/2014/main" id="{D564D4B2-1373-4876-902C-F85924F43F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3" y="2962407"/>
                <a:ext cx="1797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" name="Line 15">
                <a:extLst>
                  <a:ext uri="{FF2B5EF4-FFF2-40B4-BE49-F238E27FC236}">
                    <a16:creationId xmlns:a16="http://schemas.microsoft.com/office/drawing/2014/main" id="{31811BF9-2E3D-464D-AB08-4A3F629929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3" y="3135429"/>
                <a:ext cx="1797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" name="Line 16">
                <a:extLst>
                  <a:ext uri="{FF2B5EF4-FFF2-40B4-BE49-F238E27FC236}">
                    <a16:creationId xmlns:a16="http://schemas.microsoft.com/office/drawing/2014/main" id="{49E568D8-A02B-4AB8-9800-AB3912C68F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36324" y="3316288"/>
                <a:ext cx="17976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eaLnBrk="0" hangingPunct="0">
                  <a:defRPr/>
                </a:pPr>
                <a:endParaRPr lang="en-US" sz="1050" ker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20" name="Line 6">
              <a:extLst>
                <a:ext uri="{FF2B5EF4-FFF2-40B4-BE49-F238E27FC236}">
                  <a16:creationId xmlns:a16="http://schemas.microsoft.com/office/drawing/2014/main" id="{D6FE4068-699F-4405-9099-FD9FD7772546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10012466" y="5615604"/>
              <a:ext cx="3348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sp>
          <p:nvSpPr>
            <p:cNvPr id="321" name="Line 7">
              <a:extLst>
                <a:ext uri="{FF2B5EF4-FFF2-40B4-BE49-F238E27FC236}">
                  <a16:creationId xmlns:a16="http://schemas.microsoft.com/office/drawing/2014/main" id="{0CA099F8-1BF9-48AB-8FC9-F1E39312F21E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9445597" y="5615604"/>
              <a:ext cx="3348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sp>
          <p:nvSpPr>
            <p:cNvPr id="322" name="Line 8">
              <a:extLst>
                <a:ext uri="{FF2B5EF4-FFF2-40B4-BE49-F238E27FC236}">
                  <a16:creationId xmlns:a16="http://schemas.microsoft.com/office/drawing/2014/main" id="{17F6B34B-99AD-4A0A-B53B-A79FA99474BC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8875377" y="5615604"/>
              <a:ext cx="3348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sp>
          <p:nvSpPr>
            <p:cNvPr id="323" name="Line 9">
              <a:extLst>
                <a:ext uri="{FF2B5EF4-FFF2-40B4-BE49-F238E27FC236}">
                  <a16:creationId xmlns:a16="http://schemas.microsoft.com/office/drawing/2014/main" id="{F67B4970-4F6A-4A78-8FEA-9A7A2EA64FBE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8331920" y="5615604"/>
              <a:ext cx="3348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sp>
          <p:nvSpPr>
            <p:cNvPr id="324" name="Line 6">
              <a:extLst>
                <a:ext uri="{FF2B5EF4-FFF2-40B4-BE49-F238E27FC236}">
                  <a16:creationId xmlns:a16="http://schemas.microsoft.com/office/drawing/2014/main" id="{A3611D54-CC08-4A8F-A086-95FF2C4B9948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10580792" y="5615604"/>
              <a:ext cx="3348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21920" tIns="60960" rIns="121920" bIns="60960"/>
            <a:lstStyle/>
            <a:p>
              <a:pPr eaLnBrk="0" hangingPunct="0">
                <a:defRPr/>
              </a:pPr>
              <a:endParaRPr lang="en-US" sz="1050" kern="0">
                <a:solidFill>
                  <a:srgbClr val="000000"/>
                </a:solidFill>
              </a:endParaRPr>
            </a:p>
          </p:txBody>
        </p:sp>
        <p:grpSp>
          <p:nvGrpSpPr>
            <p:cNvPr id="325" name="Group 324">
              <a:extLst>
                <a:ext uri="{FF2B5EF4-FFF2-40B4-BE49-F238E27FC236}">
                  <a16:creationId xmlns:a16="http://schemas.microsoft.com/office/drawing/2014/main" id="{F3E0E876-75C1-4143-BC3D-439F29BC27F2}"/>
                </a:ext>
              </a:extLst>
            </p:cNvPr>
            <p:cNvGrpSpPr/>
            <p:nvPr/>
          </p:nvGrpSpPr>
          <p:grpSpPr>
            <a:xfrm>
              <a:off x="2143125" y="323850"/>
              <a:ext cx="8329613" cy="466726"/>
              <a:chOff x="2143125" y="323850"/>
              <a:chExt cx="8329613" cy="466726"/>
            </a:xfrm>
          </p:grpSpPr>
          <p:sp>
            <p:nvSpPr>
              <p:cNvPr id="329" name="Freeform: Shape 328">
                <a:extLst>
                  <a:ext uri="{FF2B5EF4-FFF2-40B4-BE49-F238E27FC236}">
                    <a16:creationId xmlns:a16="http://schemas.microsoft.com/office/drawing/2014/main" id="{B742E482-12FA-4ABE-B556-C29248249B6A}"/>
                  </a:ext>
                </a:extLst>
              </p:cNvPr>
              <p:cNvSpPr/>
              <p:nvPr/>
            </p:nvSpPr>
            <p:spPr>
              <a:xfrm>
                <a:off x="2143125" y="323850"/>
                <a:ext cx="5976938" cy="338138"/>
              </a:xfrm>
              <a:custGeom>
                <a:avLst/>
                <a:gdLst>
                  <a:gd name="connsiteX0" fmla="*/ 0 w 5976938"/>
                  <a:gd name="connsiteY0" fmla="*/ 0 h 338138"/>
                  <a:gd name="connsiteX1" fmla="*/ 700088 w 5976938"/>
                  <a:gd name="connsiteY1" fmla="*/ 0 h 338138"/>
                  <a:gd name="connsiteX2" fmla="*/ 700088 w 5976938"/>
                  <a:gd name="connsiteY2" fmla="*/ 33338 h 338138"/>
                  <a:gd name="connsiteX3" fmla="*/ 1576388 w 5976938"/>
                  <a:gd name="connsiteY3" fmla="*/ 33338 h 338138"/>
                  <a:gd name="connsiteX4" fmla="*/ 1576388 w 5976938"/>
                  <a:gd name="connsiteY4" fmla="*/ 57150 h 338138"/>
                  <a:gd name="connsiteX5" fmla="*/ 1890713 w 5976938"/>
                  <a:gd name="connsiteY5" fmla="*/ 57150 h 338138"/>
                  <a:gd name="connsiteX6" fmla="*/ 1890713 w 5976938"/>
                  <a:gd name="connsiteY6" fmla="*/ 80963 h 338138"/>
                  <a:gd name="connsiteX7" fmla="*/ 2733675 w 5976938"/>
                  <a:gd name="connsiteY7" fmla="*/ 80963 h 338138"/>
                  <a:gd name="connsiteX8" fmla="*/ 2733675 w 5976938"/>
                  <a:gd name="connsiteY8" fmla="*/ 109538 h 338138"/>
                  <a:gd name="connsiteX9" fmla="*/ 3167063 w 5976938"/>
                  <a:gd name="connsiteY9" fmla="*/ 109538 h 338138"/>
                  <a:gd name="connsiteX10" fmla="*/ 3167063 w 5976938"/>
                  <a:gd name="connsiteY10" fmla="*/ 109538 h 338138"/>
                  <a:gd name="connsiteX11" fmla="*/ 3729038 w 5976938"/>
                  <a:gd name="connsiteY11" fmla="*/ 109538 h 338138"/>
                  <a:gd name="connsiteX12" fmla="*/ 3729038 w 5976938"/>
                  <a:gd name="connsiteY12" fmla="*/ 142875 h 338138"/>
                  <a:gd name="connsiteX13" fmla="*/ 4048125 w 5976938"/>
                  <a:gd name="connsiteY13" fmla="*/ 142875 h 338138"/>
                  <a:gd name="connsiteX14" fmla="*/ 4048125 w 5976938"/>
                  <a:gd name="connsiteY14" fmla="*/ 152400 h 338138"/>
                  <a:gd name="connsiteX15" fmla="*/ 4657725 w 5976938"/>
                  <a:gd name="connsiteY15" fmla="*/ 152400 h 338138"/>
                  <a:gd name="connsiteX16" fmla="*/ 4657725 w 5976938"/>
                  <a:gd name="connsiteY16" fmla="*/ 176213 h 338138"/>
                  <a:gd name="connsiteX17" fmla="*/ 4819650 w 5976938"/>
                  <a:gd name="connsiteY17" fmla="*/ 176213 h 338138"/>
                  <a:gd name="connsiteX18" fmla="*/ 4819650 w 5976938"/>
                  <a:gd name="connsiteY18" fmla="*/ 200025 h 338138"/>
                  <a:gd name="connsiteX19" fmla="*/ 5300663 w 5976938"/>
                  <a:gd name="connsiteY19" fmla="*/ 200025 h 338138"/>
                  <a:gd name="connsiteX20" fmla="*/ 5300663 w 5976938"/>
                  <a:gd name="connsiteY20" fmla="*/ 247650 h 338138"/>
                  <a:gd name="connsiteX21" fmla="*/ 5757863 w 5976938"/>
                  <a:gd name="connsiteY21" fmla="*/ 247650 h 338138"/>
                  <a:gd name="connsiteX22" fmla="*/ 5757863 w 5976938"/>
                  <a:gd name="connsiteY22" fmla="*/ 290513 h 338138"/>
                  <a:gd name="connsiteX23" fmla="*/ 5976938 w 5976938"/>
                  <a:gd name="connsiteY23" fmla="*/ 290513 h 338138"/>
                  <a:gd name="connsiteX24" fmla="*/ 5976938 w 5976938"/>
                  <a:gd name="connsiteY24" fmla="*/ 338138 h 338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976938" h="338138">
                    <a:moveTo>
                      <a:pt x="0" y="0"/>
                    </a:moveTo>
                    <a:lnTo>
                      <a:pt x="700088" y="0"/>
                    </a:lnTo>
                    <a:lnTo>
                      <a:pt x="700088" y="33338"/>
                    </a:lnTo>
                    <a:lnTo>
                      <a:pt x="1576388" y="33338"/>
                    </a:lnTo>
                    <a:lnTo>
                      <a:pt x="1576388" y="57150"/>
                    </a:lnTo>
                    <a:lnTo>
                      <a:pt x="1890713" y="57150"/>
                    </a:lnTo>
                    <a:lnTo>
                      <a:pt x="1890713" y="80963"/>
                    </a:lnTo>
                    <a:lnTo>
                      <a:pt x="2733675" y="80963"/>
                    </a:lnTo>
                    <a:lnTo>
                      <a:pt x="2733675" y="109538"/>
                    </a:lnTo>
                    <a:lnTo>
                      <a:pt x="3167063" y="109538"/>
                    </a:lnTo>
                    <a:lnTo>
                      <a:pt x="3167063" y="109538"/>
                    </a:lnTo>
                    <a:lnTo>
                      <a:pt x="3729038" y="109538"/>
                    </a:lnTo>
                    <a:lnTo>
                      <a:pt x="3729038" y="142875"/>
                    </a:lnTo>
                    <a:lnTo>
                      <a:pt x="4048125" y="142875"/>
                    </a:lnTo>
                    <a:lnTo>
                      <a:pt x="4048125" y="152400"/>
                    </a:lnTo>
                    <a:lnTo>
                      <a:pt x="4657725" y="152400"/>
                    </a:lnTo>
                    <a:lnTo>
                      <a:pt x="4657725" y="176213"/>
                    </a:lnTo>
                    <a:lnTo>
                      <a:pt x="4819650" y="176213"/>
                    </a:lnTo>
                    <a:lnTo>
                      <a:pt x="4819650" y="200025"/>
                    </a:lnTo>
                    <a:lnTo>
                      <a:pt x="5300663" y="200025"/>
                    </a:lnTo>
                    <a:lnTo>
                      <a:pt x="5300663" y="247650"/>
                    </a:lnTo>
                    <a:lnTo>
                      <a:pt x="5757863" y="247650"/>
                    </a:lnTo>
                    <a:lnTo>
                      <a:pt x="5757863" y="290513"/>
                    </a:lnTo>
                    <a:lnTo>
                      <a:pt x="5976938" y="290513"/>
                    </a:lnTo>
                    <a:lnTo>
                      <a:pt x="5976938" y="338138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/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:a16="http://schemas.microsoft.com/office/drawing/2014/main" id="{B6530FA9-0616-4941-A98F-53599B79351B}"/>
                  </a:ext>
                </a:extLst>
              </p:cNvPr>
              <p:cNvSpPr/>
              <p:nvPr/>
            </p:nvSpPr>
            <p:spPr>
              <a:xfrm>
                <a:off x="8124825" y="652464"/>
                <a:ext cx="2347913" cy="138112"/>
              </a:xfrm>
              <a:custGeom>
                <a:avLst/>
                <a:gdLst>
                  <a:gd name="connsiteX0" fmla="*/ 0 w 2347913"/>
                  <a:gd name="connsiteY0" fmla="*/ 0 h 138112"/>
                  <a:gd name="connsiteX1" fmla="*/ 552450 w 2347913"/>
                  <a:gd name="connsiteY1" fmla="*/ 0 h 138112"/>
                  <a:gd name="connsiteX2" fmla="*/ 552450 w 2347913"/>
                  <a:gd name="connsiteY2" fmla="*/ 57150 h 138112"/>
                  <a:gd name="connsiteX3" fmla="*/ 576263 w 2347913"/>
                  <a:gd name="connsiteY3" fmla="*/ 57150 h 138112"/>
                  <a:gd name="connsiteX4" fmla="*/ 576263 w 2347913"/>
                  <a:gd name="connsiteY4" fmla="*/ 138112 h 138112"/>
                  <a:gd name="connsiteX5" fmla="*/ 2347913 w 2347913"/>
                  <a:gd name="connsiteY5" fmla="*/ 138112 h 13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47913" h="138112">
                    <a:moveTo>
                      <a:pt x="0" y="0"/>
                    </a:moveTo>
                    <a:lnTo>
                      <a:pt x="552450" y="0"/>
                    </a:lnTo>
                    <a:lnTo>
                      <a:pt x="552450" y="57150"/>
                    </a:lnTo>
                    <a:lnTo>
                      <a:pt x="576263" y="57150"/>
                    </a:lnTo>
                    <a:lnTo>
                      <a:pt x="576263" y="138112"/>
                    </a:lnTo>
                    <a:lnTo>
                      <a:pt x="2347913" y="138112"/>
                    </a:lnTo>
                  </a:path>
                </a:pathLst>
              </a:custGeom>
              <a:noFill/>
              <a:ln w="38100">
                <a:solidFill>
                  <a:srgbClr val="90DE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C98E2688-CE2A-41AD-B725-40A0A4623933}"/>
                </a:ext>
              </a:extLst>
            </p:cNvPr>
            <p:cNvGrpSpPr/>
            <p:nvPr/>
          </p:nvGrpSpPr>
          <p:grpSpPr>
            <a:xfrm>
              <a:off x="2157413" y="323850"/>
              <a:ext cx="8151812" cy="650875"/>
              <a:chOff x="2157413" y="323850"/>
              <a:chExt cx="8151812" cy="650875"/>
            </a:xfrm>
          </p:grpSpPr>
          <p:sp>
            <p:nvSpPr>
              <p:cNvPr id="327" name="Freeform: Shape 326">
                <a:extLst>
                  <a:ext uri="{FF2B5EF4-FFF2-40B4-BE49-F238E27FC236}">
                    <a16:creationId xmlns:a16="http://schemas.microsoft.com/office/drawing/2014/main" id="{CF810E55-408E-4A1C-A5A9-764768DE4DC3}"/>
                  </a:ext>
                </a:extLst>
              </p:cNvPr>
              <p:cNvSpPr/>
              <p:nvPr/>
            </p:nvSpPr>
            <p:spPr>
              <a:xfrm>
                <a:off x="2157413" y="323850"/>
                <a:ext cx="5372100" cy="390525"/>
              </a:xfrm>
              <a:custGeom>
                <a:avLst/>
                <a:gdLst>
                  <a:gd name="connsiteX0" fmla="*/ 0 w 5372100"/>
                  <a:gd name="connsiteY0" fmla="*/ 0 h 390525"/>
                  <a:gd name="connsiteX1" fmla="*/ 685800 w 5372100"/>
                  <a:gd name="connsiteY1" fmla="*/ 0 h 390525"/>
                  <a:gd name="connsiteX2" fmla="*/ 685800 w 5372100"/>
                  <a:gd name="connsiteY2" fmla="*/ 42863 h 390525"/>
                  <a:gd name="connsiteX3" fmla="*/ 1009650 w 5372100"/>
                  <a:gd name="connsiteY3" fmla="*/ 42863 h 390525"/>
                  <a:gd name="connsiteX4" fmla="*/ 1009650 w 5372100"/>
                  <a:gd name="connsiteY4" fmla="*/ 76200 h 390525"/>
                  <a:gd name="connsiteX5" fmla="*/ 1333500 w 5372100"/>
                  <a:gd name="connsiteY5" fmla="*/ 76200 h 390525"/>
                  <a:gd name="connsiteX6" fmla="*/ 1333500 w 5372100"/>
                  <a:gd name="connsiteY6" fmla="*/ 85725 h 390525"/>
                  <a:gd name="connsiteX7" fmla="*/ 1562100 w 5372100"/>
                  <a:gd name="connsiteY7" fmla="*/ 85725 h 390525"/>
                  <a:gd name="connsiteX8" fmla="*/ 1562100 w 5372100"/>
                  <a:gd name="connsiteY8" fmla="*/ 128588 h 390525"/>
                  <a:gd name="connsiteX9" fmla="*/ 1909762 w 5372100"/>
                  <a:gd name="connsiteY9" fmla="*/ 128588 h 390525"/>
                  <a:gd name="connsiteX10" fmla="*/ 1909762 w 5372100"/>
                  <a:gd name="connsiteY10" fmla="*/ 133350 h 390525"/>
                  <a:gd name="connsiteX11" fmla="*/ 2185987 w 5372100"/>
                  <a:gd name="connsiteY11" fmla="*/ 133350 h 390525"/>
                  <a:gd name="connsiteX12" fmla="*/ 2185987 w 5372100"/>
                  <a:gd name="connsiteY12" fmla="*/ 157163 h 390525"/>
                  <a:gd name="connsiteX13" fmla="*/ 2381250 w 5372100"/>
                  <a:gd name="connsiteY13" fmla="*/ 157163 h 390525"/>
                  <a:gd name="connsiteX14" fmla="*/ 2381250 w 5372100"/>
                  <a:gd name="connsiteY14" fmla="*/ 180975 h 390525"/>
                  <a:gd name="connsiteX15" fmla="*/ 2581275 w 5372100"/>
                  <a:gd name="connsiteY15" fmla="*/ 180975 h 390525"/>
                  <a:gd name="connsiteX16" fmla="*/ 2581275 w 5372100"/>
                  <a:gd name="connsiteY16" fmla="*/ 204788 h 390525"/>
                  <a:gd name="connsiteX17" fmla="*/ 2709862 w 5372100"/>
                  <a:gd name="connsiteY17" fmla="*/ 204788 h 390525"/>
                  <a:gd name="connsiteX18" fmla="*/ 2709862 w 5372100"/>
                  <a:gd name="connsiteY18" fmla="*/ 219075 h 390525"/>
                  <a:gd name="connsiteX19" fmla="*/ 3281362 w 5372100"/>
                  <a:gd name="connsiteY19" fmla="*/ 219075 h 390525"/>
                  <a:gd name="connsiteX20" fmla="*/ 3281362 w 5372100"/>
                  <a:gd name="connsiteY20" fmla="*/ 247650 h 390525"/>
                  <a:gd name="connsiteX21" fmla="*/ 3943350 w 5372100"/>
                  <a:gd name="connsiteY21" fmla="*/ 247650 h 390525"/>
                  <a:gd name="connsiteX22" fmla="*/ 3943350 w 5372100"/>
                  <a:gd name="connsiteY22" fmla="*/ 285750 h 390525"/>
                  <a:gd name="connsiteX23" fmla="*/ 4024312 w 5372100"/>
                  <a:gd name="connsiteY23" fmla="*/ 285750 h 390525"/>
                  <a:gd name="connsiteX24" fmla="*/ 4024312 w 5372100"/>
                  <a:gd name="connsiteY24" fmla="*/ 304800 h 390525"/>
                  <a:gd name="connsiteX25" fmla="*/ 4105275 w 5372100"/>
                  <a:gd name="connsiteY25" fmla="*/ 304800 h 390525"/>
                  <a:gd name="connsiteX26" fmla="*/ 4105275 w 5372100"/>
                  <a:gd name="connsiteY26" fmla="*/ 333375 h 390525"/>
                  <a:gd name="connsiteX27" fmla="*/ 4486275 w 5372100"/>
                  <a:gd name="connsiteY27" fmla="*/ 333375 h 390525"/>
                  <a:gd name="connsiteX28" fmla="*/ 4486275 w 5372100"/>
                  <a:gd name="connsiteY28" fmla="*/ 361950 h 390525"/>
                  <a:gd name="connsiteX29" fmla="*/ 4767262 w 5372100"/>
                  <a:gd name="connsiteY29" fmla="*/ 361950 h 390525"/>
                  <a:gd name="connsiteX30" fmla="*/ 4767262 w 5372100"/>
                  <a:gd name="connsiteY30" fmla="*/ 390525 h 390525"/>
                  <a:gd name="connsiteX31" fmla="*/ 5372100 w 5372100"/>
                  <a:gd name="connsiteY31" fmla="*/ 390525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372100" h="390525">
                    <a:moveTo>
                      <a:pt x="0" y="0"/>
                    </a:moveTo>
                    <a:lnTo>
                      <a:pt x="685800" y="0"/>
                    </a:lnTo>
                    <a:lnTo>
                      <a:pt x="685800" y="42863"/>
                    </a:lnTo>
                    <a:lnTo>
                      <a:pt x="1009650" y="42863"/>
                    </a:lnTo>
                    <a:lnTo>
                      <a:pt x="1009650" y="76200"/>
                    </a:lnTo>
                    <a:lnTo>
                      <a:pt x="1333500" y="76200"/>
                    </a:lnTo>
                    <a:lnTo>
                      <a:pt x="1333500" y="85725"/>
                    </a:lnTo>
                    <a:lnTo>
                      <a:pt x="1562100" y="85725"/>
                    </a:lnTo>
                    <a:lnTo>
                      <a:pt x="1562100" y="128588"/>
                    </a:lnTo>
                    <a:lnTo>
                      <a:pt x="1909762" y="128588"/>
                    </a:lnTo>
                    <a:lnTo>
                      <a:pt x="1909762" y="133350"/>
                    </a:lnTo>
                    <a:lnTo>
                      <a:pt x="2185987" y="133350"/>
                    </a:lnTo>
                    <a:lnTo>
                      <a:pt x="2185987" y="157163"/>
                    </a:lnTo>
                    <a:lnTo>
                      <a:pt x="2381250" y="157163"/>
                    </a:lnTo>
                    <a:lnTo>
                      <a:pt x="2381250" y="180975"/>
                    </a:lnTo>
                    <a:lnTo>
                      <a:pt x="2581275" y="180975"/>
                    </a:lnTo>
                    <a:lnTo>
                      <a:pt x="2581275" y="204788"/>
                    </a:lnTo>
                    <a:lnTo>
                      <a:pt x="2709862" y="204788"/>
                    </a:lnTo>
                    <a:lnTo>
                      <a:pt x="2709862" y="219075"/>
                    </a:lnTo>
                    <a:lnTo>
                      <a:pt x="3281362" y="219075"/>
                    </a:lnTo>
                    <a:lnTo>
                      <a:pt x="3281362" y="247650"/>
                    </a:lnTo>
                    <a:lnTo>
                      <a:pt x="3943350" y="247650"/>
                    </a:lnTo>
                    <a:lnTo>
                      <a:pt x="3943350" y="285750"/>
                    </a:lnTo>
                    <a:lnTo>
                      <a:pt x="4024312" y="285750"/>
                    </a:lnTo>
                    <a:lnTo>
                      <a:pt x="4024312" y="304800"/>
                    </a:lnTo>
                    <a:lnTo>
                      <a:pt x="4105275" y="304800"/>
                    </a:lnTo>
                    <a:lnTo>
                      <a:pt x="4105275" y="333375"/>
                    </a:lnTo>
                    <a:lnTo>
                      <a:pt x="4486275" y="333375"/>
                    </a:lnTo>
                    <a:lnTo>
                      <a:pt x="4486275" y="361950"/>
                    </a:lnTo>
                    <a:lnTo>
                      <a:pt x="4767262" y="361950"/>
                    </a:lnTo>
                    <a:lnTo>
                      <a:pt x="4767262" y="390525"/>
                    </a:lnTo>
                    <a:lnTo>
                      <a:pt x="5372100" y="390525"/>
                    </a:lnTo>
                  </a:path>
                </a:pathLst>
              </a:custGeom>
              <a:noFill/>
              <a:ln w="38100">
                <a:solidFill>
                  <a:srgbClr val="BDBD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/>
              </a:p>
            </p:txBody>
          </p:sp>
          <p:sp>
            <p:nvSpPr>
              <p:cNvPr id="328" name="Freeform: Shape 327">
                <a:extLst>
                  <a:ext uri="{FF2B5EF4-FFF2-40B4-BE49-F238E27FC236}">
                    <a16:creationId xmlns:a16="http://schemas.microsoft.com/office/drawing/2014/main" id="{8BF72760-8CEF-481E-A23A-7AF84C63912D}"/>
                  </a:ext>
                </a:extLst>
              </p:cNvPr>
              <p:cNvSpPr/>
              <p:nvPr/>
            </p:nvSpPr>
            <p:spPr>
              <a:xfrm>
                <a:off x="7531100" y="717550"/>
                <a:ext cx="2778125" cy="257175"/>
              </a:xfrm>
              <a:custGeom>
                <a:avLst/>
                <a:gdLst>
                  <a:gd name="connsiteX0" fmla="*/ 0 w 2778125"/>
                  <a:gd name="connsiteY0" fmla="*/ 0 h 257175"/>
                  <a:gd name="connsiteX1" fmla="*/ 0 w 2778125"/>
                  <a:gd name="connsiteY1" fmla="*/ 50800 h 257175"/>
                  <a:gd name="connsiteX2" fmla="*/ 73025 w 2778125"/>
                  <a:gd name="connsiteY2" fmla="*/ 50800 h 257175"/>
                  <a:gd name="connsiteX3" fmla="*/ 73025 w 2778125"/>
                  <a:gd name="connsiteY3" fmla="*/ 133350 h 257175"/>
                  <a:gd name="connsiteX4" fmla="*/ 917575 w 2778125"/>
                  <a:gd name="connsiteY4" fmla="*/ 133350 h 257175"/>
                  <a:gd name="connsiteX5" fmla="*/ 917575 w 2778125"/>
                  <a:gd name="connsiteY5" fmla="*/ 257175 h 257175"/>
                  <a:gd name="connsiteX6" fmla="*/ 2778125 w 2778125"/>
                  <a:gd name="connsiteY6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78125" h="257175">
                    <a:moveTo>
                      <a:pt x="0" y="0"/>
                    </a:moveTo>
                    <a:lnTo>
                      <a:pt x="0" y="50800"/>
                    </a:lnTo>
                    <a:lnTo>
                      <a:pt x="73025" y="50800"/>
                    </a:lnTo>
                    <a:lnTo>
                      <a:pt x="73025" y="133350"/>
                    </a:lnTo>
                    <a:lnTo>
                      <a:pt x="917575" y="133350"/>
                    </a:lnTo>
                    <a:lnTo>
                      <a:pt x="917575" y="257175"/>
                    </a:lnTo>
                    <a:lnTo>
                      <a:pt x="2778125" y="257175"/>
                    </a:lnTo>
                  </a:path>
                </a:pathLst>
              </a:custGeom>
              <a:noFill/>
              <a:ln w="38100">
                <a:solidFill>
                  <a:srgbClr val="BDBD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/>
              </a:p>
            </p:txBody>
          </p:sp>
        </p:grpSp>
      </p:grpSp>
      <p:grpSp>
        <p:nvGrpSpPr>
          <p:cNvPr id="354" name="Group 105">
            <a:extLst>
              <a:ext uri="{FF2B5EF4-FFF2-40B4-BE49-F238E27FC236}">
                <a16:creationId xmlns:a16="http://schemas.microsoft.com/office/drawing/2014/main" id="{5E5F3BE1-EE5D-4B38-B7C1-9CB4E561B7FD}"/>
              </a:ext>
            </a:extLst>
          </p:cNvPr>
          <p:cNvGrpSpPr>
            <a:grpSpLocks/>
          </p:cNvGrpSpPr>
          <p:nvPr/>
        </p:nvGrpSpPr>
        <p:grpSpPr bwMode="auto">
          <a:xfrm>
            <a:off x="4824146" y="4169501"/>
            <a:ext cx="1611687" cy="415498"/>
            <a:chOff x="8462503" y="4730066"/>
            <a:chExt cx="2593061" cy="440244"/>
          </a:xfrm>
        </p:grpSpPr>
        <p:sp>
          <p:nvSpPr>
            <p:cNvPr id="355" name="TextBox 106">
              <a:extLst>
                <a:ext uri="{FF2B5EF4-FFF2-40B4-BE49-F238E27FC236}">
                  <a16:creationId xmlns:a16="http://schemas.microsoft.com/office/drawing/2014/main" id="{43A28901-299D-4887-B345-5FDD9C36D1B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06005" y="4730066"/>
              <a:ext cx="2349559" cy="4402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1pPr>
              <a:lvl2pPr marL="742950" indent="-285750"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2pPr>
              <a:lvl3pPr marL="1143000" indent="-228600"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3pPr>
              <a:lvl4pPr marL="1600200" indent="-228600"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4pPr>
              <a:lvl5pPr marL="2057400" indent="-228600"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5pPr>
              <a:lvl6pPr marL="2514600" indent="-228600" defTabSz="12176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6pPr>
              <a:lvl7pPr marL="2971800" indent="-228600" defTabSz="12176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7pPr>
              <a:lvl8pPr marL="3429000" indent="-228600" defTabSz="12176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8pPr>
              <a:lvl9pPr marL="3886200" indent="-228600" defTabSz="12176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9pPr>
            </a:lstStyle>
            <a:p>
              <a:pPr>
                <a:defRPr/>
              </a:pPr>
              <a:r>
                <a:rPr lang="en-US" altLang="en-US" sz="1050" kern="0">
                  <a:solidFill>
                    <a:srgbClr val="000000"/>
                  </a:solidFill>
                </a:rPr>
                <a:t>Darolutamide</a:t>
              </a:r>
            </a:p>
            <a:p>
              <a:pPr>
                <a:defRPr/>
              </a:pPr>
              <a:r>
                <a:rPr lang="en-US" altLang="en-US" sz="1050" kern="0">
                  <a:solidFill>
                    <a:srgbClr val="000000"/>
                  </a:solidFill>
                </a:rPr>
                <a:t>Placebo</a:t>
              </a:r>
            </a:p>
          </p:txBody>
        </p: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C6AFD696-85EB-4266-BFA7-495E58439152}"/>
                </a:ext>
              </a:extLst>
            </p:cNvPr>
            <p:cNvCxnSpPr/>
            <p:nvPr/>
          </p:nvCxnSpPr>
          <p:spPr>
            <a:xfrm>
              <a:off x="8462505" y="4898869"/>
              <a:ext cx="294238" cy="0"/>
            </a:xfrm>
            <a:prstGeom prst="line">
              <a:avLst/>
            </a:prstGeom>
            <a:noFill/>
            <a:ln w="25400" cap="flat" cmpd="sng" algn="ctr">
              <a:solidFill>
                <a:srgbClr val="77C45E"/>
              </a:solidFill>
              <a:prstDash val="solid"/>
            </a:ln>
            <a:effectLst/>
          </p:spPr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DFC7CE4E-3D46-46F7-9C32-A67823516F58}"/>
                </a:ext>
              </a:extLst>
            </p:cNvPr>
            <p:cNvCxnSpPr/>
            <p:nvPr/>
          </p:nvCxnSpPr>
          <p:spPr>
            <a:xfrm>
              <a:off x="8462503" y="5034512"/>
              <a:ext cx="294238" cy="0"/>
            </a:xfrm>
            <a:prstGeom prst="line">
              <a:avLst/>
            </a:prstGeom>
            <a:noFill/>
            <a:ln w="2540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</a:ln>
            <a:effectLst/>
          </p:spPr>
        </p:cxnSp>
      </p:grpSp>
      <p:grpSp>
        <p:nvGrpSpPr>
          <p:cNvPr id="358" name="Group 105">
            <a:extLst>
              <a:ext uri="{FF2B5EF4-FFF2-40B4-BE49-F238E27FC236}">
                <a16:creationId xmlns:a16="http://schemas.microsoft.com/office/drawing/2014/main" id="{48E085D4-7266-4E32-B3C6-B12172B1768D}"/>
              </a:ext>
            </a:extLst>
          </p:cNvPr>
          <p:cNvGrpSpPr>
            <a:grpSpLocks/>
          </p:cNvGrpSpPr>
          <p:nvPr/>
        </p:nvGrpSpPr>
        <p:grpSpPr bwMode="auto">
          <a:xfrm>
            <a:off x="8922842" y="4154653"/>
            <a:ext cx="1611687" cy="415498"/>
            <a:chOff x="8462503" y="4730066"/>
            <a:chExt cx="2593061" cy="440244"/>
          </a:xfrm>
        </p:grpSpPr>
        <p:sp>
          <p:nvSpPr>
            <p:cNvPr id="359" name="TextBox 106">
              <a:extLst>
                <a:ext uri="{FF2B5EF4-FFF2-40B4-BE49-F238E27FC236}">
                  <a16:creationId xmlns:a16="http://schemas.microsoft.com/office/drawing/2014/main" id="{79A9ACBF-94F7-4C01-9BB2-4A0344BA82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06005" y="4730066"/>
              <a:ext cx="2349559" cy="4402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1pPr>
              <a:lvl2pPr marL="742950" indent="-285750"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2pPr>
              <a:lvl3pPr marL="1143000" indent="-228600"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3pPr>
              <a:lvl4pPr marL="1600200" indent="-228600"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4pPr>
              <a:lvl5pPr marL="2057400" indent="-228600" defTabSz="12176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5pPr>
              <a:lvl6pPr marL="2514600" indent="-228600" defTabSz="12176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6pPr>
              <a:lvl7pPr marL="2971800" indent="-228600" defTabSz="12176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7pPr>
              <a:lvl8pPr marL="3429000" indent="-228600" defTabSz="12176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8pPr>
              <a:lvl9pPr marL="3886200" indent="-228600" defTabSz="12176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Arial Unicode MS"/>
                  <a:cs typeface="Arial Unicode MS"/>
                </a:defRPr>
              </a:lvl9pPr>
            </a:lstStyle>
            <a:p>
              <a:pPr>
                <a:defRPr/>
              </a:pPr>
              <a:r>
                <a:rPr lang="en-US" altLang="en-US" sz="1050" kern="0">
                  <a:solidFill>
                    <a:srgbClr val="000000"/>
                  </a:solidFill>
                </a:rPr>
                <a:t>Darolutamide</a:t>
              </a:r>
            </a:p>
            <a:p>
              <a:pPr>
                <a:defRPr/>
              </a:pPr>
              <a:r>
                <a:rPr lang="en-US" altLang="en-US" sz="1050" kern="0">
                  <a:solidFill>
                    <a:srgbClr val="000000"/>
                  </a:solidFill>
                </a:rPr>
                <a:t>Placebo</a:t>
              </a:r>
            </a:p>
          </p:txBody>
        </p: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E6388CF9-4BCE-43E0-B0AD-CDFAF634701C}"/>
                </a:ext>
              </a:extLst>
            </p:cNvPr>
            <p:cNvCxnSpPr/>
            <p:nvPr/>
          </p:nvCxnSpPr>
          <p:spPr>
            <a:xfrm>
              <a:off x="8462505" y="4898869"/>
              <a:ext cx="294238" cy="0"/>
            </a:xfrm>
            <a:prstGeom prst="line">
              <a:avLst/>
            </a:prstGeom>
            <a:noFill/>
            <a:ln w="25400" cap="flat" cmpd="sng" algn="ctr">
              <a:solidFill>
                <a:srgbClr val="77C45E"/>
              </a:solidFill>
              <a:prstDash val="solid"/>
            </a:ln>
            <a:effectLst/>
          </p:spPr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88F82CA0-2D63-44ED-A20F-C93975112718}"/>
                </a:ext>
              </a:extLst>
            </p:cNvPr>
            <p:cNvCxnSpPr/>
            <p:nvPr/>
          </p:nvCxnSpPr>
          <p:spPr>
            <a:xfrm>
              <a:off x="8462503" y="5034512"/>
              <a:ext cx="294238" cy="0"/>
            </a:xfrm>
            <a:prstGeom prst="line">
              <a:avLst/>
            </a:prstGeom>
            <a:noFill/>
            <a:ln w="2540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</a:ln>
            <a:effectLst/>
          </p:spPr>
        </p:cxnSp>
      </p:grpSp>
      <p:sp>
        <p:nvSpPr>
          <p:cNvPr id="362" name="TextBox 361">
            <a:extLst>
              <a:ext uri="{FF2B5EF4-FFF2-40B4-BE49-F238E27FC236}">
                <a16:creationId xmlns:a16="http://schemas.microsoft.com/office/drawing/2014/main" id="{C4AC9933-D99B-4623-89F1-52556478BCA5}"/>
              </a:ext>
            </a:extLst>
          </p:cNvPr>
          <p:cNvSpPr txBox="1"/>
          <p:nvPr/>
        </p:nvSpPr>
        <p:spPr>
          <a:xfrm>
            <a:off x="4879805" y="3224532"/>
            <a:ext cx="1578587" cy="305911"/>
          </a:xfrm>
          <a:prstGeom prst="rect">
            <a:avLst/>
          </a:prstGeom>
          <a:noFill/>
          <a:ln>
            <a:solidFill>
              <a:srgbClr val="89D329"/>
            </a:solidFill>
          </a:ln>
        </p:spPr>
        <p:txBody>
          <a:bodyPr wrap="none" lIns="121920" tIns="0" rIns="121920" bIns="0" anchor="ctr"/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0" b="1" kern="0">
                <a:solidFill>
                  <a:srgbClr val="000000"/>
                </a:solidFill>
              </a:rPr>
              <a:t>HR</a:t>
            </a:r>
            <a:r>
              <a:rPr lang="it-IT" sz="900" kern="0">
                <a:solidFill>
                  <a:srgbClr val="000000"/>
                </a:solidFill>
              </a:rPr>
              <a:t> 0.58 (95% CI 0.44-0.76)</a:t>
            </a:r>
          </a:p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0" i="1" kern="0">
                <a:solidFill>
                  <a:srgbClr val="000000"/>
                </a:solidFill>
              </a:rPr>
              <a:t>P</a:t>
            </a:r>
            <a:r>
              <a:rPr lang="it-IT" sz="900" kern="0">
                <a:solidFill>
                  <a:srgbClr val="000000"/>
                </a:solidFill>
              </a:rPr>
              <a:t>&lt;0.001</a:t>
            </a:r>
            <a:endParaRPr lang="en-GB" sz="900" kern="0">
              <a:solidFill>
                <a:srgbClr val="000000"/>
              </a:solidFill>
            </a:endParaRPr>
          </a:p>
        </p:txBody>
      </p:sp>
      <p:sp>
        <p:nvSpPr>
          <p:cNvPr id="363" name="TextBox 362">
            <a:extLst>
              <a:ext uri="{FF2B5EF4-FFF2-40B4-BE49-F238E27FC236}">
                <a16:creationId xmlns:a16="http://schemas.microsoft.com/office/drawing/2014/main" id="{63A57088-7739-403B-99D7-D9A2951C3CC5}"/>
              </a:ext>
            </a:extLst>
          </p:cNvPr>
          <p:cNvSpPr txBox="1"/>
          <p:nvPr/>
        </p:nvSpPr>
        <p:spPr>
          <a:xfrm>
            <a:off x="8955767" y="3236724"/>
            <a:ext cx="1578587" cy="305911"/>
          </a:xfrm>
          <a:prstGeom prst="rect">
            <a:avLst/>
          </a:prstGeom>
          <a:noFill/>
          <a:ln>
            <a:solidFill>
              <a:srgbClr val="89D329"/>
            </a:solidFill>
          </a:ln>
        </p:spPr>
        <p:txBody>
          <a:bodyPr wrap="none" lIns="121920" tIns="0" rIns="121920" bIns="0" anchor="ctr"/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0" b="1" kern="0">
                <a:solidFill>
                  <a:srgbClr val="000000"/>
                </a:solidFill>
              </a:rPr>
              <a:t>HR</a:t>
            </a:r>
            <a:r>
              <a:rPr lang="it-IT" sz="900" kern="0">
                <a:solidFill>
                  <a:srgbClr val="000000"/>
                </a:solidFill>
              </a:rPr>
              <a:t> 0.48 (95% CI 0.29-0.82)</a:t>
            </a:r>
          </a:p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0" i="1" kern="0">
                <a:solidFill>
                  <a:srgbClr val="000000"/>
                </a:solidFill>
              </a:rPr>
              <a:t>P</a:t>
            </a:r>
            <a:r>
              <a:rPr lang="it-IT" sz="900" kern="0">
                <a:solidFill>
                  <a:srgbClr val="000000"/>
                </a:solidFill>
              </a:rPr>
              <a:t>=0.005</a:t>
            </a:r>
            <a:endParaRPr lang="en-GB" sz="900" kern="0">
              <a:solidFill>
                <a:srgbClr val="000000"/>
              </a:solidFill>
            </a:endParaRPr>
          </a:p>
        </p:txBody>
      </p:sp>
      <p:sp>
        <p:nvSpPr>
          <p:cNvPr id="364" name="TextBox 363">
            <a:extLst>
              <a:ext uri="{FF2B5EF4-FFF2-40B4-BE49-F238E27FC236}">
                <a16:creationId xmlns:a16="http://schemas.microsoft.com/office/drawing/2014/main" id="{A6F899DC-0BAE-4CBB-B5A9-6FCA529D09BC}"/>
              </a:ext>
            </a:extLst>
          </p:cNvPr>
          <p:cNvSpPr txBox="1"/>
          <p:nvPr/>
        </p:nvSpPr>
        <p:spPr bwMode="gray">
          <a:xfrm>
            <a:off x="1250115" y="1981961"/>
            <a:ext cx="2156381" cy="4019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 b="1"/>
              <a:t>Time to Pain Progression</a:t>
            </a:r>
            <a:r>
              <a:rPr lang="en-US" sz="1400" b="1" baseline="30000"/>
              <a:t>†</a:t>
            </a:r>
            <a:endParaRPr lang="en-US" sz="1400" b="1"/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739032EB-E1CD-4143-BC58-76E0CF643844}"/>
              </a:ext>
            </a:extLst>
          </p:cNvPr>
          <p:cNvSpPr txBox="1"/>
          <p:nvPr/>
        </p:nvSpPr>
        <p:spPr bwMode="gray">
          <a:xfrm>
            <a:off x="5450253" y="1981786"/>
            <a:ext cx="2156381" cy="4022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 b="1"/>
              <a:t>Time to First Cytotoxic Chemotherapy</a:t>
            </a: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0398D5FF-06D0-4A5B-8E53-432FDC4333B2}"/>
              </a:ext>
            </a:extLst>
          </p:cNvPr>
          <p:cNvSpPr txBox="1"/>
          <p:nvPr/>
        </p:nvSpPr>
        <p:spPr bwMode="gray">
          <a:xfrm>
            <a:off x="9186319" y="1980206"/>
            <a:ext cx="2287926" cy="4022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 b="1"/>
              <a:t>Time to First Symptomatic Skeletal Event</a:t>
            </a:r>
          </a:p>
        </p:txBody>
      </p:sp>
    </p:spTree>
    <p:extLst>
      <p:ext uri="{BB962C8B-B14F-4D97-AF65-F5344CB8AC3E}">
        <p14:creationId xmlns:p14="http://schemas.microsoft.com/office/powerpoint/2010/main" val="141633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8998">
        <p:fade/>
      </p:transition>
    </mc:Choice>
    <mc:Fallback xmlns="">
      <p:transition spd="med" advTm="58998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7BC64B2-66EF-45BA-A9AD-B2AE020B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AMIS: Quality of Life (QOL) </a:t>
            </a:r>
            <a:r>
              <a:rPr lang="en-US" baseline="30000" dirty="0"/>
              <a:t>37,38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2DD8A76-86D0-4051-89F1-1ACE66162C1F}"/>
              </a:ext>
            </a:extLst>
          </p:cNvPr>
          <p:cNvSpPr txBox="1">
            <a:spLocks/>
          </p:cNvSpPr>
          <p:nvPr/>
        </p:nvSpPr>
        <p:spPr bwMode="gray">
          <a:xfrm>
            <a:off x="589041" y="1126438"/>
            <a:ext cx="11193569" cy="166538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fontAlgn="base">
              <a:spcBef>
                <a:spcPts val="300"/>
              </a:spcBef>
              <a:spcAft>
                <a:spcPts val="600"/>
              </a:spcAft>
              <a:buBlip>
                <a:blip r:embed="rId3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fontAlgn="base">
              <a:spcBef>
                <a:spcPts val="300"/>
              </a:spcBef>
              <a:spcAft>
                <a:spcPts val="600"/>
              </a:spcAft>
              <a:buBlip>
                <a:blip r:embed="rId4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rtl="0" fontAlgn="base">
              <a:spcBef>
                <a:spcPts val="300"/>
              </a:spcBef>
              <a:spcAft>
                <a:spcPts val="600"/>
              </a:spcAft>
              <a:buBlip>
                <a:blip r:embed="rId5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rtl="0" fontAlgn="base">
              <a:spcBef>
                <a:spcPts val="300"/>
              </a:spcBef>
              <a:spcAft>
                <a:spcPts val="600"/>
              </a:spcAft>
              <a:buBlip>
                <a:blip r:embed="rId6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As men with </a:t>
            </a:r>
            <a:r>
              <a:rPr lang="en-US" sz="1600" dirty="0" err="1">
                <a:solidFill>
                  <a:srgbClr val="000000"/>
                </a:solidFill>
                <a:latin typeface="Arial"/>
                <a:cs typeface="Arial"/>
              </a:rPr>
              <a:t>nmCRPC</a:t>
            </a: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 generally are asymptomatic from their cancer and have good QOL, it is important to maintain their lifestyles</a:t>
            </a:r>
          </a:p>
          <a:p>
            <a:pPr lvl="1">
              <a:spcAft>
                <a:spcPts val="0"/>
              </a:spcAft>
              <a:defRPr/>
            </a:pPr>
            <a:r>
              <a:rPr lang="en-US" sz="1600" dirty="0" err="1">
                <a:solidFill>
                  <a:srgbClr val="000000"/>
                </a:solidFill>
                <a:latin typeface="Arial"/>
                <a:cs typeface="Arial"/>
              </a:rPr>
              <a:t>Darolutamide</a:t>
            </a: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 maintained QOL for patients with </a:t>
            </a:r>
            <a:r>
              <a:rPr lang="en-US" sz="1600" dirty="0" err="1">
                <a:solidFill>
                  <a:srgbClr val="000000"/>
                </a:solidFill>
                <a:latin typeface="Arial"/>
                <a:cs typeface="Arial"/>
              </a:rPr>
              <a:t>nmCRPC</a:t>
            </a: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 and significantly delayed deterioration of FACT-P PCS scores when compared to placebo</a:t>
            </a:r>
            <a:endParaRPr lang="en-US" sz="1600" baseline="30000" dirty="0">
              <a:solidFill>
                <a:srgbClr val="000000"/>
              </a:solidFill>
              <a:latin typeface="Arial"/>
              <a:cs typeface="Arial"/>
            </a:endParaRPr>
          </a:p>
          <a:p>
            <a:pPr lvl="1">
              <a:spcAft>
                <a:spcPts val="0"/>
              </a:spcAft>
              <a:defRPr/>
            </a:pPr>
            <a:r>
              <a:rPr lang="en-US" sz="1600" dirty="0" err="1">
                <a:solidFill>
                  <a:srgbClr val="000000"/>
                </a:solidFill>
                <a:latin typeface="Arial"/>
                <a:cs typeface="Arial"/>
              </a:rPr>
              <a:t>Darolutamide</a:t>
            </a: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 delays worsening of pain and disease-related symptoms (P&lt;0.01 for bowel and urinary symptoms) compared with placebo</a:t>
            </a:r>
            <a:endParaRPr lang="en-US" sz="1600" baseline="30000" dirty="0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aphicFrame>
        <p:nvGraphicFramePr>
          <p:cNvPr id="11" name="Table 18">
            <a:extLst>
              <a:ext uri="{FF2B5EF4-FFF2-40B4-BE49-F238E27FC236}">
                <a16:creationId xmlns:a16="http://schemas.microsoft.com/office/drawing/2014/main" id="{84A3B40C-ED94-456C-9BA5-FE1E1F98984C}"/>
              </a:ext>
            </a:extLst>
          </p:cNvPr>
          <p:cNvGraphicFramePr>
            <a:graphicFrameLocks noGrp="1"/>
          </p:cNvGraphicFramePr>
          <p:nvPr/>
        </p:nvGraphicFramePr>
        <p:xfrm>
          <a:off x="1190625" y="3096067"/>
          <a:ext cx="9544050" cy="155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6350">
                  <a:extLst>
                    <a:ext uri="{9D8B030D-6E8A-4147-A177-3AD203B41FA5}">
                      <a16:colId xmlns:a16="http://schemas.microsoft.com/office/drawing/2014/main" val="1213421456"/>
                    </a:ext>
                  </a:extLst>
                </a:gridCol>
                <a:gridCol w="1905000">
                  <a:extLst>
                    <a:ext uri="{9D8B030D-6E8A-4147-A177-3AD203B41FA5}">
                      <a16:colId xmlns:a16="http://schemas.microsoft.com/office/drawing/2014/main" val="4166242346"/>
                    </a:ext>
                  </a:extLst>
                </a:gridCol>
                <a:gridCol w="1285875">
                  <a:extLst>
                    <a:ext uri="{9D8B030D-6E8A-4147-A177-3AD203B41FA5}">
                      <a16:colId xmlns:a16="http://schemas.microsoft.com/office/drawing/2014/main" val="479829093"/>
                    </a:ext>
                  </a:extLst>
                </a:gridCol>
                <a:gridCol w="1895475">
                  <a:extLst>
                    <a:ext uri="{9D8B030D-6E8A-4147-A177-3AD203B41FA5}">
                      <a16:colId xmlns:a16="http://schemas.microsoft.com/office/drawing/2014/main" val="436893231"/>
                    </a:ext>
                  </a:extLst>
                </a:gridCol>
                <a:gridCol w="1590675">
                  <a:extLst>
                    <a:ext uri="{9D8B030D-6E8A-4147-A177-3AD203B41FA5}">
                      <a16:colId xmlns:a16="http://schemas.microsoft.com/office/drawing/2014/main" val="2087671118"/>
                    </a:ext>
                  </a:extLst>
                </a:gridCol>
                <a:gridCol w="1590675">
                  <a:extLst>
                    <a:ext uri="{9D8B030D-6E8A-4147-A177-3AD203B41FA5}">
                      <a16:colId xmlns:a16="http://schemas.microsoft.com/office/drawing/2014/main" val="86844655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FACT-P PC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Median time to deterioration</a:t>
                      </a:r>
                      <a:br>
                        <a:rPr lang="en-US" sz="1200">
                          <a:solidFill>
                            <a:schemeClr val="tx1"/>
                          </a:solidFill>
                        </a:rPr>
                      </a:br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(95% CI), month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866138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r>
                        <a:rPr lang="en-US" sz="1200"/>
                        <a:t>FACT-P P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Darolutamide</a:t>
                      </a:r>
                      <a:br>
                        <a:rPr lang="en-US" sz="1200">
                          <a:solidFill>
                            <a:schemeClr val="tx1"/>
                          </a:solidFill>
                        </a:rPr>
                      </a:br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(n=955)</a:t>
                      </a:r>
                    </a:p>
                  </a:txBody>
                  <a:tcPr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lacebo</a:t>
                      </a:r>
                      <a:br>
                        <a:rPr lang="en-US" sz="1200">
                          <a:solidFill>
                            <a:schemeClr val="tx1"/>
                          </a:solidFill>
                        </a:rPr>
                      </a:br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(n=554)</a:t>
                      </a:r>
                    </a:p>
                  </a:txBody>
                  <a:tcPr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Hazard ratio</a:t>
                      </a:r>
                    </a:p>
                  </a:txBody>
                  <a:tcPr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HR (95% CI)</a:t>
                      </a:r>
                    </a:p>
                  </a:txBody>
                  <a:tcPr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Log-rank</a:t>
                      </a:r>
                      <a:br>
                        <a:rPr lang="en-US" sz="1200">
                          <a:solidFill>
                            <a:schemeClr val="tx1"/>
                          </a:solidFill>
                        </a:rPr>
                      </a:br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st </a:t>
                      </a:r>
                      <a:r>
                        <a:rPr lang="en-US" sz="1200" i="1">
                          <a:solidFill>
                            <a:schemeClr val="tx1"/>
                          </a:solidFill>
                        </a:rPr>
                        <a:t>P</a:t>
                      </a:r>
                      <a:endParaRPr lang="en-US" sz="1200" i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200" i="0">
                          <a:solidFill>
                            <a:schemeClr val="tx1"/>
                          </a:solidFill>
                        </a:rPr>
                        <a:t>value</a:t>
                      </a:r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1071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1.07</a:t>
                      </a:r>
                      <a:br>
                        <a:rPr lang="en-US" sz="1200"/>
                      </a:br>
                      <a:r>
                        <a:rPr lang="en-US" sz="1200"/>
                        <a:t>(11.04-11.14)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.88</a:t>
                      </a:r>
                      <a:br>
                        <a:rPr lang="en-US" sz="1200"/>
                      </a:br>
                      <a:r>
                        <a:rPr lang="en-US" sz="1200"/>
                        <a:t>(7.46-11.07)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0.80 (0.70-0.91)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0.0005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996919"/>
                  </a:ext>
                </a:extLst>
              </a:tr>
            </a:tbl>
          </a:graphicData>
        </a:graphic>
      </p:graphicFrame>
      <p:sp>
        <p:nvSpPr>
          <p:cNvPr id="12" name="Rectangle 6">
            <a:extLst>
              <a:ext uri="{FF2B5EF4-FFF2-40B4-BE49-F238E27FC236}">
                <a16:creationId xmlns:a16="http://schemas.microsoft.com/office/drawing/2014/main" id="{936FA0BF-30D2-4939-A19D-598FA0D64F00}"/>
              </a:ext>
            </a:extLst>
          </p:cNvPr>
          <p:cNvSpPr/>
          <p:nvPr/>
        </p:nvSpPr>
        <p:spPr bwMode="gray">
          <a:xfrm>
            <a:off x="588247" y="2701630"/>
            <a:ext cx="11193568" cy="3520440"/>
          </a:xfrm>
          <a:prstGeom prst="rect">
            <a:avLst/>
          </a:prstGeom>
          <a:noFill/>
          <a:ln w="25400" cap="flat" cmpd="sng" algn="ctr">
            <a:solidFill>
              <a:srgbClr val="10384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C6FC4A0F-3712-458C-BDA7-CB68B76998CF}"/>
              </a:ext>
            </a:extLst>
          </p:cNvPr>
          <p:cNvSpPr/>
          <p:nvPr/>
        </p:nvSpPr>
        <p:spPr>
          <a:xfrm>
            <a:off x="588247" y="2715277"/>
            <a:ext cx="110155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RAMIS: </a:t>
            </a:r>
            <a:r>
              <a:rPr lang="en-US" altLang="en-US" sz="1600" b="1" kern="0">
                <a:solidFill>
                  <a:srgbClr val="000000"/>
                </a:solidFill>
              </a:rPr>
              <a:t>Deterioration of FACT-P PCS Scores Was Significantly Delayed by Darolutamide When Compared to Placebo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14" name="Chart 17">
            <a:extLst>
              <a:ext uri="{FF2B5EF4-FFF2-40B4-BE49-F238E27FC236}">
                <a16:creationId xmlns:a16="http://schemas.microsoft.com/office/drawing/2014/main" id="{5F99227A-64AB-48E8-9D74-B5C6D1D0C29E}"/>
              </a:ext>
            </a:extLst>
          </p:cNvPr>
          <p:cNvGraphicFramePr/>
          <p:nvPr/>
        </p:nvGraphicFramePr>
        <p:xfrm>
          <a:off x="3115336" y="4020071"/>
          <a:ext cx="5788290" cy="1513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Table 19">
            <a:extLst>
              <a:ext uri="{FF2B5EF4-FFF2-40B4-BE49-F238E27FC236}">
                <a16:creationId xmlns:a16="http://schemas.microsoft.com/office/drawing/2014/main" id="{F444A628-F1C6-45B7-9B96-028B60261F3C}"/>
              </a:ext>
            </a:extLst>
          </p:cNvPr>
          <p:cNvGraphicFramePr>
            <a:graphicFrameLocks noGrp="1"/>
          </p:cNvGraphicFramePr>
          <p:nvPr/>
        </p:nvGraphicFramePr>
        <p:xfrm>
          <a:off x="3416610" y="5468783"/>
          <a:ext cx="5357192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623">
                  <a:extLst>
                    <a:ext uri="{9D8B030D-6E8A-4147-A177-3AD203B41FA5}">
                      <a16:colId xmlns:a16="http://schemas.microsoft.com/office/drawing/2014/main" val="3469645723"/>
                    </a:ext>
                  </a:extLst>
                </a:gridCol>
                <a:gridCol w="1309523">
                  <a:extLst>
                    <a:ext uri="{9D8B030D-6E8A-4147-A177-3AD203B41FA5}">
                      <a16:colId xmlns:a16="http://schemas.microsoft.com/office/drawing/2014/main" val="4077323936"/>
                    </a:ext>
                  </a:extLst>
                </a:gridCol>
                <a:gridCol w="1309523">
                  <a:extLst>
                    <a:ext uri="{9D8B030D-6E8A-4147-A177-3AD203B41FA5}">
                      <a16:colId xmlns:a16="http://schemas.microsoft.com/office/drawing/2014/main" val="2779336819"/>
                    </a:ext>
                  </a:extLst>
                </a:gridCol>
                <a:gridCol w="1309523">
                  <a:extLst>
                    <a:ext uri="{9D8B030D-6E8A-4147-A177-3AD203B41FA5}">
                      <a16:colId xmlns:a16="http://schemas.microsoft.com/office/drawing/2014/main" val="4138734406"/>
                    </a:ext>
                  </a:extLst>
                </a:gridCol>
              </a:tblGrid>
              <a:tr h="249099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reatment group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Events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Censored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7015787"/>
                  </a:ext>
                </a:extLst>
              </a:tr>
              <a:tr h="391775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Darolutamide</a:t>
                      </a:r>
                    </a:p>
                    <a:p>
                      <a:pPr algn="l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lacebo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590</a:t>
                      </a:r>
                    </a:p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354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365</a:t>
                      </a:r>
                    </a:p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200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955</a:t>
                      </a:r>
                    </a:p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554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327550"/>
                  </a:ext>
                </a:extLst>
              </a:tr>
            </a:tbl>
          </a:graphicData>
        </a:graphic>
      </p:graphicFrame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F2E87B24-070D-428E-A5B5-EDA28ECB55C2}"/>
              </a:ext>
            </a:extLst>
          </p:cNvPr>
          <p:cNvSpPr txBox="1">
            <a:spLocks/>
          </p:cNvSpPr>
          <p:nvPr/>
        </p:nvSpPr>
        <p:spPr>
          <a:xfrm>
            <a:off x="525280" y="6470851"/>
            <a:ext cx="11319501" cy="3206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r>
              <a:rPr lang="en-US" alt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*Higher scores indicate better QOL.</a:t>
            </a:r>
          </a:p>
          <a:p>
            <a:r>
              <a:rPr lang="en-US" alt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CI, confidence interval; FACT-P, Functional Assessment of Cancer Therapy-Prostate; HR, hazard ratio; NE, not estimable; </a:t>
            </a:r>
            <a:r>
              <a:rPr lang="en-US" alt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nmCRPC</a:t>
            </a:r>
            <a:r>
              <a:rPr lang="en-US" alt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nonmetastatic castration-resistant prostate cancer; PCS, prostate cancer subscale, QOL, quality of life. </a:t>
            </a:r>
          </a:p>
        </p:txBody>
      </p:sp>
    </p:spTree>
    <p:extLst>
      <p:ext uri="{BB962C8B-B14F-4D97-AF65-F5344CB8AC3E}">
        <p14:creationId xmlns:p14="http://schemas.microsoft.com/office/powerpoint/2010/main" val="130878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51F5817-1C1D-4515-81B4-AC6C08B71B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321" y="170195"/>
            <a:ext cx="9688169" cy="781827"/>
          </a:xfrm>
        </p:spPr>
        <p:txBody>
          <a:bodyPr anchor="ctr"/>
          <a:lstStyle/>
          <a:p>
            <a:r>
              <a:rPr lang="en-US" dirty="0"/>
              <a:t>ARAMIS: Summary of TEAEs </a:t>
            </a:r>
            <a:r>
              <a:rPr lang="en-US" baseline="30000" dirty="0"/>
              <a:t>8,36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EBE1CE47-2A66-4256-98E9-D8457ACABEBA}"/>
              </a:ext>
            </a:extLst>
          </p:cNvPr>
          <p:cNvGraphicFramePr>
            <a:graphicFrameLocks noGrp="1"/>
          </p:cNvGraphicFramePr>
          <p:nvPr/>
        </p:nvGraphicFramePr>
        <p:xfrm>
          <a:off x="1809547" y="1333614"/>
          <a:ext cx="7226397" cy="4967916"/>
        </p:xfrm>
        <a:graphic>
          <a:graphicData uri="http://schemas.openxmlformats.org/drawingml/2006/table">
            <a:tbl>
              <a:tblPr firstRow="1" bandRow="1"/>
              <a:tblGrid>
                <a:gridCol w="1904717">
                  <a:extLst>
                    <a:ext uri="{9D8B030D-6E8A-4147-A177-3AD203B41FA5}">
                      <a16:colId xmlns:a16="http://schemas.microsoft.com/office/drawing/2014/main" val="2654876183"/>
                    </a:ext>
                  </a:extLst>
                </a:gridCol>
                <a:gridCol w="2439104">
                  <a:extLst>
                    <a:ext uri="{9D8B030D-6E8A-4147-A177-3AD203B41FA5}">
                      <a16:colId xmlns:a16="http://schemas.microsoft.com/office/drawing/2014/main" val="238743475"/>
                    </a:ext>
                  </a:extLst>
                </a:gridCol>
                <a:gridCol w="221736">
                  <a:extLst>
                    <a:ext uri="{9D8B030D-6E8A-4147-A177-3AD203B41FA5}">
                      <a16:colId xmlns:a16="http://schemas.microsoft.com/office/drawing/2014/main" val="2288482488"/>
                    </a:ext>
                  </a:extLst>
                </a:gridCol>
                <a:gridCol w="2439104">
                  <a:extLst>
                    <a:ext uri="{9D8B030D-6E8A-4147-A177-3AD203B41FA5}">
                      <a16:colId xmlns:a16="http://schemas.microsoft.com/office/drawing/2014/main" val="2261423273"/>
                    </a:ext>
                  </a:extLst>
                </a:gridCol>
                <a:gridCol w="221736">
                  <a:extLst>
                    <a:ext uri="{9D8B030D-6E8A-4147-A177-3AD203B41FA5}">
                      <a16:colId xmlns:a16="http://schemas.microsoft.com/office/drawing/2014/main" val="2320751525"/>
                    </a:ext>
                  </a:extLst>
                </a:gridCol>
              </a:tblGrid>
              <a:tr h="567266">
                <a:tc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kern="1200" baseline="0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RIMARY ANALYSIS</a:t>
                      </a:r>
                      <a:endParaRPr lang="en-US" sz="1600" b="1" i="0" u="none" strike="noStrike" kern="1200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600" b="1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AL ANALYSIS</a:t>
                      </a:r>
                      <a:br>
                        <a:rPr lang="en-US" sz="1600" b="1" i="0" u="none" strike="noStrike" kern="1200" dirty="0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</a:br>
                      <a:endParaRPr lang="en-US" sz="1600" b="1" i="0" u="none" strike="noStrike" kern="1200" dirty="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600" b="1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5067130"/>
                  </a:ext>
                </a:extLst>
              </a:tr>
              <a:tr h="880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1400" b="1" i="0" u="none" strike="noStrike" kern="1200" baseline="0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ny A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endParaRPr lang="en-US" sz="1100" b="0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504018"/>
                  </a:ext>
                </a:extLst>
              </a:tr>
              <a:tr h="880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1400" b="1" i="0" u="none" strike="noStrike" kern="1200" baseline="0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  <a:cs typeface="Arial"/>
                        </a:rPr>
                        <a:t>Grade 3 or 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6F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662412"/>
                  </a:ext>
                </a:extLst>
              </a:tr>
              <a:tr h="880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1400" b="1" i="0" u="none" strike="noStrike" baseline="0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</a:rPr>
                        <a:t>Grade 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5894225"/>
                  </a:ext>
                </a:extLst>
              </a:tr>
              <a:tr h="880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1400" b="1" i="0" u="none" strike="noStrike" baseline="0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</a:rPr>
                        <a:t>Serious AE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EF8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209248"/>
                  </a:ext>
                </a:extLst>
              </a:tr>
              <a:tr h="88013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baseline="0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  <a:cs typeface="Arial"/>
                        </a:rPr>
                        <a:t>Leading to permanent discontinuation of study drug</a:t>
                      </a:r>
                      <a:endParaRPr lang="en-US" sz="1400" b="1" i="0" u="none" strike="noStrike" kern="1200" baseline="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EF8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242188"/>
                  </a:ext>
                </a:extLst>
              </a:tr>
            </a:tbl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A3B4EF95-32D9-4283-AA8F-24FF65EC53B0}"/>
              </a:ext>
            </a:extLst>
          </p:cNvPr>
          <p:cNvGrpSpPr/>
          <p:nvPr/>
        </p:nvGrpSpPr>
        <p:grpSpPr>
          <a:xfrm>
            <a:off x="3898771" y="1671182"/>
            <a:ext cx="2390855" cy="158248"/>
            <a:chOff x="4085413" y="1644103"/>
            <a:chExt cx="2391477" cy="158290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E4FE481-1B18-4984-8B01-E4D7EAB573AF}"/>
                </a:ext>
              </a:extLst>
            </p:cNvPr>
            <p:cNvGrpSpPr/>
            <p:nvPr/>
          </p:nvGrpSpPr>
          <p:grpSpPr>
            <a:xfrm>
              <a:off x="4085413" y="1644103"/>
              <a:ext cx="1285144" cy="158290"/>
              <a:chOff x="4020281" y="1649448"/>
              <a:chExt cx="1285144" cy="158290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22C4438B-0757-4091-8763-B846BB8AC5B2}"/>
                  </a:ext>
                </a:extLst>
              </p:cNvPr>
              <p:cNvSpPr/>
              <p:nvPr/>
            </p:nvSpPr>
            <p:spPr bwMode="gray">
              <a:xfrm>
                <a:off x="4020281" y="1660101"/>
                <a:ext cx="118224" cy="12107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>
                  <a:defRPr/>
                </a:pPr>
                <a:endParaRPr lang="en-US" sz="140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85A5A08E-D7C4-4086-8050-64E85743B71F}"/>
                  </a:ext>
                </a:extLst>
              </p:cNvPr>
              <p:cNvSpPr txBox="1"/>
              <p:nvPr/>
            </p:nvSpPr>
            <p:spPr bwMode="gray">
              <a:xfrm>
                <a:off x="4164069" y="1649448"/>
                <a:ext cx="1141356" cy="15829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defTabSz="914218">
                  <a:defRPr/>
                </a:pPr>
                <a:r>
                  <a:rPr lang="en-US" sz="900">
                    <a:solidFill>
                      <a:srgbClr val="000000"/>
                    </a:solidFill>
                    <a:latin typeface="Arial"/>
                    <a:cs typeface="Arial"/>
                  </a:rPr>
                  <a:t>Darolutamide (N=954)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8C60A779-390F-4130-A0DF-CAFA98A28E03}"/>
                </a:ext>
              </a:extLst>
            </p:cNvPr>
            <p:cNvGrpSpPr/>
            <p:nvPr/>
          </p:nvGrpSpPr>
          <p:grpSpPr>
            <a:xfrm>
              <a:off x="5473854" y="1644103"/>
              <a:ext cx="1003036" cy="158290"/>
              <a:chOff x="5559689" y="1662711"/>
              <a:chExt cx="1003036" cy="158290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AB9F618-1510-4F40-9A5A-417DF95D43F4}"/>
                  </a:ext>
                </a:extLst>
              </p:cNvPr>
              <p:cNvSpPr/>
              <p:nvPr/>
            </p:nvSpPr>
            <p:spPr bwMode="gray">
              <a:xfrm>
                <a:off x="5559689" y="1681319"/>
                <a:ext cx="118224" cy="121074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>
                  <a:defRPr/>
                </a:pPr>
                <a:endParaRPr lang="en-US" sz="140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91181297-B4D8-408B-8B54-CD28470972F9}"/>
                  </a:ext>
                </a:extLst>
              </p:cNvPr>
              <p:cNvSpPr txBox="1"/>
              <p:nvPr/>
            </p:nvSpPr>
            <p:spPr bwMode="gray">
              <a:xfrm>
                <a:off x="5710294" y="1662711"/>
                <a:ext cx="852431" cy="15829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defTabSz="914218">
                  <a:defRPr/>
                </a:pPr>
                <a:r>
                  <a:rPr lang="en-US" sz="900">
                    <a:solidFill>
                      <a:srgbClr val="000000"/>
                    </a:solidFill>
                    <a:latin typeface="Arial"/>
                    <a:cs typeface="Arial"/>
                  </a:rPr>
                  <a:t>Placebo (N=554)</a:t>
                </a:r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2F4443B-8F80-4871-B1E7-92DA13D74199}"/>
              </a:ext>
            </a:extLst>
          </p:cNvPr>
          <p:cNvGrpSpPr/>
          <p:nvPr/>
        </p:nvGrpSpPr>
        <p:grpSpPr>
          <a:xfrm>
            <a:off x="6520046" y="1660532"/>
            <a:ext cx="2390855" cy="158248"/>
            <a:chOff x="4085413" y="1644103"/>
            <a:chExt cx="2391477" cy="15829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DE8667D-1CA7-4D3C-9444-0D997725D817}"/>
                </a:ext>
              </a:extLst>
            </p:cNvPr>
            <p:cNvGrpSpPr/>
            <p:nvPr/>
          </p:nvGrpSpPr>
          <p:grpSpPr>
            <a:xfrm>
              <a:off x="4085413" y="1644103"/>
              <a:ext cx="1285144" cy="158290"/>
              <a:chOff x="4020281" y="1649448"/>
              <a:chExt cx="1285144" cy="158290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7AE4FF5C-BEA9-4AD5-8A36-0999886AE38E}"/>
                  </a:ext>
                </a:extLst>
              </p:cNvPr>
              <p:cNvSpPr/>
              <p:nvPr/>
            </p:nvSpPr>
            <p:spPr bwMode="gray">
              <a:xfrm>
                <a:off x="4020281" y="1660101"/>
                <a:ext cx="118224" cy="12107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>
                  <a:defRPr/>
                </a:pPr>
                <a:endParaRPr lang="en-US" sz="140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94FF3B72-25BC-4457-9501-2021BEC790A0}"/>
                  </a:ext>
                </a:extLst>
              </p:cNvPr>
              <p:cNvSpPr txBox="1"/>
              <p:nvPr/>
            </p:nvSpPr>
            <p:spPr bwMode="gray">
              <a:xfrm>
                <a:off x="4164069" y="1649448"/>
                <a:ext cx="1141356" cy="15829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defTabSz="914218">
                  <a:defRPr/>
                </a:pPr>
                <a:r>
                  <a:rPr lang="en-US" sz="900">
                    <a:solidFill>
                      <a:srgbClr val="000000"/>
                    </a:solidFill>
                    <a:latin typeface="Arial"/>
                    <a:cs typeface="Arial"/>
                  </a:rPr>
                  <a:t>Darolutamide (N=954)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D0DC7E4-A401-4520-916E-FD158C04F0C9}"/>
                </a:ext>
              </a:extLst>
            </p:cNvPr>
            <p:cNvGrpSpPr/>
            <p:nvPr/>
          </p:nvGrpSpPr>
          <p:grpSpPr>
            <a:xfrm>
              <a:off x="5473854" y="1644103"/>
              <a:ext cx="1003036" cy="158290"/>
              <a:chOff x="5559689" y="1662711"/>
              <a:chExt cx="1003036" cy="158290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8C4AC132-D0D4-42B1-9198-1CA326F80D50}"/>
                  </a:ext>
                </a:extLst>
              </p:cNvPr>
              <p:cNvSpPr/>
              <p:nvPr/>
            </p:nvSpPr>
            <p:spPr bwMode="gray">
              <a:xfrm>
                <a:off x="5559689" y="1681319"/>
                <a:ext cx="118224" cy="121074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>
                  <a:defRPr/>
                </a:pPr>
                <a:endParaRPr lang="en-US" sz="140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D45B357B-A15E-4EE1-BDDA-D4D5553F8389}"/>
                  </a:ext>
                </a:extLst>
              </p:cNvPr>
              <p:cNvSpPr txBox="1"/>
              <p:nvPr/>
            </p:nvSpPr>
            <p:spPr bwMode="gray">
              <a:xfrm>
                <a:off x="5710294" y="1662711"/>
                <a:ext cx="852431" cy="15829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defTabSz="914218">
                  <a:defRPr/>
                </a:pPr>
                <a:r>
                  <a:rPr lang="en-US" sz="900">
                    <a:solidFill>
                      <a:srgbClr val="000000"/>
                    </a:solidFill>
                    <a:latin typeface="Arial"/>
                    <a:cs typeface="Arial"/>
                  </a:rPr>
                  <a:t>Placebo (N=544)</a:t>
                </a:r>
              </a:p>
            </p:txBody>
          </p:sp>
        </p:grpSp>
      </p:grpSp>
      <p:graphicFrame>
        <p:nvGraphicFramePr>
          <p:cNvPr id="53" name="Chart 7">
            <a:extLst>
              <a:ext uri="{FF2B5EF4-FFF2-40B4-BE49-F238E27FC236}">
                <a16:creationId xmlns:a16="http://schemas.microsoft.com/office/drawing/2014/main" id="{082AB20A-8B97-4E1A-AD05-F948EF9D4EF9}"/>
              </a:ext>
            </a:extLst>
          </p:cNvPr>
          <p:cNvGraphicFramePr>
            <a:graphicFrameLocks/>
          </p:cNvGraphicFramePr>
          <p:nvPr/>
        </p:nvGraphicFramePr>
        <p:xfrm>
          <a:off x="6202041" y="1905899"/>
          <a:ext cx="2833902" cy="4883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0" name="Chart 7">
            <a:extLst>
              <a:ext uri="{FF2B5EF4-FFF2-40B4-BE49-F238E27FC236}">
                <a16:creationId xmlns:a16="http://schemas.microsoft.com/office/drawing/2014/main" id="{8CC20B91-4D37-48A6-A1A4-D409FCB6E88B}"/>
              </a:ext>
            </a:extLst>
          </p:cNvPr>
          <p:cNvGraphicFramePr>
            <a:graphicFrameLocks/>
          </p:cNvGraphicFramePr>
          <p:nvPr/>
        </p:nvGraphicFramePr>
        <p:xfrm>
          <a:off x="3556241" y="1897946"/>
          <a:ext cx="2833902" cy="4701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1" name="Footer Placeholder 4">
            <a:extLst>
              <a:ext uri="{FF2B5EF4-FFF2-40B4-BE49-F238E27FC236}">
                <a16:creationId xmlns:a16="http://schemas.microsoft.com/office/drawing/2014/main" id="{1CEA922D-3159-4CE6-8F72-F8F829AE8D36}"/>
              </a:ext>
            </a:extLst>
          </p:cNvPr>
          <p:cNvSpPr txBox="1">
            <a:spLocks/>
          </p:cNvSpPr>
          <p:nvPr/>
        </p:nvSpPr>
        <p:spPr>
          <a:xfrm>
            <a:off x="603321" y="6489358"/>
            <a:ext cx="11192112" cy="27432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12189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78" algn="l" defTabSz="12189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57" algn="l" defTabSz="12189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34" algn="l" defTabSz="12189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12" algn="l" defTabSz="12189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90" algn="l" defTabSz="12189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869" algn="l" defTabSz="12189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347" algn="l" defTabSz="12189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824" algn="l" defTabSz="12189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endParaRPr lang="en-US" sz="800" dirty="0">
              <a:solidFill>
                <a:schemeClr val="bg1">
                  <a:lumMod val="50000"/>
                </a:schemeClr>
              </a:solidFill>
              <a:cs typeface="Arial"/>
            </a:endParaRPr>
          </a:p>
          <a:p>
            <a:pPr defTabSz="914400"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cs typeface="Arial"/>
              </a:rPr>
              <a:t>AE, adverse event; TEAE, treatment-emergent adverse event.</a:t>
            </a:r>
            <a:endParaRPr lang="da-DK" sz="800" dirty="0">
              <a:solidFill>
                <a:schemeClr val="bg1">
                  <a:lumMod val="50000"/>
                </a:schemeClr>
              </a:solidFill>
              <a:cs typeface="Arial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395D453-A439-4D54-BD97-8D1B09D1DCEC}"/>
              </a:ext>
            </a:extLst>
          </p:cNvPr>
          <p:cNvSpPr txBox="1"/>
          <p:nvPr/>
        </p:nvSpPr>
        <p:spPr bwMode="gray">
          <a:xfrm>
            <a:off x="795" y="1468438"/>
            <a:ext cx="1671782" cy="539496"/>
          </a:xfrm>
          <a:prstGeom prst="rect">
            <a:avLst/>
          </a:prstGeom>
          <a:solidFill>
            <a:schemeClr val="tx2"/>
          </a:solidFill>
        </p:spPr>
        <p:txBody>
          <a:bodyPr lIns="0" tIns="121920" rIns="0" bIns="121920" anchor="ctr"/>
          <a:lstStyle/>
          <a:p>
            <a:pPr algn="ctr" defTabSz="162856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/>
                <a:cs typeface="Arial"/>
              </a:rPr>
              <a:t>Safety</a:t>
            </a:r>
          </a:p>
        </p:txBody>
      </p:sp>
    </p:spTree>
    <p:extLst>
      <p:ext uri="{BB962C8B-B14F-4D97-AF65-F5344CB8AC3E}">
        <p14:creationId xmlns:p14="http://schemas.microsoft.com/office/powerpoint/2010/main" val="140101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51F5817-1C1D-4515-81B4-AC6C08B71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RAMIS: Incidence of TEAEs</a:t>
            </a:r>
            <a:r>
              <a:rPr lang="en-US" baseline="30000" dirty="0"/>
              <a:t>8,36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EBE1CE47-2A66-4256-98E9-D8457ACABEBA}"/>
              </a:ext>
            </a:extLst>
          </p:cNvPr>
          <p:cNvGraphicFramePr>
            <a:graphicFrameLocks noGrp="1"/>
          </p:cNvGraphicFramePr>
          <p:nvPr/>
        </p:nvGraphicFramePr>
        <p:xfrm>
          <a:off x="1760089" y="1131314"/>
          <a:ext cx="9570433" cy="530958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526470">
                  <a:extLst>
                    <a:ext uri="{9D8B030D-6E8A-4147-A177-3AD203B41FA5}">
                      <a16:colId xmlns:a16="http://schemas.microsoft.com/office/drawing/2014/main" val="4076284026"/>
                    </a:ext>
                  </a:extLst>
                </a:gridCol>
                <a:gridCol w="2282535">
                  <a:extLst>
                    <a:ext uri="{9D8B030D-6E8A-4147-A177-3AD203B41FA5}">
                      <a16:colId xmlns:a16="http://schemas.microsoft.com/office/drawing/2014/main" val="2654876183"/>
                    </a:ext>
                  </a:extLst>
                </a:gridCol>
                <a:gridCol w="3380714">
                  <a:extLst>
                    <a:ext uri="{9D8B030D-6E8A-4147-A177-3AD203B41FA5}">
                      <a16:colId xmlns:a16="http://schemas.microsoft.com/office/drawing/2014/main" val="238743475"/>
                    </a:ext>
                  </a:extLst>
                </a:gridCol>
                <a:gridCol w="3380714">
                  <a:extLst>
                    <a:ext uri="{9D8B030D-6E8A-4147-A177-3AD203B41FA5}">
                      <a16:colId xmlns:a16="http://schemas.microsoft.com/office/drawing/2014/main" val="2261423273"/>
                    </a:ext>
                  </a:extLst>
                </a:gridCol>
              </a:tblGrid>
              <a:tr h="512541">
                <a:tc gridSpan="2">
                  <a:txBody>
                    <a:bodyPr/>
                    <a:lstStyle/>
                    <a:p>
                      <a:pPr algn="ctr" rtl="0" fontAlgn="ctr"/>
                      <a:endParaRPr lang="en-US" sz="1100" b="1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kern="1200">
                          <a:effectLst/>
                        </a:rPr>
                        <a:t>Any Grade</a:t>
                      </a:r>
                      <a:br>
                        <a:rPr lang="en-US" sz="1400" u="none" strike="noStrike" kern="1200">
                          <a:effectLst/>
                        </a:rPr>
                      </a:br>
                      <a:endParaRPr lang="en-US" sz="1400" b="1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571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kern="1200">
                          <a:effectLst/>
                        </a:rPr>
                        <a:t>Grade 3-4</a:t>
                      </a:r>
                      <a:endParaRPr lang="en-US" sz="1400" b="1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571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5067130"/>
                  </a:ext>
                </a:extLst>
              </a:tr>
              <a:tr h="31980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kern="1200" baseline="0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sh</a:t>
                      </a: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1000" u="none" strike="noStrike" kern="1200" baseline="0">
                          <a:effectLst/>
                        </a:rPr>
                        <a:t>Rash (primary analysis)</a:t>
                      </a:r>
                      <a:endParaRPr lang="en-US" sz="1000" b="0" i="0" u="none" strike="noStrike" kern="1200" baseline="300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48" marR="6348" marT="63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578089"/>
                  </a:ext>
                </a:extLst>
              </a:tr>
              <a:tr h="319803">
                <a:tc vMerge="1">
                  <a:txBody>
                    <a:bodyPr/>
                    <a:lstStyle/>
                    <a:p>
                      <a:pPr algn="ctr" rtl="0" fontAlgn="ctr"/>
                      <a:endParaRPr lang="en-US" sz="1050" b="1" i="0" u="none" strike="noStrike" kern="1200" baseline="300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1000" u="none" strike="noStrike" kern="1200" baseline="0">
                          <a:effectLst/>
                        </a:rPr>
                        <a:t>Rash (final analysis)</a:t>
                      </a:r>
                      <a:endParaRPr lang="en-US" sz="1000" b="1" i="0" u="none" strike="noStrike" kern="1200" baseline="300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48" marR="6348" marT="63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</a:rPr>
                        <a:t> 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662412"/>
                  </a:ext>
                </a:extLst>
              </a:tr>
              <a:tr h="31980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kern="1200" baseline="0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I</a:t>
                      </a: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Diarrhea</a:t>
                      </a:r>
                      <a:endParaRPr 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48" marR="6348" marT="63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8292966"/>
                  </a:ext>
                </a:extLst>
              </a:tr>
              <a:tr h="319803">
                <a:tc vMerge="1"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baseline="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Nausea</a:t>
                      </a:r>
                      <a:endParaRPr 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48" marR="6348" marT="63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756385"/>
                  </a:ext>
                </a:extLst>
              </a:tr>
              <a:tr h="319803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baseline="0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keletal</a:t>
                      </a: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kern="1200" baseline="0">
                          <a:solidFill>
                            <a:schemeClr val="tx1"/>
                          </a:solidFill>
                          <a:effectLst/>
                        </a:rPr>
                        <a:t>Fractures (primary analysis)</a:t>
                      </a:r>
                      <a:endParaRPr lang="en-US" sz="1000" b="0" i="0" u="none" strike="noStrike" kern="1200" baseline="300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48" marR="6348" marT="63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77785"/>
                  </a:ext>
                </a:extLst>
              </a:tr>
              <a:tr h="319803">
                <a:tc vMerge="1"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kern="1200" baseline="300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1000" u="none" strike="noStrike" kern="1200" baseline="0">
                          <a:solidFill>
                            <a:schemeClr val="tx1"/>
                          </a:solidFill>
                          <a:effectLst/>
                        </a:rPr>
                        <a:t>Fractures (final analysis)</a:t>
                      </a:r>
                      <a:endParaRPr lang="en-US" sz="1000" b="0" i="0" u="none" strike="noStrike" kern="1200" baseline="300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48" marR="6348" marT="63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kern="1200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803250"/>
                  </a:ext>
                </a:extLst>
              </a:tr>
              <a:tr h="319803">
                <a:tc vMerge="1"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1000" u="none" strike="noStrike">
                          <a:solidFill>
                            <a:schemeClr val="tx1"/>
                          </a:solidFill>
                          <a:effectLst/>
                        </a:rPr>
                        <a:t>Back Pain</a:t>
                      </a:r>
                      <a:endParaRPr lang="en-US" sz="10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8" marR="6348" marT="634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339519"/>
                  </a:ext>
                </a:extLst>
              </a:tr>
              <a:tr h="319803">
                <a:tc vMerge="1"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solidFill>
                            <a:schemeClr val="tx1"/>
                          </a:solidFill>
                          <a:effectLst/>
                        </a:rPr>
                        <a:t>Arthralgia</a:t>
                      </a:r>
                      <a:endParaRPr lang="en-US" sz="10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8" marR="6348" marT="634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334418"/>
                  </a:ext>
                </a:extLst>
              </a:tr>
              <a:tr h="319803">
                <a:tc vMerge="1"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solidFill>
                            <a:schemeClr val="tx1"/>
                          </a:solidFill>
                          <a:effectLst/>
                        </a:rPr>
                        <a:t>Pain in Extremities</a:t>
                      </a:r>
                      <a:endParaRPr lang="en-US" sz="10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8" marR="6348" marT="634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</a:rPr>
                        <a:t>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569574"/>
                  </a:ext>
                </a:extLst>
              </a:tr>
              <a:tr h="319803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kern="1200" baseline="0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ormonal</a:t>
                      </a: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</a:rPr>
                        <a:t>Hypothyroidism</a:t>
                      </a:r>
                      <a:r>
                        <a:rPr lang="en-US" sz="1000" u="none" strike="noStrike" baseline="30000">
                          <a:effectLst/>
                        </a:rPr>
                        <a:t>a</a:t>
                      </a:r>
                      <a:endParaRPr lang="en-US" sz="10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8" marR="6348" marT="634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857070"/>
                  </a:ext>
                </a:extLst>
              </a:tr>
              <a:tr h="319803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50" b="0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00" u="none" strike="noStrike" kern="1200">
                          <a:effectLst/>
                        </a:rPr>
                        <a:t>Weight Decrease</a:t>
                      </a:r>
                      <a:endParaRPr lang="en-US" sz="1000" b="0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8" marR="6348" marT="634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1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1048188"/>
                  </a:ext>
                </a:extLst>
              </a:tr>
              <a:tr h="319803">
                <a:tc vMerge="1">
                  <a:txBody>
                    <a:bodyPr/>
                    <a:lstStyle/>
                    <a:p>
                      <a:pPr algn="ctr" rtl="0" fontAlgn="ctr"/>
                      <a:endParaRPr lang="en-US" sz="900" b="1" i="0" u="none" strike="noStrike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ot Flus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8" marR="6348" marT="634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1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9557650"/>
                  </a:ext>
                </a:extLst>
              </a:tr>
              <a:tr h="319803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kern="1200" baseline="0">
                          <a:solidFill>
                            <a:srgbClr val="10384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ardiac</a:t>
                      </a: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1000" u="none" strike="noStrike" kern="1200">
                          <a:effectLst/>
                        </a:rPr>
                        <a:t>Hypertension</a:t>
                      </a:r>
                      <a:endParaRPr lang="en-US" sz="1000" b="0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8" marR="6348" marT="634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702557"/>
                  </a:ext>
                </a:extLst>
              </a:tr>
              <a:tr h="31980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baseline="300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kern="1200">
                          <a:effectLst/>
                        </a:rPr>
                        <a:t>Coronary Artery Disorders</a:t>
                      </a:r>
                      <a:endParaRPr lang="en-US" sz="1000" b="0" i="0" u="none" strike="noStrike" kern="1200" baseline="300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8" marR="6348" marT="634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1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628042"/>
                  </a:ext>
                </a:extLst>
              </a:tr>
              <a:tr h="31980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baseline="300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kern="1200">
                          <a:effectLst/>
                        </a:rPr>
                        <a:t>Heart Failure</a:t>
                      </a:r>
                      <a:endParaRPr lang="en-US" sz="1000" b="0" i="0" u="none" strike="noStrike" kern="1200" baseline="300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8" marR="6348" marT="634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1" i="0" u="none" strike="noStrike" kern="1200">
                        <a:solidFill>
                          <a:srgbClr val="10384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556656"/>
                  </a:ext>
                </a:extLst>
              </a:tr>
            </a:tbl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A3B4EF95-32D9-4283-AA8F-24FF65EC53B0}"/>
              </a:ext>
            </a:extLst>
          </p:cNvPr>
          <p:cNvGrpSpPr/>
          <p:nvPr/>
        </p:nvGrpSpPr>
        <p:grpSpPr>
          <a:xfrm>
            <a:off x="5080220" y="1442265"/>
            <a:ext cx="2390855" cy="158248"/>
            <a:chOff x="4085413" y="1644103"/>
            <a:chExt cx="2391477" cy="158290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E4FE481-1B18-4984-8B01-E4D7EAB573AF}"/>
                </a:ext>
              </a:extLst>
            </p:cNvPr>
            <p:cNvGrpSpPr/>
            <p:nvPr/>
          </p:nvGrpSpPr>
          <p:grpSpPr>
            <a:xfrm>
              <a:off x="4085413" y="1644103"/>
              <a:ext cx="1285144" cy="158290"/>
              <a:chOff x="4020281" y="1649448"/>
              <a:chExt cx="1285144" cy="158290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22C4438B-0757-4091-8763-B846BB8AC5B2}"/>
                  </a:ext>
                </a:extLst>
              </p:cNvPr>
              <p:cNvSpPr/>
              <p:nvPr/>
            </p:nvSpPr>
            <p:spPr bwMode="gray">
              <a:xfrm>
                <a:off x="4020281" y="1660101"/>
                <a:ext cx="118224" cy="12107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85A5A08E-D7C4-4086-8050-64E85743B71F}"/>
                  </a:ext>
                </a:extLst>
              </p:cNvPr>
              <p:cNvSpPr txBox="1"/>
              <p:nvPr/>
            </p:nvSpPr>
            <p:spPr bwMode="gray">
              <a:xfrm>
                <a:off x="4164069" y="1649448"/>
                <a:ext cx="1141356" cy="15829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defTabSz="91421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latin typeface="Arial"/>
                    <a:cs typeface="Arial"/>
                  </a:rPr>
                  <a:t>Darolutamide (N=954)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8C60A779-390F-4130-A0DF-CAFA98A28E03}"/>
                </a:ext>
              </a:extLst>
            </p:cNvPr>
            <p:cNvGrpSpPr/>
            <p:nvPr/>
          </p:nvGrpSpPr>
          <p:grpSpPr>
            <a:xfrm>
              <a:off x="5473854" y="1662711"/>
              <a:ext cx="1003036" cy="139682"/>
              <a:chOff x="5559689" y="1681319"/>
              <a:chExt cx="1003036" cy="139682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AB9F618-1510-4F40-9A5A-417DF95D43F4}"/>
                  </a:ext>
                </a:extLst>
              </p:cNvPr>
              <p:cNvSpPr/>
              <p:nvPr/>
            </p:nvSpPr>
            <p:spPr bwMode="gray">
              <a:xfrm>
                <a:off x="5559689" y="1681319"/>
                <a:ext cx="118224" cy="121074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91181297-B4D8-408B-8B54-CD28470972F9}"/>
                  </a:ext>
                </a:extLst>
              </p:cNvPr>
              <p:cNvSpPr txBox="1"/>
              <p:nvPr/>
            </p:nvSpPr>
            <p:spPr bwMode="gray">
              <a:xfrm>
                <a:off x="5710294" y="1681319"/>
                <a:ext cx="852431" cy="13968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defTabSz="91421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latin typeface="Arial"/>
                    <a:cs typeface="Arial"/>
                  </a:rPr>
                  <a:t>Placebo (N=554)</a:t>
                </a:r>
              </a:p>
            </p:txBody>
          </p:sp>
        </p:grpSp>
      </p:grpSp>
      <p:sp>
        <p:nvSpPr>
          <p:cNvPr id="51" name="Footer Placeholder 4">
            <a:extLst>
              <a:ext uri="{FF2B5EF4-FFF2-40B4-BE49-F238E27FC236}">
                <a16:creationId xmlns:a16="http://schemas.microsoft.com/office/drawing/2014/main" id="{A36E8885-FD13-4B89-8AFD-E1E785EC09B9}"/>
              </a:ext>
            </a:extLst>
          </p:cNvPr>
          <p:cNvSpPr txBox="1">
            <a:spLocks/>
          </p:cNvSpPr>
          <p:nvPr/>
        </p:nvSpPr>
        <p:spPr>
          <a:xfrm>
            <a:off x="194983" y="6527395"/>
            <a:ext cx="11997017" cy="320589"/>
          </a:xfrm>
          <a:prstGeom prst="rect">
            <a:avLst/>
          </a:prstGeom>
        </p:spPr>
        <p:txBody>
          <a:bodyPr vert="horz" lIns="91416" tIns="45708" rIns="91416" bIns="45708" rtlCol="0" anchor="b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Arial"/>
              </a:rPr>
              <a:t>GI, gastrointestinal; TEAE, treatment-emergent adverse event.; a Data from the primary analysis of ARAMIS</a:t>
            </a:r>
            <a:r>
              <a:rPr lang="da-DK" sz="800" baseline="300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Arial"/>
              </a:rPr>
              <a:t>9</a:t>
            </a:r>
            <a:r>
              <a:rPr lang="da-DK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Arial"/>
              </a:rPr>
              <a:t>; b Bone-sparing agents are defined as osteoclast–targeted therapy (bisphosphonate and denosumab) used for prevention of bone loss;</a:t>
            </a:r>
            <a:r>
              <a:rPr lang="nb-NO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Arial"/>
              </a:rPr>
              <a:t>. </a:t>
            </a:r>
            <a:r>
              <a:rPr lang="da-DK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Arial"/>
              </a:rPr>
              <a:t> </a:t>
            </a:r>
            <a:endParaRPr lang="en-US" sz="800" dirty="0">
              <a:solidFill>
                <a:srgbClr val="000000">
                  <a:lumMod val="50000"/>
                  <a:lumOff val="50000"/>
                </a:srgbClr>
              </a:solidFill>
              <a:latin typeface="Arial"/>
              <a:cs typeface="Arial"/>
            </a:endParaRPr>
          </a:p>
        </p:txBody>
      </p:sp>
      <p:graphicFrame>
        <p:nvGraphicFramePr>
          <p:cNvPr id="47" name="Chart 7">
            <a:extLst>
              <a:ext uri="{FF2B5EF4-FFF2-40B4-BE49-F238E27FC236}">
                <a16:creationId xmlns:a16="http://schemas.microsoft.com/office/drawing/2014/main" id="{63F96901-A610-4A0D-A631-9D73F31E1905}"/>
              </a:ext>
            </a:extLst>
          </p:cNvPr>
          <p:cNvGraphicFramePr>
            <a:graphicFrameLocks/>
          </p:cNvGraphicFramePr>
          <p:nvPr/>
        </p:nvGraphicFramePr>
        <p:xfrm>
          <a:off x="4411435" y="1632921"/>
          <a:ext cx="2681471" cy="5166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Chart 7">
            <a:extLst>
              <a:ext uri="{FF2B5EF4-FFF2-40B4-BE49-F238E27FC236}">
                <a16:creationId xmlns:a16="http://schemas.microsoft.com/office/drawing/2014/main" id="{CD64F581-4B3D-45A0-9701-A0698621649E}"/>
              </a:ext>
            </a:extLst>
          </p:cNvPr>
          <p:cNvGraphicFramePr>
            <a:graphicFrameLocks/>
          </p:cNvGraphicFramePr>
          <p:nvPr/>
        </p:nvGraphicFramePr>
        <p:xfrm>
          <a:off x="7806127" y="1632921"/>
          <a:ext cx="2681471" cy="5166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A54A1237-5011-4864-8A14-99A8F636A3E5}"/>
              </a:ext>
            </a:extLst>
          </p:cNvPr>
          <p:cNvGrpSpPr/>
          <p:nvPr/>
        </p:nvGrpSpPr>
        <p:grpSpPr>
          <a:xfrm>
            <a:off x="8339416" y="1455000"/>
            <a:ext cx="2390855" cy="158248"/>
            <a:chOff x="4085413" y="1644103"/>
            <a:chExt cx="2391477" cy="158290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97B26F6-6B00-4234-8880-B628719A0181}"/>
                </a:ext>
              </a:extLst>
            </p:cNvPr>
            <p:cNvGrpSpPr/>
            <p:nvPr/>
          </p:nvGrpSpPr>
          <p:grpSpPr>
            <a:xfrm>
              <a:off x="4085413" y="1644103"/>
              <a:ext cx="1285144" cy="158290"/>
              <a:chOff x="4020281" y="1649448"/>
              <a:chExt cx="1285144" cy="158290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6992BB00-2484-4309-A0EF-8331A216C610}"/>
                  </a:ext>
                </a:extLst>
              </p:cNvPr>
              <p:cNvSpPr/>
              <p:nvPr/>
            </p:nvSpPr>
            <p:spPr bwMode="gray">
              <a:xfrm>
                <a:off x="4020281" y="1660101"/>
                <a:ext cx="118224" cy="12107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A087D6D7-E3E6-437E-8E2C-8AA1FC61B31A}"/>
                  </a:ext>
                </a:extLst>
              </p:cNvPr>
              <p:cNvSpPr txBox="1"/>
              <p:nvPr/>
            </p:nvSpPr>
            <p:spPr bwMode="gray">
              <a:xfrm>
                <a:off x="4164069" y="1649448"/>
                <a:ext cx="1141356" cy="15829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defTabSz="91421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latin typeface="Arial"/>
                    <a:cs typeface="Arial"/>
                  </a:rPr>
                  <a:t>Darolutamide (N=954)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14E6717-2419-421B-8F05-34F58DABE635}"/>
                </a:ext>
              </a:extLst>
            </p:cNvPr>
            <p:cNvGrpSpPr/>
            <p:nvPr/>
          </p:nvGrpSpPr>
          <p:grpSpPr>
            <a:xfrm>
              <a:off x="5473854" y="1662711"/>
              <a:ext cx="1003036" cy="139682"/>
              <a:chOff x="5559689" y="1681319"/>
              <a:chExt cx="1003036" cy="139682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B12966C-2DA2-4489-921B-FD013DB512C8}"/>
                  </a:ext>
                </a:extLst>
              </p:cNvPr>
              <p:cNvSpPr/>
              <p:nvPr/>
            </p:nvSpPr>
            <p:spPr bwMode="gray">
              <a:xfrm>
                <a:off x="5559689" y="1681319"/>
                <a:ext cx="118224" cy="121074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70211DD4-8AA0-4C8E-A41A-1726A5C83766}"/>
                  </a:ext>
                </a:extLst>
              </p:cNvPr>
              <p:cNvSpPr txBox="1"/>
              <p:nvPr/>
            </p:nvSpPr>
            <p:spPr bwMode="gray">
              <a:xfrm>
                <a:off x="5710294" y="1681319"/>
                <a:ext cx="852431" cy="13968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defTabSz="91421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latin typeface="Arial"/>
                    <a:cs typeface="Arial"/>
                  </a:rPr>
                  <a:t>Placebo (N=554)</a:t>
                </a:r>
              </a:p>
            </p:txBody>
          </p: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7805C8B-3EA3-4220-801B-E306320EB213}"/>
              </a:ext>
            </a:extLst>
          </p:cNvPr>
          <p:cNvGrpSpPr/>
          <p:nvPr/>
        </p:nvGrpSpPr>
        <p:grpSpPr>
          <a:xfrm>
            <a:off x="218021" y="1841148"/>
            <a:ext cx="1423890" cy="4661054"/>
            <a:chOff x="216460" y="1294585"/>
            <a:chExt cx="1424075" cy="4661661"/>
          </a:xfrm>
        </p:grpSpPr>
        <p:pic>
          <p:nvPicPr>
            <p:cNvPr id="38" name="Picture 3">
              <a:extLst>
                <a:ext uri="{FF2B5EF4-FFF2-40B4-BE49-F238E27FC236}">
                  <a16:creationId xmlns:a16="http://schemas.microsoft.com/office/drawing/2014/main" id="{2674FF1F-4F0B-484D-BF6F-8067CAEE24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460" y="1294585"/>
              <a:ext cx="1424075" cy="46616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9" name="Graphic 16" descr="Heart organ">
              <a:extLst>
                <a:ext uri="{FF2B5EF4-FFF2-40B4-BE49-F238E27FC236}">
                  <a16:creationId xmlns:a16="http://schemas.microsoft.com/office/drawing/2014/main" id="{6955C3F2-791A-4F27-9E2C-C9C448E5D58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07354" y="2186662"/>
              <a:ext cx="276353" cy="375589"/>
              <a:chOff x="2669472" y="4542336"/>
              <a:chExt cx="567673" cy="771525"/>
            </a:xfrm>
            <a:solidFill>
              <a:srgbClr val="DCEEF8"/>
            </a:solidFill>
          </p:grpSpPr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A9A2AF2C-095B-4C9F-B7D8-8CC10EE41239}"/>
                  </a:ext>
                </a:extLst>
              </p:cNvPr>
              <p:cNvSpPr/>
              <p:nvPr/>
            </p:nvSpPr>
            <p:spPr>
              <a:xfrm>
                <a:off x="2669472" y="4642832"/>
                <a:ext cx="161925" cy="190500"/>
              </a:xfrm>
              <a:custGeom>
                <a:avLst/>
                <a:gdLst>
                  <a:gd name="connsiteX0" fmla="*/ 25965 w 161925"/>
                  <a:gd name="connsiteY0" fmla="*/ 109222 h 190500"/>
                  <a:gd name="connsiteX1" fmla="*/ 45491 w 161925"/>
                  <a:gd name="connsiteY1" fmla="*/ 161991 h 190500"/>
                  <a:gd name="connsiteX2" fmla="*/ 45491 w 161925"/>
                  <a:gd name="connsiteY2" fmla="*/ 161991 h 190500"/>
                  <a:gd name="connsiteX3" fmla="*/ 50444 w 161925"/>
                  <a:gd name="connsiteY3" fmla="*/ 188756 h 190500"/>
                  <a:gd name="connsiteX4" fmla="*/ 123882 w 161925"/>
                  <a:gd name="connsiteY4" fmla="*/ 159419 h 190500"/>
                  <a:gd name="connsiteX5" fmla="*/ 133407 w 161925"/>
                  <a:gd name="connsiteY5" fmla="*/ 158181 h 190500"/>
                  <a:gd name="connsiteX6" fmla="*/ 143123 w 161925"/>
                  <a:gd name="connsiteY6" fmla="*/ 78647 h 190500"/>
                  <a:gd name="connsiteX7" fmla="*/ 160077 w 161925"/>
                  <a:gd name="connsiteY7" fmla="*/ 34546 h 190500"/>
                  <a:gd name="connsiteX8" fmla="*/ 121507 w 161925"/>
                  <a:gd name="connsiteY8" fmla="*/ 7668 h 190500"/>
                  <a:gd name="connsiteX9" fmla="*/ 101498 w 161925"/>
                  <a:gd name="connsiteY9" fmla="*/ 19497 h 190500"/>
                  <a:gd name="connsiteX10" fmla="*/ 85877 w 161925"/>
                  <a:gd name="connsiteY10" fmla="*/ 64836 h 190500"/>
                  <a:gd name="connsiteX11" fmla="*/ 83591 w 161925"/>
                  <a:gd name="connsiteY11" fmla="*/ 75123 h 190500"/>
                  <a:gd name="connsiteX12" fmla="*/ 61398 w 161925"/>
                  <a:gd name="connsiteY12" fmla="*/ 39118 h 190500"/>
                  <a:gd name="connsiteX13" fmla="*/ 14522 w 161925"/>
                  <a:gd name="connsiteY13" fmla="*/ 44161 h 190500"/>
                  <a:gd name="connsiteX14" fmla="*/ 13773 w 161925"/>
                  <a:gd name="connsiteY14" fmla="*/ 85029 h 190500"/>
                  <a:gd name="connsiteX15" fmla="*/ 25965 w 161925"/>
                  <a:gd name="connsiteY15" fmla="*/ 109222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1925" h="190500">
                    <a:moveTo>
                      <a:pt x="25965" y="109222"/>
                    </a:moveTo>
                    <a:cubicBezTo>
                      <a:pt x="33870" y="126263"/>
                      <a:pt x="40399" y="143909"/>
                      <a:pt x="45491" y="161991"/>
                    </a:cubicBezTo>
                    <a:cubicBezTo>
                      <a:pt x="45491" y="161991"/>
                      <a:pt x="45491" y="161991"/>
                      <a:pt x="45491" y="161991"/>
                    </a:cubicBezTo>
                    <a:cubicBezTo>
                      <a:pt x="46063" y="165610"/>
                      <a:pt x="47587" y="175421"/>
                      <a:pt x="50444" y="188756"/>
                    </a:cubicBezTo>
                    <a:cubicBezTo>
                      <a:pt x="71544" y="172033"/>
                      <a:pt x="97068" y="161836"/>
                      <a:pt x="123882" y="159419"/>
                    </a:cubicBezTo>
                    <a:lnTo>
                      <a:pt x="133407" y="158181"/>
                    </a:lnTo>
                    <a:cubicBezTo>
                      <a:pt x="133239" y="131363"/>
                      <a:pt x="136505" y="104635"/>
                      <a:pt x="143123" y="78647"/>
                    </a:cubicBezTo>
                    <a:cubicBezTo>
                      <a:pt x="147298" y="63421"/>
                      <a:pt x="152977" y="48648"/>
                      <a:pt x="160077" y="34546"/>
                    </a:cubicBezTo>
                    <a:cubicBezTo>
                      <a:pt x="156849" y="16473"/>
                      <a:pt x="139580" y="4439"/>
                      <a:pt x="121507" y="7668"/>
                    </a:cubicBezTo>
                    <a:cubicBezTo>
                      <a:pt x="113631" y="9074"/>
                      <a:pt x="106528" y="13274"/>
                      <a:pt x="101498" y="19497"/>
                    </a:cubicBezTo>
                    <a:cubicBezTo>
                      <a:pt x="97117" y="24831"/>
                      <a:pt x="94545" y="29022"/>
                      <a:pt x="85877" y="64836"/>
                    </a:cubicBezTo>
                    <a:cubicBezTo>
                      <a:pt x="84989" y="68265"/>
                      <a:pt x="84227" y="71694"/>
                      <a:pt x="83591" y="75123"/>
                    </a:cubicBezTo>
                    <a:cubicBezTo>
                      <a:pt x="69685" y="46548"/>
                      <a:pt x="66446" y="43309"/>
                      <a:pt x="61398" y="39118"/>
                    </a:cubicBezTo>
                    <a:cubicBezTo>
                      <a:pt x="47061" y="27566"/>
                      <a:pt x="26074" y="29824"/>
                      <a:pt x="14522" y="44161"/>
                    </a:cubicBezTo>
                    <a:cubicBezTo>
                      <a:pt x="4971" y="56015"/>
                      <a:pt x="4662" y="72833"/>
                      <a:pt x="13773" y="85029"/>
                    </a:cubicBezTo>
                    <a:cubicBezTo>
                      <a:pt x="14726" y="86743"/>
                      <a:pt x="18155" y="92839"/>
                      <a:pt x="25965" y="10922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0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5B29B51-B8F8-49FB-860E-09542C02E1D6}"/>
                  </a:ext>
                </a:extLst>
              </p:cNvPr>
              <p:cNvSpPr/>
              <p:nvPr/>
            </p:nvSpPr>
            <p:spPr>
              <a:xfrm>
                <a:off x="2675170" y="4542336"/>
                <a:ext cx="561975" cy="771525"/>
              </a:xfrm>
              <a:custGeom>
                <a:avLst/>
                <a:gdLst>
                  <a:gd name="connsiteX0" fmla="*/ 540809 w 561975"/>
                  <a:gd name="connsiteY0" fmla="*/ 425935 h 771525"/>
                  <a:gd name="connsiteX1" fmla="*/ 459846 w 561975"/>
                  <a:gd name="connsiteY1" fmla="*/ 275917 h 771525"/>
                  <a:gd name="connsiteX2" fmla="*/ 429176 w 561975"/>
                  <a:gd name="connsiteY2" fmla="*/ 253723 h 771525"/>
                  <a:gd name="connsiteX3" fmla="*/ 419651 w 561975"/>
                  <a:gd name="connsiteY3" fmla="*/ 261915 h 771525"/>
                  <a:gd name="connsiteX4" fmla="*/ 392790 w 561975"/>
                  <a:gd name="connsiteY4" fmla="*/ 324304 h 771525"/>
                  <a:gd name="connsiteX5" fmla="*/ 374312 w 561975"/>
                  <a:gd name="connsiteY5" fmla="*/ 339067 h 771525"/>
                  <a:gd name="connsiteX6" fmla="*/ 369930 w 561975"/>
                  <a:gd name="connsiteY6" fmla="*/ 339067 h 771525"/>
                  <a:gd name="connsiteX7" fmla="*/ 355723 w 561975"/>
                  <a:gd name="connsiteY7" fmla="*/ 316178 h 771525"/>
                  <a:gd name="connsiteX8" fmla="*/ 355738 w 561975"/>
                  <a:gd name="connsiteY8" fmla="*/ 316112 h 771525"/>
                  <a:gd name="connsiteX9" fmla="*/ 393838 w 561975"/>
                  <a:gd name="connsiteY9" fmla="*/ 233911 h 771525"/>
                  <a:gd name="connsiteX10" fmla="*/ 476991 w 561975"/>
                  <a:gd name="connsiteY10" fmla="*/ 184381 h 771525"/>
                  <a:gd name="connsiteX11" fmla="*/ 498899 w 561975"/>
                  <a:gd name="connsiteY11" fmla="*/ 165331 h 771525"/>
                  <a:gd name="connsiteX12" fmla="*/ 482657 w 561975"/>
                  <a:gd name="connsiteY12" fmla="*/ 113956 h 771525"/>
                  <a:gd name="connsiteX13" fmla="*/ 452512 w 561975"/>
                  <a:gd name="connsiteY13" fmla="*/ 111801 h 771525"/>
                  <a:gd name="connsiteX14" fmla="*/ 343260 w 561975"/>
                  <a:gd name="connsiteY14" fmla="*/ 176571 h 771525"/>
                  <a:gd name="connsiteX15" fmla="*/ 279157 w 561975"/>
                  <a:gd name="connsiteY15" fmla="*/ 307349 h 771525"/>
                  <a:gd name="connsiteX16" fmla="*/ 256630 w 561975"/>
                  <a:gd name="connsiteY16" fmla="*/ 322161 h 771525"/>
                  <a:gd name="connsiteX17" fmla="*/ 241819 w 561975"/>
                  <a:gd name="connsiteY17" fmla="*/ 299634 h 771525"/>
                  <a:gd name="connsiteX18" fmla="*/ 318019 w 561975"/>
                  <a:gd name="connsiteY18" fmla="*/ 148091 h 771525"/>
                  <a:gd name="connsiteX19" fmla="*/ 379170 w 561975"/>
                  <a:gd name="connsiteY19" fmla="*/ 103514 h 771525"/>
                  <a:gd name="connsiteX20" fmla="*/ 358786 w 561975"/>
                  <a:gd name="connsiteY20" fmla="*/ 84464 h 771525"/>
                  <a:gd name="connsiteX21" fmla="*/ 362596 w 561975"/>
                  <a:gd name="connsiteY21" fmla="*/ 70558 h 771525"/>
                  <a:gd name="connsiteX22" fmla="*/ 371454 w 561975"/>
                  <a:gd name="connsiteY22" fmla="*/ 43411 h 771525"/>
                  <a:gd name="connsiteX23" fmla="*/ 362226 w 561975"/>
                  <a:gd name="connsiteY23" fmla="*/ 11025 h 771525"/>
                  <a:gd name="connsiteX24" fmla="*/ 332878 w 561975"/>
                  <a:gd name="connsiteY24" fmla="*/ 15979 h 771525"/>
                  <a:gd name="connsiteX25" fmla="*/ 316971 w 561975"/>
                  <a:gd name="connsiteY25" fmla="*/ 56842 h 771525"/>
                  <a:gd name="connsiteX26" fmla="*/ 313828 w 561975"/>
                  <a:gd name="connsiteY26" fmla="*/ 68272 h 771525"/>
                  <a:gd name="connsiteX27" fmla="*/ 311733 w 561975"/>
                  <a:gd name="connsiteY27" fmla="*/ 68272 h 771525"/>
                  <a:gd name="connsiteX28" fmla="*/ 311733 w 561975"/>
                  <a:gd name="connsiteY28" fmla="*/ 64843 h 771525"/>
                  <a:gd name="connsiteX29" fmla="*/ 312590 w 561975"/>
                  <a:gd name="connsiteY29" fmla="*/ 36268 h 771525"/>
                  <a:gd name="connsiteX30" fmla="*/ 294686 w 561975"/>
                  <a:gd name="connsiteY30" fmla="*/ 7746 h 771525"/>
                  <a:gd name="connsiteX31" fmla="*/ 267822 w 561975"/>
                  <a:gd name="connsiteY31" fmla="*/ 20837 h 771525"/>
                  <a:gd name="connsiteX32" fmla="*/ 264108 w 561975"/>
                  <a:gd name="connsiteY32" fmla="*/ 64462 h 771525"/>
                  <a:gd name="connsiteX33" fmla="*/ 264108 w 561975"/>
                  <a:gd name="connsiteY33" fmla="*/ 77130 h 771525"/>
                  <a:gd name="connsiteX34" fmla="*/ 260107 w 561975"/>
                  <a:gd name="connsiteY34" fmla="*/ 78844 h 771525"/>
                  <a:gd name="connsiteX35" fmla="*/ 254964 w 561975"/>
                  <a:gd name="connsiteY35" fmla="*/ 51698 h 771525"/>
                  <a:gd name="connsiteX36" fmla="*/ 230742 w 561975"/>
                  <a:gd name="connsiteY36" fmla="*/ 28303 h 771525"/>
                  <a:gd name="connsiteX37" fmla="*/ 208196 w 561975"/>
                  <a:gd name="connsiteY37" fmla="*/ 45793 h 771525"/>
                  <a:gd name="connsiteX38" fmla="*/ 213911 w 561975"/>
                  <a:gd name="connsiteY38" fmla="*/ 89227 h 771525"/>
                  <a:gd name="connsiteX39" fmla="*/ 218769 w 561975"/>
                  <a:gd name="connsiteY39" fmla="*/ 108277 h 771525"/>
                  <a:gd name="connsiteX40" fmla="*/ 174192 w 561975"/>
                  <a:gd name="connsiteY40" fmla="*/ 188382 h 771525"/>
                  <a:gd name="connsiteX41" fmla="*/ 164667 w 561975"/>
                  <a:gd name="connsiteY41" fmla="*/ 293157 h 771525"/>
                  <a:gd name="connsiteX42" fmla="*/ 161523 w 561975"/>
                  <a:gd name="connsiteY42" fmla="*/ 294014 h 771525"/>
                  <a:gd name="connsiteX43" fmla="*/ 123423 w 561975"/>
                  <a:gd name="connsiteY43" fmla="*/ 297348 h 771525"/>
                  <a:gd name="connsiteX44" fmla="*/ 53415 w 561975"/>
                  <a:gd name="connsiteY44" fmla="*/ 334591 h 771525"/>
                  <a:gd name="connsiteX45" fmla="*/ 7409 w 561975"/>
                  <a:gd name="connsiteY45" fmla="*/ 460035 h 771525"/>
                  <a:gd name="connsiteX46" fmla="*/ 42937 w 561975"/>
                  <a:gd name="connsiteY46" fmla="*/ 582622 h 771525"/>
                  <a:gd name="connsiteX47" fmla="*/ 98087 w 561975"/>
                  <a:gd name="connsiteY47" fmla="*/ 650535 h 771525"/>
                  <a:gd name="connsiteX48" fmla="*/ 98087 w 561975"/>
                  <a:gd name="connsiteY48" fmla="*/ 650535 h 771525"/>
                  <a:gd name="connsiteX49" fmla="*/ 140473 w 561975"/>
                  <a:gd name="connsiteY49" fmla="*/ 685492 h 771525"/>
                  <a:gd name="connsiteX50" fmla="*/ 315733 w 561975"/>
                  <a:gd name="connsiteY50" fmla="*/ 764740 h 771525"/>
                  <a:gd name="connsiteX51" fmla="*/ 494613 w 561975"/>
                  <a:gd name="connsiteY51" fmla="*/ 747404 h 771525"/>
                  <a:gd name="connsiteX52" fmla="*/ 556525 w 561975"/>
                  <a:gd name="connsiteY52" fmla="*/ 621960 h 771525"/>
                  <a:gd name="connsiteX53" fmla="*/ 540809 w 561975"/>
                  <a:gd name="connsiteY53" fmla="*/ 425935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561975" h="771525">
                    <a:moveTo>
                      <a:pt x="540809" y="425935"/>
                    </a:moveTo>
                    <a:cubicBezTo>
                      <a:pt x="516901" y="348592"/>
                      <a:pt x="475753" y="291728"/>
                      <a:pt x="459846" y="275917"/>
                    </a:cubicBezTo>
                    <a:cubicBezTo>
                      <a:pt x="450491" y="267388"/>
                      <a:pt x="440202" y="259943"/>
                      <a:pt x="429176" y="253723"/>
                    </a:cubicBezTo>
                    <a:cubicBezTo>
                      <a:pt x="425937" y="256295"/>
                      <a:pt x="422699" y="259057"/>
                      <a:pt x="419651" y="261915"/>
                    </a:cubicBezTo>
                    <a:cubicBezTo>
                      <a:pt x="410126" y="270487"/>
                      <a:pt x="399744" y="294395"/>
                      <a:pt x="392790" y="324304"/>
                    </a:cubicBezTo>
                    <a:cubicBezTo>
                      <a:pt x="390802" y="332916"/>
                      <a:pt x="383150" y="339029"/>
                      <a:pt x="374312" y="339067"/>
                    </a:cubicBezTo>
                    <a:cubicBezTo>
                      <a:pt x="372855" y="339207"/>
                      <a:pt x="371388" y="339207"/>
                      <a:pt x="369930" y="339067"/>
                    </a:cubicBezTo>
                    <a:cubicBezTo>
                      <a:pt x="359686" y="336670"/>
                      <a:pt x="353325" y="326422"/>
                      <a:pt x="355723" y="316178"/>
                    </a:cubicBezTo>
                    <a:cubicBezTo>
                      <a:pt x="355728" y="316156"/>
                      <a:pt x="355733" y="316134"/>
                      <a:pt x="355738" y="316112"/>
                    </a:cubicBezTo>
                    <a:cubicBezTo>
                      <a:pt x="362025" y="288680"/>
                      <a:pt x="373931" y="252104"/>
                      <a:pt x="393838" y="233911"/>
                    </a:cubicBezTo>
                    <a:cubicBezTo>
                      <a:pt x="417818" y="211811"/>
                      <a:pt x="446137" y="194943"/>
                      <a:pt x="476991" y="184381"/>
                    </a:cubicBezTo>
                    <a:cubicBezTo>
                      <a:pt x="486522" y="181172"/>
                      <a:pt x="494396" y="174324"/>
                      <a:pt x="498899" y="165331"/>
                    </a:cubicBezTo>
                    <a:cubicBezTo>
                      <a:pt x="508601" y="146660"/>
                      <a:pt x="501329" y="123658"/>
                      <a:pt x="482657" y="113956"/>
                    </a:cubicBezTo>
                    <a:cubicBezTo>
                      <a:pt x="473336" y="109113"/>
                      <a:pt x="462428" y="108333"/>
                      <a:pt x="452512" y="111801"/>
                    </a:cubicBezTo>
                    <a:cubicBezTo>
                      <a:pt x="412025" y="125641"/>
                      <a:pt x="374831" y="147691"/>
                      <a:pt x="343260" y="176571"/>
                    </a:cubicBezTo>
                    <a:cubicBezTo>
                      <a:pt x="303827" y="211718"/>
                      <a:pt x="286110" y="273631"/>
                      <a:pt x="279157" y="307349"/>
                    </a:cubicBezTo>
                    <a:cubicBezTo>
                      <a:pt x="277026" y="317660"/>
                      <a:pt x="266941" y="324291"/>
                      <a:pt x="256630" y="322161"/>
                    </a:cubicBezTo>
                    <a:cubicBezTo>
                      <a:pt x="246320" y="320030"/>
                      <a:pt x="239688" y="309945"/>
                      <a:pt x="241819" y="299634"/>
                    </a:cubicBezTo>
                    <a:cubicBezTo>
                      <a:pt x="251344" y="252771"/>
                      <a:pt x="272680" y="188382"/>
                      <a:pt x="318019" y="148091"/>
                    </a:cubicBezTo>
                    <a:cubicBezTo>
                      <a:pt x="336818" y="131172"/>
                      <a:pt x="357310" y="116234"/>
                      <a:pt x="379170" y="103514"/>
                    </a:cubicBezTo>
                    <a:cubicBezTo>
                      <a:pt x="373255" y="96284"/>
                      <a:pt x="366399" y="89877"/>
                      <a:pt x="358786" y="84464"/>
                    </a:cubicBezTo>
                    <a:cubicBezTo>
                      <a:pt x="359929" y="79892"/>
                      <a:pt x="361167" y="74939"/>
                      <a:pt x="362596" y="70558"/>
                    </a:cubicBezTo>
                    <a:cubicBezTo>
                      <a:pt x="368311" y="51508"/>
                      <a:pt x="370788" y="45031"/>
                      <a:pt x="371454" y="43411"/>
                    </a:cubicBezTo>
                    <a:cubicBezTo>
                      <a:pt x="377849" y="31920"/>
                      <a:pt x="373717" y="17420"/>
                      <a:pt x="362226" y="11025"/>
                    </a:cubicBezTo>
                    <a:cubicBezTo>
                      <a:pt x="352489" y="5606"/>
                      <a:pt x="340296" y="7665"/>
                      <a:pt x="332878" y="15979"/>
                    </a:cubicBezTo>
                    <a:cubicBezTo>
                      <a:pt x="329735" y="19504"/>
                      <a:pt x="327449" y="22075"/>
                      <a:pt x="316971" y="56842"/>
                    </a:cubicBezTo>
                    <a:cubicBezTo>
                      <a:pt x="315828" y="60652"/>
                      <a:pt x="314781" y="64462"/>
                      <a:pt x="313828" y="68272"/>
                    </a:cubicBezTo>
                    <a:lnTo>
                      <a:pt x="311733" y="68272"/>
                    </a:lnTo>
                    <a:lnTo>
                      <a:pt x="311733" y="64843"/>
                    </a:lnTo>
                    <a:cubicBezTo>
                      <a:pt x="311733" y="44840"/>
                      <a:pt x="312399" y="37982"/>
                      <a:pt x="312590" y="36268"/>
                    </a:cubicBezTo>
                    <a:cubicBezTo>
                      <a:pt x="315522" y="23447"/>
                      <a:pt x="307506" y="10678"/>
                      <a:pt x="294686" y="7746"/>
                    </a:cubicBezTo>
                    <a:cubicBezTo>
                      <a:pt x="283767" y="5248"/>
                      <a:pt x="272583" y="10698"/>
                      <a:pt x="267822" y="20837"/>
                    </a:cubicBezTo>
                    <a:cubicBezTo>
                      <a:pt x="265822" y="25123"/>
                      <a:pt x="264298" y="28171"/>
                      <a:pt x="264108" y="64462"/>
                    </a:cubicBezTo>
                    <a:cubicBezTo>
                      <a:pt x="264108" y="68748"/>
                      <a:pt x="264108" y="73034"/>
                      <a:pt x="264108" y="77130"/>
                    </a:cubicBezTo>
                    <a:lnTo>
                      <a:pt x="260107" y="78844"/>
                    </a:lnTo>
                    <a:cubicBezTo>
                      <a:pt x="256107" y="59794"/>
                      <a:pt x="255154" y="53413"/>
                      <a:pt x="254964" y="51698"/>
                    </a:cubicBezTo>
                    <a:cubicBezTo>
                      <a:pt x="254735" y="38549"/>
                      <a:pt x="243891" y="28074"/>
                      <a:pt x="230742" y="28303"/>
                    </a:cubicBezTo>
                    <a:cubicBezTo>
                      <a:pt x="220178" y="28486"/>
                      <a:pt x="210999" y="35607"/>
                      <a:pt x="208196" y="45793"/>
                    </a:cubicBezTo>
                    <a:cubicBezTo>
                      <a:pt x="207148" y="50460"/>
                      <a:pt x="206386" y="53698"/>
                      <a:pt x="213911" y="89227"/>
                    </a:cubicBezTo>
                    <a:cubicBezTo>
                      <a:pt x="215308" y="95577"/>
                      <a:pt x="216927" y="101926"/>
                      <a:pt x="218769" y="108277"/>
                    </a:cubicBezTo>
                    <a:cubicBezTo>
                      <a:pt x="197470" y="130849"/>
                      <a:pt x="182147" y="158384"/>
                      <a:pt x="174192" y="188382"/>
                    </a:cubicBezTo>
                    <a:cubicBezTo>
                      <a:pt x="164000" y="225720"/>
                      <a:pt x="165714" y="257057"/>
                      <a:pt x="164667" y="293157"/>
                    </a:cubicBezTo>
                    <a:cubicBezTo>
                      <a:pt x="164667" y="294967"/>
                      <a:pt x="161523" y="294014"/>
                      <a:pt x="161523" y="294014"/>
                    </a:cubicBezTo>
                    <a:cubicBezTo>
                      <a:pt x="148761" y="294229"/>
                      <a:pt x="136030" y="295344"/>
                      <a:pt x="123423" y="297348"/>
                    </a:cubicBezTo>
                    <a:cubicBezTo>
                      <a:pt x="89514" y="302968"/>
                      <a:pt x="72465" y="312493"/>
                      <a:pt x="53415" y="334591"/>
                    </a:cubicBezTo>
                    <a:cubicBezTo>
                      <a:pt x="34365" y="356689"/>
                      <a:pt x="10171" y="393360"/>
                      <a:pt x="7409" y="460035"/>
                    </a:cubicBezTo>
                    <a:cubicBezTo>
                      <a:pt x="5126" y="503730"/>
                      <a:pt x="17643" y="546919"/>
                      <a:pt x="42937" y="582622"/>
                    </a:cubicBezTo>
                    <a:cubicBezTo>
                      <a:pt x="59740" y="606498"/>
                      <a:pt x="78167" y="629189"/>
                      <a:pt x="98087" y="650535"/>
                    </a:cubicBezTo>
                    <a:lnTo>
                      <a:pt x="98087" y="650535"/>
                    </a:lnTo>
                    <a:cubicBezTo>
                      <a:pt x="111592" y="662923"/>
                      <a:pt x="125741" y="674591"/>
                      <a:pt x="140473" y="685492"/>
                    </a:cubicBezTo>
                    <a:cubicBezTo>
                      <a:pt x="193010" y="723355"/>
                      <a:pt x="252604" y="750301"/>
                      <a:pt x="315733" y="764740"/>
                    </a:cubicBezTo>
                    <a:cubicBezTo>
                      <a:pt x="377360" y="776741"/>
                      <a:pt x="464418" y="767978"/>
                      <a:pt x="494613" y="747404"/>
                    </a:cubicBezTo>
                    <a:cubicBezTo>
                      <a:pt x="524807" y="726830"/>
                      <a:pt x="551001" y="664441"/>
                      <a:pt x="556525" y="621960"/>
                    </a:cubicBezTo>
                    <a:cubicBezTo>
                      <a:pt x="565362" y="556246"/>
                      <a:pt x="560003" y="489402"/>
                      <a:pt x="540809" y="42593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0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pic>
          <p:nvPicPr>
            <p:cNvPr id="42" name="Graphic 41" descr="Bone">
              <a:extLst>
                <a:ext uri="{FF2B5EF4-FFF2-40B4-BE49-F238E27FC236}">
                  <a16:creationId xmlns:a16="http://schemas.microsoft.com/office/drawing/2014/main" id="{04E2E465-5A3D-4FEC-89F2-9287BD601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8628761">
              <a:off x="857480" y="3801926"/>
              <a:ext cx="611595" cy="611595"/>
            </a:xfrm>
            <a:prstGeom prst="rect">
              <a:avLst/>
            </a:prstGeom>
          </p:spPr>
        </p:pic>
      </p:grpSp>
      <p:pic>
        <p:nvPicPr>
          <p:cNvPr id="4" name="Graphic 3" descr="Stomach">
            <a:extLst>
              <a:ext uri="{FF2B5EF4-FFF2-40B4-BE49-F238E27FC236}">
                <a16:creationId xmlns:a16="http://schemas.microsoft.com/office/drawing/2014/main" id="{1111F357-A8AC-464A-A2A5-8F4838DC3D8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6457" y="3339965"/>
            <a:ext cx="504620" cy="504620"/>
          </a:xfrm>
          <a:prstGeom prst="rect">
            <a:avLst/>
          </a:prstGeom>
        </p:spPr>
      </p:pic>
      <p:sp>
        <p:nvSpPr>
          <p:cNvPr id="40" name="Callout: Left Arrow 39">
            <a:extLst>
              <a:ext uri="{FF2B5EF4-FFF2-40B4-BE49-F238E27FC236}">
                <a16:creationId xmlns:a16="http://schemas.microsoft.com/office/drawing/2014/main" id="{4A18E830-F2A7-400B-9EFD-1D7FCF325996}"/>
              </a:ext>
            </a:extLst>
          </p:cNvPr>
          <p:cNvSpPr/>
          <p:nvPr/>
        </p:nvSpPr>
        <p:spPr bwMode="gray">
          <a:xfrm>
            <a:off x="5588251" y="2838374"/>
            <a:ext cx="1760096" cy="831709"/>
          </a:xfrm>
          <a:prstGeom prst="leftArrowCallout">
            <a:avLst>
              <a:gd name="adj1" fmla="val 20735"/>
              <a:gd name="adj2" fmla="val 18724"/>
              <a:gd name="adj3" fmla="val 24143"/>
              <a:gd name="adj4" fmla="val 80457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baseline, use of concomitant bone- sparing agents</a:t>
            </a:r>
            <a:r>
              <a:rPr lang="en-US" sz="1050" baseline="3000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sz="105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as  3% in DARO arm vs 6% in PBO arm</a:t>
            </a:r>
            <a:endParaRPr lang="en-US" sz="105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41" name="TextBox 43">
            <a:extLst>
              <a:ext uri="{FF2B5EF4-FFF2-40B4-BE49-F238E27FC236}">
                <a16:creationId xmlns:a16="http://schemas.microsoft.com/office/drawing/2014/main" id="{2A9551E1-83EC-4BF6-AD22-879C6D88D08F}"/>
              </a:ext>
            </a:extLst>
          </p:cNvPr>
          <p:cNvSpPr txBox="1"/>
          <p:nvPr/>
        </p:nvSpPr>
        <p:spPr bwMode="gray">
          <a:xfrm>
            <a:off x="1" y="1201313"/>
            <a:ext cx="1671782" cy="539496"/>
          </a:xfrm>
          <a:prstGeom prst="rect">
            <a:avLst/>
          </a:prstGeom>
          <a:solidFill>
            <a:schemeClr val="accent6"/>
          </a:solidFill>
        </p:spPr>
        <p:txBody>
          <a:bodyPr lIns="0" tIns="121920" rIns="0" bIns="121920" anchor="ctr"/>
          <a:lstStyle/>
          <a:p>
            <a:pPr marL="0" marR="0" lvl="0" indent="0" algn="ctr" defTabSz="16285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Safety- Final Analysis</a:t>
            </a:r>
          </a:p>
        </p:txBody>
      </p:sp>
    </p:spTree>
    <p:extLst>
      <p:ext uri="{BB962C8B-B14F-4D97-AF65-F5344CB8AC3E}">
        <p14:creationId xmlns:p14="http://schemas.microsoft.com/office/powerpoint/2010/main" val="234881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7BC64B2-66EF-45BA-A9AD-B2AE020B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en-US" dirty="0"/>
              <a:t>ARAMIS Drug-Drug Interactions Between Commonly Prescribed Drugs and AR Inhibitors</a:t>
            </a:r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D312B16-FAC0-4E19-931B-1DB84CBACD1F}"/>
              </a:ext>
            </a:extLst>
          </p:cNvPr>
          <p:cNvSpPr txBox="1">
            <a:spLocks/>
          </p:cNvSpPr>
          <p:nvPr/>
        </p:nvSpPr>
        <p:spPr>
          <a:xfrm>
            <a:off x="366582" y="6198782"/>
            <a:ext cx="11498591" cy="5159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This slide was adapted from the professional information of the respective products. It is not meant to be a comparison between AR inhibitors. Before concurrent administration of two drugs consult the respective professional information of the two products.</a:t>
            </a:r>
          </a:p>
        </p:txBody>
      </p:sp>
      <p:graphicFrame>
        <p:nvGraphicFramePr>
          <p:cNvPr id="6" name="Tabelle 20">
            <a:extLst>
              <a:ext uri="{FF2B5EF4-FFF2-40B4-BE49-F238E27FC236}">
                <a16:creationId xmlns:a16="http://schemas.microsoft.com/office/drawing/2014/main" id="{19E3A126-5DAF-415B-9FB9-2237AF822217}"/>
              </a:ext>
            </a:extLst>
          </p:cNvPr>
          <p:cNvGraphicFramePr>
            <a:graphicFrameLocks noGrp="1"/>
          </p:cNvGraphicFramePr>
          <p:nvPr/>
        </p:nvGraphicFramePr>
        <p:xfrm>
          <a:off x="768429" y="1237779"/>
          <a:ext cx="9693184" cy="483887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715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08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292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3842">
                  <a:extLst>
                    <a:ext uri="{9D8B030D-6E8A-4147-A177-3AD203B41FA5}">
                      <a16:colId xmlns:a16="http://schemas.microsoft.com/office/drawing/2014/main" val="1892098856"/>
                    </a:ext>
                  </a:extLst>
                </a:gridCol>
                <a:gridCol w="1073842">
                  <a:extLst>
                    <a:ext uri="{9D8B030D-6E8A-4147-A177-3AD203B41FA5}">
                      <a16:colId xmlns:a16="http://schemas.microsoft.com/office/drawing/2014/main" val="937652925"/>
                    </a:ext>
                  </a:extLst>
                </a:gridCol>
                <a:gridCol w="1073842">
                  <a:extLst>
                    <a:ext uri="{9D8B030D-6E8A-4147-A177-3AD203B41FA5}">
                      <a16:colId xmlns:a16="http://schemas.microsoft.com/office/drawing/2014/main" val="609240458"/>
                    </a:ext>
                  </a:extLst>
                </a:gridCol>
              </a:tblGrid>
              <a:tr h="229823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 err="1">
                          <a:solidFill>
                            <a:schemeClr val="tx1"/>
                          </a:solidFill>
                          <a:effectLst/>
                        </a:rPr>
                        <a:t>Substance</a:t>
                      </a:r>
                      <a:r>
                        <a:rPr lang="de-DE" sz="1000" noProof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de-DE" sz="1000" noProof="0" dirty="0" err="1">
                          <a:solidFill>
                            <a:schemeClr val="tx1"/>
                          </a:solidFill>
                          <a:effectLst/>
                        </a:rPr>
                        <a:t>class</a:t>
                      </a:r>
                      <a:endParaRPr lang="de-DE" sz="1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 err="1">
                          <a:solidFill>
                            <a:schemeClr val="tx1"/>
                          </a:solidFill>
                          <a:effectLst/>
                        </a:rPr>
                        <a:t>Example</a:t>
                      </a:r>
                      <a:endParaRPr lang="de-DE" sz="1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aseline="0" noProof="0" dirty="0">
                          <a:solidFill>
                            <a:schemeClr val="tx1"/>
                          </a:solidFill>
                          <a:effectLst/>
                        </a:rPr>
                        <a:t>Way of interaction</a:t>
                      </a:r>
                      <a:r>
                        <a:rPr lang="de-DE" sz="1000" baseline="30000" noProof="0" dirty="0">
                          <a:solidFill>
                            <a:schemeClr val="tx1"/>
                          </a:solidFill>
                          <a:effectLst/>
                        </a:rPr>
                        <a:t>1,40,41</a:t>
                      </a:r>
                      <a:endParaRPr lang="de-DE" sz="1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</a:rPr>
                        <a:t>Interactions</a:t>
                      </a:r>
                      <a:endParaRPr lang="de-DE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91428" marR="91428" marT="45714" marB="45714" anchor="ctr">
                    <a:solidFill>
                      <a:srgbClr val="66B512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91428" marR="91428" marT="45714" marB="45714" anchor="ctr">
                    <a:solidFill>
                      <a:srgbClr val="66B51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976485"/>
                  </a:ext>
                </a:extLst>
              </a:tr>
              <a:tr h="229823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91428" marR="91428" marT="45714" marB="45714" anchor="ctr">
                    <a:solidFill>
                      <a:srgbClr val="66B512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91428" marR="91428" marT="45714" marB="45714" anchor="ctr">
                    <a:solidFill>
                      <a:srgbClr val="66B512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91428" marR="91428" marT="45714" marB="45714" anchor="ctr">
                    <a:solidFill>
                      <a:srgbClr val="66B51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solidFill>
                            <a:schemeClr val="bg1"/>
                          </a:solidFill>
                          <a:effectLst/>
                        </a:rPr>
                        <a:t>Apalutamid</a:t>
                      </a:r>
                      <a:r>
                        <a:rPr lang="de-DE" sz="1000" baseline="30000" noProof="0" dirty="0">
                          <a:solidFill>
                            <a:schemeClr val="bg1"/>
                          </a:solidFill>
                          <a:effectLst/>
                        </a:rPr>
                        <a:t>40</a:t>
                      </a:r>
                      <a:endParaRPr lang="de-DE" sz="1000" b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solidFill>
                            <a:schemeClr val="bg1"/>
                          </a:solidFill>
                          <a:effectLst/>
                        </a:rPr>
                        <a:t>Enzalutamid</a:t>
                      </a:r>
                      <a:r>
                        <a:rPr lang="de-DE" sz="1000" baseline="30000" noProof="0" dirty="0">
                          <a:solidFill>
                            <a:schemeClr val="bg1"/>
                          </a:solidFill>
                          <a:effectLst/>
                        </a:rPr>
                        <a:t>39</a:t>
                      </a:r>
                      <a:endParaRPr lang="de-DE" sz="1000" b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solidFill>
                            <a:schemeClr val="bg1"/>
                          </a:solidFill>
                          <a:effectLst/>
                        </a:rPr>
                        <a:t>Darolutamid</a:t>
                      </a:r>
                      <a:r>
                        <a:rPr lang="de-DE" sz="1000" baseline="30000" noProof="0" dirty="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de-DE" sz="1000" b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167">
                <a:tc rowSpan="4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noProof="0" dirty="0" err="1">
                          <a:effectLst/>
                        </a:rPr>
                        <a:t>Antithrombotics</a:t>
                      </a:r>
                      <a:endParaRPr lang="de-DE" sz="1000" b="1" noProof="0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Warfarin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CYP2C9-Substrate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0167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Clopidogrel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Inhibitor </a:t>
                      </a:r>
                      <a:r>
                        <a:rPr lang="de-DE" sz="1000" noProof="0" dirty="0" err="1">
                          <a:effectLst/>
                        </a:rPr>
                        <a:t>of</a:t>
                      </a:r>
                      <a:r>
                        <a:rPr lang="de-DE" sz="1000" noProof="0" dirty="0">
                          <a:effectLst/>
                        </a:rPr>
                        <a:t> CYP2C8, CYP2B6 and OATP1B1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016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Dabigatran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P-</a:t>
                      </a:r>
                      <a:r>
                        <a:rPr lang="de-DE" sz="1000" noProof="0" dirty="0" err="1">
                          <a:effectLst/>
                        </a:rPr>
                        <a:t>gp</a:t>
                      </a:r>
                      <a:r>
                        <a:rPr lang="de-DE" sz="1000" noProof="0" dirty="0">
                          <a:effectLst/>
                        </a:rPr>
                        <a:t>-Substrate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3784680"/>
                  </a:ext>
                </a:extLst>
              </a:tr>
              <a:tr h="22016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 err="1">
                          <a:effectLst/>
                        </a:rPr>
                        <a:t>Rivaroxaban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CYP3A4-Substrate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0261827"/>
                  </a:ext>
                </a:extLst>
              </a:tr>
              <a:tr h="220167">
                <a:tc rowSpan="4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noProof="0" dirty="0">
                          <a:effectLst/>
                        </a:rPr>
                        <a:t>Calcium </a:t>
                      </a:r>
                      <a:r>
                        <a:rPr lang="de-DE" sz="1000" b="1" noProof="0" dirty="0" err="1">
                          <a:effectLst/>
                        </a:rPr>
                        <a:t>channel</a:t>
                      </a:r>
                      <a:r>
                        <a:rPr lang="de-DE" sz="1000" b="1" noProof="0" dirty="0">
                          <a:effectLst/>
                        </a:rPr>
                        <a:t> </a:t>
                      </a:r>
                      <a:r>
                        <a:rPr lang="de-DE" sz="1000" b="1" noProof="0" dirty="0" err="1">
                          <a:effectLst/>
                        </a:rPr>
                        <a:t>blockers</a:t>
                      </a:r>
                      <a:endParaRPr lang="de-DE" sz="1000" b="1" noProof="0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Nifedipin, Felodipin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CYP3A4-Substrate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925559"/>
                  </a:ext>
                </a:extLst>
              </a:tr>
              <a:tr h="22016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Verapamil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noProof="0" dirty="0">
                          <a:effectLst/>
                        </a:rPr>
                        <a:t>Inhibitor </a:t>
                      </a:r>
                      <a:r>
                        <a:rPr lang="de-DE" sz="1000" noProof="0" dirty="0" err="1">
                          <a:effectLst/>
                        </a:rPr>
                        <a:t>of</a:t>
                      </a:r>
                      <a:r>
                        <a:rPr lang="de-DE" sz="1000" noProof="0" dirty="0">
                          <a:effectLst/>
                        </a:rPr>
                        <a:t> </a:t>
                      </a:r>
                      <a:r>
                        <a:rPr lang="de-DE" sz="1000" kern="1200" noProof="0" dirty="0">
                          <a:effectLst/>
                        </a:rPr>
                        <a:t>CYP3A</a:t>
                      </a:r>
                      <a:r>
                        <a:rPr lang="de-DE" sz="1000" noProof="0" dirty="0">
                          <a:effectLst/>
                        </a:rPr>
                        <a:t> </a:t>
                      </a:r>
                      <a:r>
                        <a:rPr lang="de-DE" sz="1000" kern="1200" noProof="0" dirty="0">
                          <a:effectLst/>
                        </a:rPr>
                        <a:t>(moderat) and P-</a:t>
                      </a:r>
                      <a:r>
                        <a:rPr lang="de-DE" sz="1000" kern="1200" noProof="0" dirty="0" err="1">
                          <a:effectLst/>
                        </a:rPr>
                        <a:t>gp</a:t>
                      </a:r>
                      <a:r>
                        <a:rPr lang="de-DE" sz="1000" kern="1200" noProof="0" dirty="0">
                          <a:effectLst/>
                        </a:rPr>
                        <a:t>; </a:t>
                      </a:r>
                      <a:r>
                        <a:rPr lang="de-DE" sz="1000" noProof="0" dirty="0">
                          <a:effectLst/>
                        </a:rPr>
                        <a:t>P-</a:t>
                      </a:r>
                      <a:r>
                        <a:rPr lang="de-DE" sz="1000" noProof="0" dirty="0" err="1">
                          <a:effectLst/>
                        </a:rPr>
                        <a:t>gp</a:t>
                      </a:r>
                      <a:r>
                        <a:rPr lang="de-DE" sz="1000" noProof="0" dirty="0">
                          <a:effectLst/>
                        </a:rPr>
                        <a:t>-Substrate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0569664"/>
                  </a:ext>
                </a:extLst>
              </a:tr>
              <a:tr h="22016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Diltiazem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CYP3A4-Inhibitor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0366058"/>
                  </a:ext>
                </a:extLst>
              </a:tr>
              <a:tr h="220167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1200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1428" marR="91428" marT="45714" marB="45714" anchor="ctr">
                    <a:solidFill>
                      <a:srgbClr val="CCCE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Amlodipin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CYP3A4-Substrate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367538"/>
                  </a:ext>
                </a:extLst>
              </a:tr>
              <a:tr h="2201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noProof="0" dirty="0" err="1">
                          <a:effectLst/>
                        </a:rPr>
                        <a:t>Cardiac</a:t>
                      </a:r>
                      <a:r>
                        <a:rPr lang="de-DE" sz="1000" b="1" noProof="0" dirty="0">
                          <a:effectLst/>
                        </a:rPr>
                        <a:t> </a:t>
                      </a:r>
                      <a:r>
                        <a:rPr lang="de-DE" sz="1000" b="1" noProof="0" dirty="0" err="1">
                          <a:effectLst/>
                        </a:rPr>
                        <a:t>therapies</a:t>
                      </a:r>
                      <a:r>
                        <a:rPr lang="de-DE" sz="1000" b="1" noProof="0" dirty="0">
                          <a:effectLst/>
                        </a:rPr>
                        <a:t> (</a:t>
                      </a:r>
                      <a:r>
                        <a:rPr lang="de-DE" sz="1000" b="1" noProof="0" dirty="0" err="1">
                          <a:effectLst/>
                        </a:rPr>
                        <a:t>eg</a:t>
                      </a:r>
                      <a:r>
                        <a:rPr lang="de-DE" sz="1000" b="1" noProof="0" dirty="0">
                          <a:effectLst/>
                        </a:rPr>
                        <a:t> </a:t>
                      </a:r>
                      <a:r>
                        <a:rPr lang="de-DE" sz="1000" b="1" noProof="0" dirty="0" err="1">
                          <a:effectLst/>
                        </a:rPr>
                        <a:t>glycosides</a:t>
                      </a:r>
                      <a:r>
                        <a:rPr lang="de-DE" sz="1000" b="1" noProof="0" dirty="0">
                          <a:effectLst/>
                        </a:rPr>
                        <a:t>)</a:t>
                      </a:r>
                      <a:endParaRPr lang="de-DE" sz="1000" b="1" noProof="0" dirty="0">
                        <a:effectLst/>
                        <a:latin typeface="+mn-lt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Digoxin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P-</a:t>
                      </a:r>
                      <a:r>
                        <a:rPr lang="de-DE" sz="1000" noProof="0" dirty="0" err="1">
                          <a:effectLst/>
                        </a:rPr>
                        <a:t>gp</a:t>
                      </a:r>
                      <a:r>
                        <a:rPr lang="de-DE" sz="1000" noProof="0" dirty="0">
                          <a:effectLst/>
                        </a:rPr>
                        <a:t>-Substrate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365233"/>
                  </a:ext>
                </a:extLst>
              </a:tr>
              <a:tr h="2201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noProof="0" dirty="0">
                          <a:effectLst/>
                        </a:rPr>
                        <a:t>Proton-pump </a:t>
                      </a:r>
                      <a:r>
                        <a:rPr lang="de-DE" sz="1000" b="1" noProof="0" dirty="0" err="1">
                          <a:effectLst/>
                        </a:rPr>
                        <a:t>inhibitors</a:t>
                      </a:r>
                      <a:endParaRPr lang="de-DE" sz="1000" b="1" noProof="0" dirty="0">
                        <a:effectLst/>
                        <a:latin typeface="+mn-lt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aseline="0" noProof="0"/>
                        <a:t>Omeprazol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CYP2C19-Substrate; CYP2C19-Inhibitor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1119589"/>
                  </a:ext>
                </a:extLst>
              </a:tr>
              <a:tr h="2201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noProof="0" dirty="0" err="1">
                          <a:effectLst/>
                        </a:rPr>
                        <a:t>Analgesics</a:t>
                      </a:r>
                      <a:endParaRPr lang="de-DE" sz="1000" b="1" noProof="0" dirty="0">
                        <a:effectLst/>
                        <a:latin typeface="+mn-lt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Fentanyl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aseline="0" noProof="0" dirty="0"/>
                        <a:t>CYP3A4-Substrate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8792977"/>
                  </a:ext>
                </a:extLst>
              </a:tr>
              <a:tr h="220167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noProof="0" dirty="0" err="1">
                          <a:effectLst/>
                        </a:rPr>
                        <a:t>Hypnotics</a:t>
                      </a:r>
                      <a:endParaRPr lang="de-DE" sz="1000" b="1" noProof="0" dirty="0">
                        <a:effectLst/>
                        <a:latin typeface="+mn-lt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Diazepam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CYP2C19-Substrate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8070479"/>
                  </a:ext>
                </a:extLst>
              </a:tr>
              <a:tr h="22016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kern="1200" noProof="0">
                          <a:effectLst/>
                        </a:rPr>
                        <a:t>Midazolam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CYP3A4-Substrate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3844446"/>
                  </a:ext>
                </a:extLst>
              </a:tr>
              <a:tr h="2201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noProof="0" dirty="0" err="1">
                          <a:effectLst/>
                        </a:rPr>
                        <a:t>Antipsychotics</a:t>
                      </a:r>
                      <a:endParaRPr lang="de-DE" sz="1000" b="1" noProof="0" dirty="0">
                        <a:effectLst/>
                        <a:latin typeface="+mn-lt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Haloperidol</a:t>
                      </a:r>
                      <a:endParaRPr lang="de-DE" sz="10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Substrate von CYP3A4 and CYP2D6; CYP2D6-Inhibitor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4525104"/>
                  </a:ext>
                </a:extLst>
              </a:tr>
              <a:tr h="220167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noProof="0" dirty="0" err="1">
                          <a:effectLst/>
                        </a:rPr>
                        <a:t>Antibiotics</a:t>
                      </a:r>
                      <a:endParaRPr lang="de-DE" sz="1000" b="1" noProof="0" dirty="0">
                        <a:effectLst/>
                        <a:latin typeface="+mn-lt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Clarithromycin</a:t>
                      </a:r>
                      <a:endParaRPr lang="de-DE" sz="1000" noProof="0">
                        <a:solidFill>
                          <a:srgbClr val="FF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Inhibitor </a:t>
                      </a:r>
                      <a:r>
                        <a:rPr lang="de-DE" sz="1000" noProof="0" dirty="0" err="1">
                          <a:effectLst/>
                        </a:rPr>
                        <a:t>of</a:t>
                      </a:r>
                      <a:r>
                        <a:rPr lang="de-DE" sz="1000" noProof="0" dirty="0">
                          <a:effectLst/>
                        </a:rPr>
                        <a:t> CYP3A4, P-</a:t>
                      </a:r>
                      <a:r>
                        <a:rPr lang="de-DE" sz="1000" noProof="0" dirty="0" err="1">
                          <a:effectLst/>
                        </a:rPr>
                        <a:t>Gp</a:t>
                      </a:r>
                      <a:r>
                        <a:rPr lang="de-DE" sz="1000" noProof="0" dirty="0">
                          <a:effectLst/>
                        </a:rPr>
                        <a:t>, OATP1B1 and OATP1B3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612190"/>
                  </a:ext>
                </a:extLst>
              </a:tr>
              <a:tr h="3939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Rifampin</a:t>
                      </a:r>
                      <a:endParaRPr lang="de-DE" sz="1000" noProof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kern="1200" noProof="0" dirty="0">
                          <a:effectLst/>
                        </a:rPr>
                        <a:t>Induktor </a:t>
                      </a:r>
                      <a:r>
                        <a:rPr lang="de-DE" sz="1000" kern="1200" noProof="0" dirty="0" err="1">
                          <a:effectLst/>
                        </a:rPr>
                        <a:t>of</a:t>
                      </a:r>
                      <a:r>
                        <a:rPr lang="de-DE" sz="1000" kern="1200" noProof="0" dirty="0">
                          <a:effectLst/>
                        </a:rPr>
                        <a:t> CYP1A2, 2B6, 2C8, 2C9, 2C19, 3A4 and P-</a:t>
                      </a:r>
                      <a:r>
                        <a:rPr lang="de-DE" sz="1000" kern="1200" noProof="0" dirty="0" err="1">
                          <a:effectLst/>
                        </a:rPr>
                        <a:t>gp</a:t>
                      </a:r>
                      <a:r>
                        <a:rPr lang="de-DE" sz="1000" kern="1200" noProof="0" dirty="0">
                          <a:effectLst/>
                        </a:rPr>
                        <a:t>; Inhibitor </a:t>
                      </a:r>
                      <a:r>
                        <a:rPr lang="de-DE" sz="1000" kern="1200" noProof="0" dirty="0" err="1">
                          <a:effectLst/>
                        </a:rPr>
                        <a:t>of</a:t>
                      </a:r>
                      <a:r>
                        <a:rPr lang="de-DE" sz="1000" kern="1200" noProof="0" dirty="0">
                          <a:effectLst/>
                        </a:rPr>
                        <a:t> OATP1B1 and OATP1B3</a:t>
                      </a:r>
                      <a:endParaRPr lang="de-DE" sz="1000" kern="1200" noProof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Times New Roman"/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402704"/>
                  </a:ext>
                </a:extLst>
              </a:tr>
              <a:tr h="2201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noProof="0" dirty="0" err="1">
                          <a:effectLst/>
                        </a:rPr>
                        <a:t>Anticonvulsants</a:t>
                      </a:r>
                      <a:endParaRPr lang="de-DE" sz="1000" b="1" noProof="0" dirty="0">
                        <a:effectLst/>
                        <a:latin typeface="+mn-lt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>
                          <a:effectLst/>
                        </a:rPr>
                        <a:t>Carbamazepin</a:t>
                      </a:r>
                      <a:endParaRPr lang="de-DE" sz="1000" noProof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kern="1200" noProof="0" dirty="0">
                          <a:effectLst/>
                        </a:rPr>
                        <a:t>Induktor </a:t>
                      </a:r>
                      <a:r>
                        <a:rPr lang="de-DE" sz="1000" kern="1200" noProof="0" dirty="0" err="1">
                          <a:effectLst/>
                        </a:rPr>
                        <a:t>of</a:t>
                      </a:r>
                      <a:r>
                        <a:rPr lang="de-DE" sz="1000" kern="1200" noProof="0" dirty="0">
                          <a:effectLst/>
                        </a:rPr>
                        <a:t> CYP2B6, CYP2C9, CYP3A4 and P-</a:t>
                      </a:r>
                      <a:r>
                        <a:rPr lang="de-DE" sz="1000" kern="1200" noProof="0" dirty="0" err="1">
                          <a:effectLst/>
                        </a:rPr>
                        <a:t>gp</a:t>
                      </a:r>
                      <a:endParaRPr lang="de-DE" sz="1000" kern="1200" noProof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050" b="1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kern="1200" baseline="3000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1933860"/>
                  </a:ext>
                </a:extLst>
              </a:tr>
              <a:tr h="2201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noProof="0" dirty="0" err="1">
                          <a:effectLst/>
                        </a:rPr>
                        <a:t>Statines</a:t>
                      </a:r>
                      <a:endParaRPr lang="de-DE" sz="1000" b="1" noProof="0" dirty="0">
                        <a:effectLst/>
                        <a:latin typeface="+mn-lt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 err="1">
                          <a:effectLst/>
                        </a:rPr>
                        <a:t>Simvastatin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noProof="0" dirty="0">
                          <a:effectLst/>
                        </a:rPr>
                        <a:t>Substrate </a:t>
                      </a:r>
                      <a:r>
                        <a:rPr lang="de-DE" sz="1000" noProof="0" dirty="0" err="1">
                          <a:effectLst/>
                        </a:rPr>
                        <a:t>of</a:t>
                      </a:r>
                      <a:r>
                        <a:rPr lang="de-DE" sz="1000" noProof="0">
                          <a:effectLst/>
                        </a:rPr>
                        <a:t> </a:t>
                      </a:r>
                      <a:r>
                        <a:rPr lang="de-DE" sz="1000" noProof="0" dirty="0">
                          <a:effectLst/>
                        </a:rPr>
                        <a:t>BCRP, </a:t>
                      </a:r>
                      <a:r>
                        <a:rPr lang="de-DE" sz="1000" noProof="0">
                          <a:effectLst/>
                        </a:rPr>
                        <a:t>OATP1B1 and </a:t>
                      </a:r>
                      <a:r>
                        <a:rPr lang="de-DE" sz="1000" noProof="0" dirty="0">
                          <a:effectLst/>
                        </a:rPr>
                        <a:t>OATP1B3</a:t>
                      </a:r>
                      <a:endParaRPr lang="de-DE" sz="10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0" noProof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sym typeface="Wingdings" panose="05000000000000000000" pitchFamily="2" charset="2"/>
                        </a:rPr>
                        <a:t>x</a:t>
                      </a:r>
                      <a:endParaRPr lang="de-DE" sz="1050" b="1" baseline="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1" baseline="30000" noProof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Times New Roman"/>
                          <a:sym typeface="Wingdings" panose="05000000000000000000" pitchFamily="2" charset="2"/>
                        </a:rPr>
                        <a:t>#</a:t>
                      </a:r>
                      <a:endParaRPr lang="de-DE" sz="1050" b="1" baseline="30000" noProof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6571" marR="36571" marT="18286" marB="18286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309219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47F9C758-F18C-41ED-BB06-EAF471DFC2D6}"/>
              </a:ext>
            </a:extLst>
          </p:cNvPr>
          <p:cNvSpPr txBox="1"/>
          <p:nvPr/>
        </p:nvSpPr>
        <p:spPr bwMode="gray">
          <a:xfrm>
            <a:off x="10692241" y="1296237"/>
            <a:ext cx="1088837" cy="45217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190112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7BC64B2-66EF-45BA-A9AD-B2AE020B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ARAMIS: Concomitant Medication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49F84A-C6E7-40E8-AE12-A6225A67F4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855325" y="6394453"/>
            <a:ext cx="4131266" cy="320673"/>
          </a:xfrm>
        </p:spPr>
        <p:txBody>
          <a:bodyPr/>
          <a:lstStyle/>
          <a:p>
            <a:pPr lvl="0"/>
            <a:r>
              <a:rPr lang="en-US" sz="800" dirty="0">
                <a:latin typeface="+mn-lt"/>
              </a:rPr>
              <a:t>AE, adverse event; ADT, androgen deprivation therapy; BPH, benign prostatic hyperplasia; DMARD, disease-modifying antirheumatic drug; ED, erectile dysfunction; OAB, overactive bladder. </a:t>
            </a:r>
          </a:p>
          <a:p>
            <a:pPr lvl="0"/>
            <a:r>
              <a:rPr lang="en-US" sz="800" baseline="30000" dirty="0" err="1">
                <a:latin typeface="+mn-lt"/>
              </a:rPr>
              <a:t>a</a:t>
            </a:r>
            <a:r>
              <a:rPr lang="en-US" sz="800" dirty="0" err="1">
                <a:latin typeface="+mn-lt"/>
              </a:rPr>
              <a:t>Includes</a:t>
            </a:r>
            <a:r>
              <a:rPr lang="en-US" sz="800" dirty="0">
                <a:latin typeface="+mn-lt"/>
              </a:rPr>
              <a:t> all uses of systemic corticosteroids; </a:t>
            </a:r>
            <a:r>
              <a:rPr lang="en-US" sz="800" baseline="30000" dirty="0" err="1">
                <a:latin typeface="+mn-lt"/>
              </a:rPr>
              <a:t>b</a:t>
            </a:r>
            <a:r>
              <a:rPr lang="en-US" sz="800" dirty="0" err="1">
                <a:latin typeface="+mn-lt"/>
              </a:rPr>
              <a:t>Includes</a:t>
            </a:r>
            <a:r>
              <a:rPr lang="en-US" sz="800" dirty="0">
                <a:latin typeface="+mn-lt"/>
              </a:rPr>
              <a:t> intestinal anti-inflammatory/anti-infective agents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AD79600-0D92-4782-B82C-98A083CA19A7}"/>
              </a:ext>
            </a:extLst>
          </p:cNvPr>
          <p:cNvGraphicFramePr>
            <a:graphicFrameLocks noGrp="1"/>
          </p:cNvGraphicFramePr>
          <p:nvPr/>
        </p:nvGraphicFramePr>
        <p:xfrm>
          <a:off x="176188" y="1174539"/>
          <a:ext cx="7104539" cy="5615168"/>
        </p:xfrm>
        <a:graphic>
          <a:graphicData uri="http://schemas.openxmlformats.org/drawingml/2006/table">
            <a:tbl>
              <a:tblPr firstRow="1" bandRow="1"/>
              <a:tblGrid>
                <a:gridCol w="4247539">
                  <a:extLst>
                    <a:ext uri="{9D8B030D-6E8A-4147-A177-3AD203B41FA5}">
                      <a16:colId xmlns:a16="http://schemas.microsoft.com/office/drawing/2014/main" val="3936507823"/>
                    </a:ext>
                  </a:extLst>
                </a:gridCol>
                <a:gridCol w="1401288">
                  <a:extLst>
                    <a:ext uri="{9D8B030D-6E8A-4147-A177-3AD203B41FA5}">
                      <a16:colId xmlns:a16="http://schemas.microsoft.com/office/drawing/2014/main" val="2681633779"/>
                    </a:ext>
                  </a:extLst>
                </a:gridCol>
                <a:gridCol w="1455712">
                  <a:extLst>
                    <a:ext uri="{9D8B030D-6E8A-4147-A177-3AD203B41FA5}">
                      <a16:colId xmlns:a16="http://schemas.microsoft.com/office/drawing/2014/main" val="688511223"/>
                    </a:ext>
                  </a:extLst>
                </a:gridCol>
              </a:tblGrid>
              <a:tr h="27563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50"/>
                        <a:t>Comedications </a:t>
                      </a:r>
                      <a:br>
                        <a:rPr lang="en-US" sz="1050"/>
                      </a:br>
                      <a:r>
                        <a:rPr lang="en-US" sz="1050"/>
                        <a:t>(by indication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50"/>
                        <a:t>Patients using comedication, n (%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5038151"/>
                  </a:ext>
                </a:extLst>
              </a:tr>
              <a:tr h="420590">
                <a:tc vMerge="1"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Darolutamide + ADT (N=955)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Placebo + ADT (N=554)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755303"/>
                  </a:ext>
                </a:extLst>
              </a:tr>
              <a:tr h="2570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r>
                        <a:rPr lang="en-US" sz="1050"/>
                        <a:t>Any comedication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50"/>
                        <a:t>943 (98.7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50"/>
                        <a:t>543 (98.0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64894"/>
                  </a:ext>
                </a:extLst>
              </a:tr>
              <a:tr h="15732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Cardiovascular disease</a:t>
                      </a:r>
                    </a:p>
                    <a:p>
                      <a:pPr marL="112713" indent="0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Agents acting on the renin-angiotensin system</a:t>
                      </a:r>
                    </a:p>
                    <a:p>
                      <a:pPr marL="112713" indent="0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Antithrombotics</a:t>
                      </a:r>
                    </a:p>
                    <a:p>
                      <a:pPr marL="112713" indent="0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Lipid-modifying agents</a:t>
                      </a:r>
                    </a:p>
                    <a:p>
                      <a:pPr marL="112713" indent="0"/>
                      <a:r>
                        <a:rPr lang="el-GR" sz="1050" b="0">
                          <a:solidFill>
                            <a:schemeClr val="tx1"/>
                          </a:solidFill>
                        </a:rPr>
                        <a:t>β-</a:t>
                      </a:r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blocking agents</a:t>
                      </a:r>
                    </a:p>
                    <a:p>
                      <a:pPr marL="112713" indent="0"/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Calcium channel blockers</a:t>
                      </a:r>
                    </a:p>
                    <a:p>
                      <a:pPr marL="112713" indent="0"/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Cardiac therapies (eg, glycosides, antiarrhythmics, antianginals)</a:t>
                      </a:r>
                    </a:p>
                    <a:p>
                      <a:pPr marL="112713" indent="0"/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Diuretics</a:t>
                      </a:r>
                    </a:p>
                    <a:p>
                      <a:pPr marL="112713" indent="0"/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Vasoprotectives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endParaRPr lang="en-US" sz="1050"/>
                    </a:p>
                    <a:p>
                      <a:pPr algn="ctr"/>
                      <a:r>
                        <a:rPr lang="en-US" sz="1050"/>
                        <a:t>522 (54.7)</a:t>
                      </a:r>
                    </a:p>
                    <a:p>
                      <a:pPr algn="ctr"/>
                      <a:r>
                        <a:rPr lang="en-US" sz="1050"/>
                        <a:t>409 (42.8)</a:t>
                      </a:r>
                    </a:p>
                    <a:p>
                      <a:pPr algn="ctr"/>
                      <a:r>
                        <a:rPr lang="en-US" sz="1050"/>
                        <a:t>329 (34.5)</a:t>
                      </a:r>
                    </a:p>
                    <a:p>
                      <a:pPr algn="ctr"/>
                      <a:r>
                        <a:rPr lang="en-US" sz="1050"/>
                        <a:t>283 (29.6)</a:t>
                      </a:r>
                    </a:p>
                    <a:p>
                      <a:pPr algn="ctr"/>
                      <a:r>
                        <a:rPr lang="en-US" sz="1050"/>
                        <a:t>217 (22.7)</a:t>
                      </a:r>
                    </a:p>
                    <a:p>
                      <a:pPr algn="ctr"/>
                      <a:r>
                        <a:rPr lang="en-US" sz="1050"/>
                        <a:t>212(22.2)</a:t>
                      </a:r>
                    </a:p>
                    <a:p>
                      <a:pPr algn="ctr"/>
                      <a:r>
                        <a:rPr lang="en-US" sz="1050"/>
                        <a:t>217 (22.7)</a:t>
                      </a:r>
                    </a:p>
                    <a:p>
                      <a:pPr algn="ctr"/>
                      <a:r>
                        <a:rPr lang="en-US" sz="1050"/>
                        <a:t>183 (19.2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endParaRPr lang="en-US" sz="1050"/>
                    </a:p>
                    <a:p>
                      <a:pPr algn="ctr"/>
                      <a:r>
                        <a:rPr lang="en-US" sz="1050"/>
                        <a:t>276 (49.8)</a:t>
                      </a:r>
                    </a:p>
                    <a:p>
                      <a:pPr algn="ctr"/>
                      <a:r>
                        <a:rPr lang="en-US" sz="1050"/>
                        <a:t>220 (39.7)</a:t>
                      </a:r>
                    </a:p>
                    <a:p>
                      <a:pPr algn="ctr"/>
                      <a:r>
                        <a:rPr lang="en-US" sz="1050"/>
                        <a:t>218 (39.4)</a:t>
                      </a:r>
                    </a:p>
                    <a:p>
                      <a:pPr algn="ctr"/>
                      <a:r>
                        <a:rPr lang="en-US" sz="1050"/>
                        <a:t>153 (27.6)</a:t>
                      </a:r>
                    </a:p>
                    <a:p>
                      <a:pPr algn="ctr"/>
                      <a:r>
                        <a:rPr lang="en-US" sz="1050"/>
                        <a:t>126 (22.7)</a:t>
                      </a:r>
                    </a:p>
                    <a:p>
                      <a:pPr algn="ctr"/>
                      <a:r>
                        <a:rPr lang="en-US" sz="1050"/>
                        <a:t>115 (20.8)</a:t>
                      </a:r>
                    </a:p>
                    <a:p>
                      <a:pPr algn="ctr"/>
                      <a:r>
                        <a:rPr lang="en-US" sz="1050"/>
                        <a:t>102 (18.4)</a:t>
                      </a:r>
                    </a:p>
                    <a:p>
                      <a:pPr algn="ctr"/>
                      <a:r>
                        <a:rPr lang="en-US" sz="1050"/>
                        <a:t>113 (20.4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914189"/>
                  </a:ext>
                </a:extLst>
              </a:tr>
              <a:tr h="7491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marL="0" indent="0"/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Pain and inflammation</a:t>
                      </a:r>
                    </a:p>
                    <a:p>
                      <a:pPr marL="112713" indent="0"/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Analgesics</a:t>
                      </a:r>
                    </a:p>
                    <a:p>
                      <a:pPr marL="112713" indent="0"/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Anti-inflammatories/DMARDs</a:t>
                      </a:r>
                    </a:p>
                    <a:p>
                      <a:pPr marL="112713" indent="0"/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Corticosteroids (systemic)</a:t>
                      </a:r>
                      <a:r>
                        <a:rPr lang="en-US" sz="1050" b="0" baseline="3000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endParaRPr lang="en-US" sz="1050"/>
                    </a:p>
                    <a:p>
                      <a:pPr algn="ctr"/>
                      <a:r>
                        <a:rPr lang="en-US" sz="1050"/>
                        <a:t>514 (53.8)</a:t>
                      </a:r>
                    </a:p>
                    <a:p>
                      <a:pPr algn="ctr"/>
                      <a:r>
                        <a:rPr lang="en-US" sz="1050"/>
                        <a:t>249 (26.1)</a:t>
                      </a:r>
                    </a:p>
                    <a:p>
                      <a:pPr algn="ctr"/>
                      <a:r>
                        <a:rPr lang="en-US" sz="1050"/>
                        <a:t>122 (12.8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endParaRPr lang="en-US" sz="1050"/>
                    </a:p>
                    <a:p>
                      <a:pPr algn="ctr"/>
                      <a:r>
                        <a:rPr lang="en-US" sz="1050"/>
                        <a:t>279 (50.4)</a:t>
                      </a:r>
                    </a:p>
                    <a:p>
                      <a:pPr algn="ctr"/>
                      <a:r>
                        <a:rPr lang="en-US" sz="1050"/>
                        <a:t>124 (22.4)</a:t>
                      </a:r>
                    </a:p>
                    <a:p>
                      <a:pPr algn="ctr"/>
                      <a:r>
                        <a:rPr lang="en-US" sz="1050"/>
                        <a:t>81 (14.6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935033"/>
                  </a:ext>
                </a:extLst>
              </a:tr>
              <a:tr h="4205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marL="0" indent="0"/>
                      <a:r>
                        <a:rPr lang="en-US" sz="1050" b="1" baseline="0">
                          <a:solidFill>
                            <a:schemeClr val="tx1"/>
                          </a:solidFill>
                        </a:rPr>
                        <a:t>Urological disorders</a:t>
                      </a:r>
                    </a:p>
                    <a:p>
                      <a:pPr marL="119063" indent="0"/>
                      <a:r>
                        <a:rPr lang="en-US" sz="1050" b="0" baseline="0">
                          <a:solidFill>
                            <a:schemeClr val="tx1"/>
                          </a:solidFill>
                        </a:rPr>
                        <a:t>Urologicals (eg, ED agents, BPH treatments, OAB treatments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endParaRPr lang="en-US" sz="1050"/>
                    </a:p>
                    <a:p>
                      <a:pPr algn="ctr"/>
                      <a:r>
                        <a:rPr lang="en-US" sz="1050"/>
                        <a:t>299 (31.3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endParaRPr lang="en-US" sz="1050"/>
                    </a:p>
                    <a:p>
                      <a:pPr algn="ctr"/>
                      <a:r>
                        <a:rPr lang="en-US" sz="1050"/>
                        <a:t>176 (31.8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387306"/>
                  </a:ext>
                </a:extLst>
              </a:tr>
              <a:tr h="9139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marL="0" indent="0"/>
                      <a:r>
                        <a:rPr lang="en-US" sz="1050" b="1" baseline="0">
                          <a:solidFill>
                            <a:schemeClr val="tx1"/>
                          </a:solidFill>
                        </a:rPr>
                        <a:t>GI and metabolic disorders</a:t>
                      </a:r>
                    </a:p>
                    <a:p>
                      <a:pPr marL="112713" indent="0"/>
                      <a:r>
                        <a:rPr lang="en-US" sz="1050" b="0" baseline="0">
                          <a:solidFill>
                            <a:schemeClr val="tx1"/>
                          </a:solidFill>
                        </a:rPr>
                        <a:t>Acid-related disorders</a:t>
                      </a:r>
                    </a:p>
                    <a:p>
                      <a:pPr marL="112713" indent="0"/>
                      <a:r>
                        <a:rPr lang="en-US" sz="1050" b="0" baseline="0">
                          <a:solidFill>
                            <a:schemeClr val="tx1"/>
                          </a:solidFill>
                        </a:rPr>
                        <a:t>Antidiabetics</a:t>
                      </a:r>
                    </a:p>
                    <a:p>
                      <a:pPr marL="112713" indent="0"/>
                      <a:r>
                        <a:rPr lang="en-US" sz="1050" b="0" baseline="0">
                          <a:solidFill>
                            <a:schemeClr val="tx1"/>
                          </a:solidFill>
                        </a:rPr>
                        <a:t>Antidiarrheals</a:t>
                      </a:r>
                      <a:r>
                        <a:rPr lang="en-US" sz="1050" b="0" baseline="3000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  <a:p>
                      <a:pPr marL="112713" indent="0"/>
                      <a:r>
                        <a:rPr lang="en-US" sz="1050" b="0" baseline="0">
                          <a:solidFill>
                            <a:schemeClr val="tx1"/>
                          </a:solidFill>
                        </a:rPr>
                        <a:t>Constipation medications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endParaRPr lang="en-US" sz="1050"/>
                    </a:p>
                    <a:p>
                      <a:pPr algn="ctr"/>
                      <a:r>
                        <a:rPr lang="en-US" sz="1050"/>
                        <a:t>281 (29.4)</a:t>
                      </a:r>
                    </a:p>
                    <a:p>
                      <a:pPr algn="ctr"/>
                      <a:r>
                        <a:rPr lang="en-US" sz="1050"/>
                        <a:t>176 (18.4)</a:t>
                      </a:r>
                    </a:p>
                    <a:p>
                      <a:pPr algn="ctr"/>
                      <a:r>
                        <a:rPr lang="en-US" sz="1050"/>
                        <a:t>145 (15.2)</a:t>
                      </a:r>
                    </a:p>
                    <a:p>
                      <a:pPr algn="ctr"/>
                      <a:r>
                        <a:rPr lang="en-US" sz="1050"/>
                        <a:t>156 (16.3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endParaRPr lang="en-US" sz="1050"/>
                    </a:p>
                    <a:p>
                      <a:pPr algn="ctr"/>
                      <a:r>
                        <a:rPr lang="en-US" sz="1050"/>
                        <a:t>170 (30.7)</a:t>
                      </a:r>
                    </a:p>
                    <a:p>
                      <a:pPr algn="ctr"/>
                      <a:r>
                        <a:rPr lang="en-US" sz="1050"/>
                        <a:t>119 (21.5)</a:t>
                      </a:r>
                    </a:p>
                    <a:p>
                      <a:pPr algn="ctr"/>
                      <a:r>
                        <a:rPr lang="en-US" sz="1050"/>
                        <a:t>95 (17.1)</a:t>
                      </a:r>
                    </a:p>
                    <a:p>
                      <a:pPr algn="ctr"/>
                      <a:r>
                        <a:rPr lang="en-US" sz="1050"/>
                        <a:t>70 (12.6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6873943"/>
                  </a:ext>
                </a:extLst>
              </a:tr>
              <a:tr h="4205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marL="0" indent="0"/>
                      <a:r>
                        <a:rPr lang="en-US" sz="1050" b="1" baseline="0"/>
                        <a:t>Infection</a:t>
                      </a:r>
                    </a:p>
                    <a:p>
                      <a:pPr marL="119063" indent="0"/>
                      <a:r>
                        <a:rPr lang="en-US" sz="1050" b="0" baseline="0"/>
                        <a:t>Antibiotics (systemic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endParaRPr lang="en-US" sz="1050"/>
                    </a:p>
                    <a:p>
                      <a:pPr algn="ctr"/>
                      <a:r>
                        <a:rPr lang="en-US" sz="1050"/>
                        <a:t>257 (26.9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endParaRPr lang="en-US" sz="1050"/>
                    </a:p>
                    <a:p>
                      <a:pPr algn="ctr"/>
                      <a:r>
                        <a:rPr lang="en-US" sz="1050"/>
                        <a:t>138 (24.9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175380"/>
                  </a:ext>
                </a:extLst>
              </a:tr>
              <a:tr h="5843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marL="0" indent="0"/>
                      <a:r>
                        <a:rPr lang="en-US" sz="1050" b="1" baseline="0"/>
                        <a:t>Nervous system disorders</a:t>
                      </a:r>
                      <a:endParaRPr lang="en-US" sz="1050" b="0" baseline="0"/>
                    </a:p>
                    <a:p>
                      <a:pPr marL="119063" indent="0"/>
                      <a:r>
                        <a:rPr lang="en-US" sz="1050" b="0" baseline="0"/>
                        <a:t>Psycholeptics</a:t>
                      </a:r>
                    </a:p>
                    <a:p>
                      <a:pPr marL="119063" indent="0"/>
                      <a:r>
                        <a:rPr lang="en-US" sz="1050" b="0" baseline="0"/>
                        <a:t>Psychoanaleptics</a:t>
                      </a:r>
                      <a:endParaRPr lang="en-US" sz="1050" b="1" baseline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endParaRPr lang="en-US" sz="1050"/>
                    </a:p>
                    <a:p>
                      <a:pPr algn="ctr"/>
                      <a:r>
                        <a:rPr lang="en-US" sz="1050"/>
                        <a:t>188 (19.7)</a:t>
                      </a:r>
                    </a:p>
                    <a:p>
                      <a:pPr algn="ctr"/>
                      <a:r>
                        <a:rPr lang="en-US" sz="1050"/>
                        <a:t>108 (11.3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/>
                      <a:endParaRPr lang="en-US" sz="1050"/>
                    </a:p>
                    <a:p>
                      <a:pPr algn="ctr"/>
                      <a:r>
                        <a:rPr lang="en-US" sz="1050"/>
                        <a:t>109 (19.7)</a:t>
                      </a:r>
                    </a:p>
                    <a:p>
                      <a:pPr algn="ctr"/>
                      <a:r>
                        <a:rPr lang="en-US" sz="1050"/>
                        <a:t>52 (9.4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>
                        <a:lumMod val="10000"/>
                        <a:lumOff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200758"/>
                  </a:ext>
                </a:extLst>
              </a:tr>
            </a:tbl>
          </a:graphicData>
        </a:graphic>
      </p:graphicFrame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D2DD620-5F86-4139-8199-76D9D635124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436311" y="1174540"/>
            <a:ext cx="4469286" cy="51138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fontAlgn="base">
              <a:spcBef>
                <a:spcPts val="300"/>
              </a:spcBef>
              <a:spcAft>
                <a:spcPts val="600"/>
              </a:spcAft>
              <a:buBlip>
                <a:blip r:embed="rId3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fontAlgn="base">
              <a:spcBef>
                <a:spcPts val="300"/>
              </a:spcBef>
              <a:spcAft>
                <a:spcPts val="600"/>
              </a:spcAft>
              <a:buBlip>
                <a:blip r:embed="rId4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rtl="0" fontAlgn="base">
              <a:spcBef>
                <a:spcPts val="300"/>
              </a:spcBef>
              <a:spcAft>
                <a:spcPts val="600"/>
              </a:spcAft>
              <a:buBlip>
                <a:blip r:embed="rId5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rtl="0" fontAlgn="base">
              <a:spcBef>
                <a:spcPts val="300"/>
              </a:spcBef>
              <a:spcAft>
                <a:spcPts val="600"/>
              </a:spcAft>
              <a:buBlip>
                <a:blip r:embed="rId6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</a:rPr>
              <a:t>In ARAMIS, 98.7% of patients in the </a:t>
            </a:r>
            <a:r>
              <a:rPr lang="en-US" sz="1400" dirty="0" err="1">
                <a:solidFill>
                  <a:srgbClr val="000000"/>
                </a:solidFill>
                <a:latin typeface="Arial"/>
                <a:cs typeface="Arial"/>
              </a:rPr>
              <a:t>darolutamide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</a:rPr>
              <a:t> arm and 98.0% of patients in the placebo arm received at least one concomitant medication</a:t>
            </a:r>
            <a:r>
              <a:rPr lang="en-US" sz="1400" baseline="30000" dirty="0">
                <a:solidFill>
                  <a:srgbClr val="000000"/>
                </a:solidFill>
                <a:latin typeface="Arial"/>
                <a:cs typeface="Arial"/>
              </a:rPr>
              <a:t>31</a:t>
            </a:r>
          </a:p>
          <a:p>
            <a:pPr lvl="2"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  <a:t>The most common concomitant medications were antihypertensives and analgesics</a:t>
            </a:r>
            <a:r>
              <a:rPr lang="en-US" sz="1200" baseline="30000" dirty="0">
                <a:solidFill>
                  <a:srgbClr val="000000"/>
                </a:solidFill>
                <a:latin typeface="Arial"/>
                <a:cs typeface="Arial"/>
              </a:rPr>
              <a:t>31</a:t>
            </a:r>
          </a:p>
          <a:p>
            <a:pPr lvl="2"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  <a:t>Concomitant use of statins and </a:t>
            </a:r>
            <a:r>
              <a:rPr lang="en-US" sz="1200" dirty="0" err="1">
                <a:solidFill>
                  <a:srgbClr val="000000"/>
                </a:solidFill>
                <a:latin typeface="Arial"/>
                <a:cs typeface="Arial"/>
              </a:rPr>
              <a:t>antithrombotics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  <a:t> was common, and similar between </a:t>
            </a:r>
            <a:r>
              <a:rPr lang="en-US" sz="1200" dirty="0" err="1">
                <a:solidFill>
                  <a:srgbClr val="000000"/>
                </a:solidFill>
                <a:latin typeface="Arial"/>
                <a:cs typeface="Arial"/>
              </a:rPr>
              <a:t>darolutamide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  <a:t> and placebo arms</a:t>
            </a:r>
            <a:r>
              <a:rPr lang="en-US" sz="1200" baseline="30000" dirty="0">
                <a:solidFill>
                  <a:srgbClr val="000000"/>
                </a:solidFill>
                <a:latin typeface="Arial"/>
                <a:cs typeface="Arial"/>
              </a:rPr>
              <a:t>31</a:t>
            </a:r>
            <a:endParaRPr lang="en-US" sz="1200" dirty="0">
              <a:solidFill>
                <a:srgbClr val="000000"/>
              </a:solidFill>
              <a:latin typeface="Arial"/>
              <a:cs typeface="Arial"/>
            </a:endParaRPr>
          </a:p>
          <a:p>
            <a:pPr lvl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</a:rPr>
              <a:t>The incidence of AEs was comparable between </a:t>
            </a:r>
            <a:r>
              <a:rPr lang="en-US" sz="1400" dirty="0">
                <a:latin typeface="Arial"/>
                <a:cs typeface="Arial"/>
              </a:rPr>
              <a:t>patients treated with </a:t>
            </a:r>
            <a:r>
              <a:rPr lang="en-US" sz="1400" dirty="0" err="1">
                <a:latin typeface="Arial"/>
                <a:cs typeface="Arial"/>
              </a:rPr>
              <a:t>darolutamide</a:t>
            </a:r>
            <a:r>
              <a:rPr lang="en-US" sz="1400" dirty="0">
                <a:latin typeface="Arial"/>
                <a:cs typeface="Arial"/>
              </a:rPr>
              <a:t> and those treated with placebo, and did not appear to be increased significantly by drug-drug interactions</a:t>
            </a:r>
            <a:r>
              <a:rPr lang="en-US" sz="1400" baseline="30000" dirty="0">
                <a:latin typeface="Arial"/>
                <a:cs typeface="Arial"/>
              </a:rPr>
              <a:t>8,31</a:t>
            </a:r>
          </a:p>
          <a:p>
            <a:pPr lvl="2"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  <a:t>The overall incidence of drug-related TEAEs was comparable between patients receiving concomitant statins in both treatment arms</a:t>
            </a:r>
            <a:r>
              <a:rPr lang="en-US" sz="1200" baseline="30000" dirty="0">
                <a:solidFill>
                  <a:srgbClr val="000000"/>
                </a:solidFill>
                <a:latin typeface="Arial"/>
                <a:cs typeface="Arial"/>
              </a:rPr>
              <a:t>31</a:t>
            </a:r>
          </a:p>
          <a:p>
            <a:pPr lvl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</a:rPr>
              <a:t>The percentage of patients with dose modifications or who permanently discontinued the study drug due to AEs was also comparable between the study arms</a:t>
            </a:r>
            <a:r>
              <a:rPr lang="en-US" sz="1400" baseline="30000" dirty="0">
                <a:solidFill>
                  <a:srgbClr val="000000"/>
                </a:solidFill>
                <a:latin typeface="Arial"/>
                <a:cs typeface="Arial"/>
              </a:rPr>
              <a:t>8,3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7B76F11-36F7-4DAC-B5B9-D5FC8858FD10}"/>
              </a:ext>
            </a:extLst>
          </p:cNvPr>
          <p:cNvSpPr/>
          <p:nvPr/>
        </p:nvSpPr>
        <p:spPr bwMode="gray">
          <a:xfrm>
            <a:off x="188220" y="1858174"/>
            <a:ext cx="7104539" cy="294640"/>
          </a:xfrm>
          <a:prstGeom prst="rect">
            <a:avLst/>
          </a:prstGeom>
          <a:noFill/>
          <a:ln w="25400" cap="flat" cmpd="sng" algn="ctr">
            <a:solidFill>
              <a:srgbClr val="FF3162"/>
            </a:solidFill>
            <a:prstDash val="solid"/>
          </a:ln>
          <a:effectLst/>
        </p:spPr>
        <p:txBody>
          <a:bodyPr rtlCol="0" anchor="ctr"/>
          <a:lstStyle/>
          <a:p>
            <a:pPr algn="ctr" eaLnBrk="0" hangingPunct="0">
              <a:defRPr/>
            </a:pPr>
            <a:endParaRPr lang="en-US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D664AD-0FE0-4B57-9AA9-0645627A5843}"/>
              </a:ext>
            </a:extLst>
          </p:cNvPr>
          <p:cNvSpPr/>
          <p:nvPr/>
        </p:nvSpPr>
        <p:spPr bwMode="gray">
          <a:xfrm>
            <a:off x="188219" y="3910494"/>
            <a:ext cx="7104539" cy="164592"/>
          </a:xfrm>
          <a:prstGeom prst="rect">
            <a:avLst/>
          </a:prstGeom>
          <a:noFill/>
          <a:ln w="25400" cap="flat" cmpd="sng" algn="ctr">
            <a:solidFill>
              <a:srgbClr val="FF3162"/>
            </a:solidFill>
            <a:prstDash val="solid"/>
          </a:ln>
          <a:effectLst/>
        </p:spPr>
        <p:txBody>
          <a:bodyPr rtlCol="0" anchor="ctr"/>
          <a:lstStyle/>
          <a:p>
            <a:pPr algn="ctr" eaLnBrk="0" hangingPunct="0">
              <a:defRPr/>
            </a:pPr>
            <a:endParaRPr lang="en-US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C199D9-E504-4C83-9FF7-2B86011F5911}"/>
              </a:ext>
            </a:extLst>
          </p:cNvPr>
          <p:cNvSpPr/>
          <p:nvPr/>
        </p:nvSpPr>
        <p:spPr bwMode="gray">
          <a:xfrm>
            <a:off x="188218" y="2320476"/>
            <a:ext cx="7104539" cy="499916"/>
          </a:xfrm>
          <a:prstGeom prst="rect">
            <a:avLst/>
          </a:prstGeom>
          <a:noFill/>
          <a:ln w="25400" cap="flat" cmpd="sng" algn="ctr">
            <a:solidFill>
              <a:srgbClr val="FF3162"/>
            </a:solidFill>
            <a:prstDash val="solid"/>
          </a:ln>
          <a:effectLst/>
        </p:spPr>
        <p:txBody>
          <a:bodyPr rtlCol="0" anchor="ctr"/>
          <a:lstStyle/>
          <a:p>
            <a:pPr algn="ctr" eaLnBrk="0" hangingPunct="0">
              <a:defRPr/>
            </a:pPr>
            <a:endParaRPr lang="en-US" kern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740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7BC64B2-66EF-45BA-A9AD-B2AE020B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ARAMIS Conclusion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49F84A-C6E7-40E8-AE12-A6225A67F4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82100" y="6357584"/>
            <a:ext cx="11483048" cy="42712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latin typeface="+mn-lt"/>
              </a:rPr>
              <a:t>ADT, androgen deprivation therapy; AE, adverse event; AR, androgen receptor; </a:t>
            </a:r>
            <a:r>
              <a:rPr lang="en-US" sz="800" dirty="0" err="1">
                <a:latin typeface="+mn-lt"/>
              </a:rPr>
              <a:t>ARi</a:t>
            </a:r>
            <a:r>
              <a:rPr lang="en-US" sz="800" dirty="0">
                <a:latin typeface="+mn-lt"/>
              </a:rPr>
              <a:t>, androgen receptor inhibitor; HR, hazard ratio; HRQOL, health-related quality of life; MFS, metastasis-free survival; </a:t>
            </a:r>
            <a:r>
              <a:rPr lang="en-US" sz="800" dirty="0" err="1">
                <a:latin typeface="+mn-lt"/>
              </a:rPr>
              <a:t>nmCRPC</a:t>
            </a:r>
            <a:r>
              <a:rPr lang="en-US" sz="800" dirty="0">
                <a:latin typeface="+mn-lt"/>
              </a:rPr>
              <a:t>, nonmetastatic castrate-resistant prostate cancer; OS, overall survival; PRO, patient-reported outcome; PSA, prostate-specific antigen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91FFA3-A87F-4B33-BCB4-795D3485017C}"/>
              </a:ext>
            </a:extLst>
          </p:cNvPr>
          <p:cNvSpPr/>
          <p:nvPr/>
        </p:nvSpPr>
        <p:spPr bwMode="gray">
          <a:xfrm>
            <a:off x="228440" y="1460040"/>
            <a:ext cx="3722750" cy="3810460"/>
          </a:xfrm>
          <a:prstGeom prst="rect">
            <a:avLst/>
          </a:prstGeom>
          <a:noFill/>
          <a:ln w="31750" cap="flat" cmpd="sng" algn="ctr">
            <a:solidFill>
              <a:srgbClr val="00BCFF"/>
            </a:solidFill>
            <a:prstDash val="solid"/>
          </a:ln>
          <a:effectLst/>
        </p:spPr>
        <p:txBody>
          <a:bodyPr tIns="91440" rtlCol="0" anchor="t" anchorCtr="0"/>
          <a:lstStyle/>
          <a:p>
            <a:pPr algn="ctr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1600" b="1" kern="0" dirty="0">
                <a:solidFill>
                  <a:srgbClr val="00BCFF"/>
                </a:solidFill>
                <a:latin typeface="+mn-lt"/>
                <a:cs typeface="Arial"/>
              </a:rPr>
              <a:t>Efficacy</a:t>
            </a:r>
          </a:p>
          <a:p>
            <a:pPr marL="269875" lvl="1" indent="-269875">
              <a:spcBef>
                <a:spcPts val="300"/>
              </a:spcBef>
              <a:spcAft>
                <a:spcPts val="600"/>
              </a:spcAft>
              <a:buBlip>
                <a:blip r:embed="rId3"/>
              </a:buBlip>
              <a:defRPr/>
            </a:pPr>
            <a:r>
              <a:rPr lang="en-US" sz="1400" kern="0" dirty="0" err="1">
                <a:solidFill>
                  <a:srgbClr val="000000"/>
                </a:solidFill>
                <a:latin typeface="+mn-lt"/>
                <a:cs typeface="Arial"/>
              </a:rPr>
              <a:t>Darolutamide</a:t>
            </a:r>
            <a:r>
              <a:rPr lang="en-US" sz="1400" kern="0" dirty="0">
                <a:solidFill>
                  <a:srgbClr val="000000"/>
                </a:solidFill>
                <a:latin typeface="+mn-lt"/>
                <a:cs typeface="Arial"/>
              </a:rPr>
              <a:t> + ADT improved MFS by a median of 22 months (40.4 months vs 18.4 months with placebo + ADT; HR 0.41; </a:t>
            </a:r>
            <a:r>
              <a:rPr lang="en-US" sz="1400" i="1" kern="0" dirty="0">
                <a:solidFill>
                  <a:srgbClr val="000000"/>
                </a:solidFill>
                <a:latin typeface="+mn-lt"/>
                <a:cs typeface="Arial"/>
              </a:rPr>
              <a:t>P</a:t>
            </a:r>
            <a:r>
              <a:rPr lang="en-US" sz="1400" kern="0" dirty="0">
                <a:solidFill>
                  <a:srgbClr val="000000"/>
                </a:solidFill>
                <a:latin typeface="+mn-lt"/>
                <a:cs typeface="Arial"/>
              </a:rPr>
              <a:t>&lt;0.001)</a:t>
            </a:r>
            <a:r>
              <a:rPr lang="en-US" sz="1400" kern="0" baseline="30000" dirty="0">
                <a:solidFill>
                  <a:srgbClr val="000000"/>
                </a:solidFill>
                <a:latin typeface="+mn-lt"/>
                <a:cs typeface="Arial"/>
              </a:rPr>
              <a:t>8</a:t>
            </a:r>
            <a:endParaRPr lang="en-US" sz="1400" kern="0" dirty="0">
              <a:solidFill>
                <a:srgbClr val="000000"/>
              </a:solidFill>
              <a:latin typeface="+mn-lt"/>
              <a:cs typeface="Arial"/>
            </a:endParaRPr>
          </a:p>
          <a:p>
            <a:pPr marL="269875" lvl="1" indent="-269875">
              <a:spcBef>
                <a:spcPts val="300"/>
              </a:spcBef>
              <a:spcAft>
                <a:spcPts val="600"/>
              </a:spcAft>
              <a:buBlip>
                <a:blip r:embed="rId3"/>
              </a:buBlip>
              <a:defRPr/>
            </a:pPr>
            <a:r>
              <a:rPr lang="en-US" sz="1400" kern="0" dirty="0" err="1">
                <a:solidFill>
                  <a:sysClr val="windowText" lastClr="000000"/>
                </a:solidFill>
                <a:latin typeface="+mn-lt"/>
                <a:cs typeface="Arial"/>
              </a:rPr>
              <a:t>Darolutamide</a:t>
            </a:r>
            <a:r>
              <a:rPr lang="en-US" sz="1400" kern="0" dirty="0">
                <a:solidFill>
                  <a:sysClr val="windowText" lastClr="000000"/>
                </a:solidFill>
                <a:latin typeface="+mn-lt"/>
                <a:cs typeface="Arial"/>
              </a:rPr>
              <a:t> significantly reduced the risk of death by 31% in men with </a:t>
            </a:r>
            <a:r>
              <a:rPr lang="en-US" sz="1400" kern="0" dirty="0" err="1">
                <a:solidFill>
                  <a:sysClr val="windowText" lastClr="000000"/>
                </a:solidFill>
                <a:latin typeface="+mn-lt"/>
                <a:cs typeface="Arial"/>
              </a:rPr>
              <a:t>nmCRPC</a:t>
            </a:r>
            <a:r>
              <a:rPr lang="en-US" sz="1400" kern="0" dirty="0">
                <a:solidFill>
                  <a:sysClr val="windowText" lastClr="000000"/>
                </a:solidFill>
                <a:latin typeface="+mn-lt"/>
                <a:cs typeface="Arial"/>
              </a:rPr>
              <a:t> (</a:t>
            </a:r>
            <a:r>
              <a:rPr lang="en-US" sz="1400" dirty="0">
                <a:latin typeface="+mn-lt"/>
                <a:cs typeface="Arial" panose="020B0604020202020204" pitchFamily="34" charset="0"/>
              </a:rPr>
              <a:t>HR 0.69; 95% CI 0.53-0.88; </a:t>
            </a:r>
            <a:r>
              <a:rPr lang="en-US" sz="1400" i="1" dirty="0">
                <a:latin typeface="+mn-lt"/>
                <a:cs typeface="Arial" panose="020B0604020202020204" pitchFamily="34" charset="0"/>
              </a:rPr>
              <a:t>P</a:t>
            </a:r>
            <a:r>
              <a:rPr lang="en-US" sz="1400" dirty="0">
                <a:latin typeface="+mn-lt"/>
                <a:cs typeface="Arial" panose="020B0604020202020204" pitchFamily="34" charset="0"/>
              </a:rPr>
              <a:t>=0.003)</a:t>
            </a:r>
            <a:r>
              <a:rPr lang="en-US" sz="1400" baseline="30000" dirty="0">
                <a:latin typeface="+mn-lt"/>
                <a:cs typeface="Arial" panose="020B0604020202020204" pitchFamily="34" charset="0"/>
              </a:rPr>
              <a:t>36</a:t>
            </a:r>
            <a:endParaRPr lang="en-US" sz="1400" kern="0" baseline="30000" dirty="0">
              <a:solidFill>
                <a:sysClr val="windowText" lastClr="000000"/>
              </a:solidFill>
              <a:latin typeface="+mn-lt"/>
              <a:cs typeface="Arial"/>
            </a:endParaRPr>
          </a:p>
          <a:p>
            <a:pPr marL="727075" lvl="2" indent="-269875">
              <a:spcBef>
                <a:spcPts val="300"/>
              </a:spcBef>
              <a:spcAft>
                <a:spcPts val="600"/>
              </a:spcAft>
              <a:buBlip>
                <a:blip r:embed="rId3"/>
              </a:buBlip>
              <a:defRPr/>
            </a:pPr>
            <a:r>
              <a:rPr lang="en-US" sz="1300" kern="0" dirty="0" err="1">
                <a:latin typeface="+mn-lt"/>
              </a:rPr>
              <a:t>Darolutamide</a:t>
            </a:r>
            <a:r>
              <a:rPr lang="en-US" sz="1300" kern="0" dirty="0">
                <a:latin typeface="+mn-lt"/>
              </a:rPr>
              <a:t> significantly improved clinically meaningful endpoints including: delaying pain progression by ~15 months, significant delay in time to initiation of cytotoxic chemotherapy (HR 0.58) and in time to first SSE (HR 0.48)</a:t>
            </a:r>
            <a:endParaRPr lang="en-US" sz="1300" kern="0" dirty="0">
              <a:latin typeface="+mn-lt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97BA253-AE1E-4527-AB58-FEDFB7F81BFE}"/>
              </a:ext>
            </a:extLst>
          </p:cNvPr>
          <p:cNvSpPr/>
          <p:nvPr/>
        </p:nvSpPr>
        <p:spPr bwMode="gray">
          <a:xfrm>
            <a:off x="4235419" y="1460040"/>
            <a:ext cx="3722750" cy="3810460"/>
          </a:xfrm>
          <a:prstGeom prst="rect">
            <a:avLst/>
          </a:prstGeom>
          <a:noFill/>
          <a:ln w="31750" cap="flat" cmpd="sng" algn="ctr">
            <a:solidFill>
              <a:srgbClr val="FF3162"/>
            </a:solidFill>
            <a:prstDash val="solid"/>
          </a:ln>
          <a:effectLst/>
        </p:spPr>
        <p:txBody>
          <a:bodyPr tIns="91440" rtlCol="0" anchor="t" anchorCtr="0"/>
          <a:lstStyle/>
          <a:p>
            <a:pPr algn="ctr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1600" b="1" kern="0" dirty="0">
                <a:solidFill>
                  <a:srgbClr val="FF3162"/>
                </a:solidFill>
                <a:latin typeface="Arial"/>
                <a:cs typeface="Arial"/>
              </a:rPr>
              <a:t>Safety</a:t>
            </a:r>
          </a:p>
          <a:p>
            <a:pPr marL="269875" lvl="1" indent="-269875">
              <a:spcBef>
                <a:spcPts val="300"/>
              </a:spcBef>
              <a:spcAft>
                <a:spcPts val="600"/>
              </a:spcAft>
              <a:buBlip>
                <a:blip r:embed="rId3"/>
              </a:buBlip>
              <a:defRPr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</a:rPr>
              <a:t>In the final analysis of ARAMIS, </a:t>
            </a:r>
            <a:r>
              <a:rPr lang="en-US" sz="1400" kern="0" dirty="0" err="1">
                <a:solidFill>
                  <a:srgbClr val="000000"/>
                </a:solidFill>
                <a:latin typeface="Arial"/>
                <a:cs typeface="Arial"/>
              </a:rPr>
              <a:t>darolutamide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</a:rPr>
              <a:t> continued to only show ≤2% differences between the </a:t>
            </a:r>
            <a:r>
              <a:rPr lang="en-US" sz="1400" kern="0" dirty="0" err="1">
                <a:solidFill>
                  <a:srgbClr val="000000"/>
                </a:solidFill>
                <a:latin typeface="Arial"/>
                <a:cs typeface="Arial"/>
              </a:rPr>
              <a:t>darolutamide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</a:rPr>
              <a:t> and placebo arms for most AEs of interest</a:t>
            </a:r>
            <a:r>
              <a:rPr lang="en-US" sz="1400" kern="0" baseline="30000" dirty="0">
                <a:solidFill>
                  <a:srgbClr val="000000"/>
                </a:solidFill>
                <a:latin typeface="Arial"/>
                <a:cs typeface="Arial"/>
              </a:rPr>
              <a:t>36</a:t>
            </a:r>
          </a:p>
          <a:p>
            <a:pPr marL="727075" lvl="2" indent="-269875">
              <a:spcBef>
                <a:spcPts val="300"/>
              </a:spcBef>
              <a:spcAft>
                <a:spcPts val="600"/>
              </a:spcAft>
              <a:buBlip>
                <a:blip r:embed="rId3"/>
              </a:buBlip>
              <a:defRPr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</a:rPr>
              <a:t>Fatigue was the only AE with more than 10% incidence in the </a:t>
            </a:r>
            <a:r>
              <a:rPr lang="en-US" sz="1400" kern="0" dirty="0" err="1">
                <a:solidFill>
                  <a:srgbClr val="000000"/>
                </a:solidFill>
                <a:latin typeface="Arial"/>
                <a:cs typeface="Arial"/>
              </a:rPr>
              <a:t>darolutamide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</a:rPr>
              <a:t> arm (13.2% vs 8.3% in the placebo arm)</a:t>
            </a:r>
            <a:r>
              <a:rPr lang="en-US" sz="1400" kern="0" baseline="30000" dirty="0">
                <a:solidFill>
                  <a:srgbClr val="000000"/>
                </a:solidFill>
                <a:latin typeface="Arial"/>
                <a:cs typeface="Arial"/>
              </a:rPr>
              <a:t>36</a:t>
            </a:r>
          </a:p>
          <a:p>
            <a:pPr marL="269875" lvl="1" indent="-269875">
              <a:spcBef>
                <a:spcPts val="300"/>
              </a:spcBef>
              <a:spcAft>
                <a:spcPts val="600"/>
              </a:spcAft>
              <a:buBlip>
                <a:blip r:embed="rId3"/>
              </a:buBlip>
              <a:defRPr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</a:rPr>
              <a:t>Discontinuation rates due to AEs in the ARAMIS final analysis remained unchanged and were similar to placebo, highlighting the favorable tolerability profile for </a:t>
            </a:r>
            <a:r>
              <a:rPr lang="en-US" sz="1400" kern="0" dirty="0" err="1">
                <a:solidFill>
                  <a:srgbClr val="000000"/>
                </a:solidFill>
                <a:latin typeface="Arial"/>
                <a:cs typeface="Arial"/>
              </a:rPr>
              <a:t>darolutamide</a:t>
            </a:r>
            <a:endParaRPr lang="en-US" sz="14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FF6A6D-5DAD-49E4-835F-D8B7B14A1939}"/>
              </a:ext>
            </a:extLst>
          </p:cNvPr>
          <p:cNvSpPr/>
          <p:nvPr/>
        </p:nvSpPr>
        <p:spPr bwMode="gray">
          <a:xfrm>
            <a:off x="8242398" y="1464290"/>
            <a:ext cx="3722750" cy="3806211"/>
          </a:xfrm>
          <a:prstGeom prst="rect">
            <a:avLst/>
          </a:prstGeom>
          <a:noFill/>
          <a:ln w="31750" cap="flat" cmpd="sng" algn="ctr">
            <a:solidFill>
              <a:srgbClr val="89D329"/>
            </a:solidFill>
            <a:prstDash val="solid"/>
          </a:ln>
          <a:effectLst/>
        </p:spPr>
        <p:txBody>
          <a:bodyPr tIns="91440" rtlCol="0" anchor="t" anchorCtr="0"/>
          <a:lstStyle/>
          <a:p>
            <a:pPr algn="ctr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1600" b="1" kern="0" dirty="0">
                <a:solidFill>
                  <a:srgbClr val="89D329"/>
                </a:solidFill>
                <a:latin typeface="Arial"/>
                <a:cs typeface="Arial"/>
              </a:rPr>
              <a:t>Quality of Life</a:t>
            </a:r>
          </a:p>
          <a:p>
            <a:pPr marL="269875" lvl="1" indent="-269875">
              <a:spcBef>
                <a:spcPts val="300"/>
              </a:spcBef>
              <a:spcAft>
                <a:spcPts val="600"/>
              </a:spcAft>
              <a:buBlip>
                <a:blip r:embed="rId3"/>
              </a:buBlip>
              <a:defRPr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</a:rPr>
              <a:t>HRQOL was maintained in patients treated with </a:t>
            </a:r>
            <a:r>
              <a:rPr lang="en-US" sz="1400" kern="0" dirty="0" err="1">
                <a:solidFill>
                  <a:srgbClr val="000000"/>
                </a:solidFill>
                <a:latin typeface="Arial"/>
                <a:cs typeface="Arial"/>
              </a:rPr>
              <a:t>darolutamide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</a:rPr>
              <a:t> + ADT</a:t>
            </a:r>
            <a:r>
              <a:rPr lang="en-US" sz="1400" kern="0" baseline="30000" dirty="0">
                <a:solidFill>
                  <a:srgbClr val="000000"/>
                </a:solidFill>
                <a:latin typeface="Arial"/>
                <a:cs typeface="Arial"/>
              </a:rPr>
              <a:t>37,38</a:t>
            </a:r>
            <a:endParaRPr lang="en-US" sz="14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69875" lvl="1" indent="-269875">
              <a:spcBef>
                <a:spcPts val="300"/>
              </a:spcBef>
              <a:spcAft>
                <a:spcPts val="600"/>
              </a:spcAft>
              <a:buBlip>
                <a:blip r:embed="rId3"/>
              </a:buBlip>
              <a:defRPr/>
            </a:pPr>
            <a:r>
              <a:rPr lang="en-US" sz="1400" kern="0" dirty="0" err="1">
                <a:solidFill>
                  <a:srgbClr val="000000"/>
                </a:solidFill>
                <a:latin typeface="Arial"/>
                <a:cs typeface="Arial"/>
              </a:rPr>
              <a:t>Darolutamide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</a:rPr>
              <a:t> + ADT demonstrated </a:t>
            </a:r>
            <a:r>
              <a:rPr lang="en-US" altLang="en-US" sz="1400" kern="0" dirty="0">
                <a:solidFill>
                  <a:srgbClr val="000000"/>
                </a:solidFill>
                <a:latin typeface="Arial"/>
                <a:cs typeface="Arial"/>
              </a:rPr>
              <a:t>clinically significant delays in time to deterioration of local symptoms compared with placebo + ADT</a:t>
            </a:r>
            <a:r>
              <a:rPr lang="en-US" altLang="en-US" sz="1400" kern="0" baseline="30000" dirty="0">
                <a:solidFill>
                  <a:srgbClr val="000000"/>
                </a:solidFill>
                <a:latin typeface="Arial"/>
                <a:cs typeface="Arial"/>
              </a:rPr>
              <a:t>37,38</a:t>
            </a:r>
            <a:endParaRPr lang="en-US" altLang="en-US" sz="14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84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262E6D-A405-49D3-8FBE-FDAF7A87D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de-CH" dirty="0"/>
              <a:t>Reference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4357A5B-15FE-4DBB-B5E0-5F268277036F}"/>
              </a:ext>
            </a:extLst>
          </p:cNvPr>
          <p:cNvSpPr txBox="1"/>
          <p:nvPr/>
        </p:nvSpPr>
        <p:spPr bwMode="gray">
          <a:xfrm>
            <a:off x="200025" y="1289971"/>
            <a:ext cx="11791950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de-CH" sz="800" dirty="0">
                <a:latin typeface="+mn-lt"/>
              </a:rPr>
              <a:t>Professional Information NUBEQA; www.swissmedicinfo.ch, Stand June 2022</a:t>
            </a:r>
          </a:p>
          <a:p>
            <a:pPr marL="342900" indent="-342900">
              <a:buAutoNum type="arabicPeriod"/>
            </a:pPr>
            <a:r>
              <a:rPr lang="de-CH" sz="800" dirty="0">
                <a:latin typeface="+mn-lt"/>
              </a:rPr>
              <a:t>EAU – EANM – ESTRO – ESUR – SIOG Guidelines on Prostate Cancer 2024. </a:t>
            </a:r>
            <a:r>
              <a:rPr lang="de-CH" sz="800" dirty="0" err="1">
                <a:latin typeface="+mn-lt"/>
              </a:rPr>
              <a:t>Available</a:t>
            </a:r>
            <a:r>
              <a:rPr lang="de-CH" sz="800" dirty="0">
                <a:latin typeface="+mn-lt"/>
              </a:rPr>
              <a:t> at: https://uroweb.org/guideline/prostate-cancer/. </a:t>
            </a:r>
            <a:r>
              <a:rPr lang="de-CH" sz="800" dirty="0" err="1">
                <a:latin typeface="+mn-lt"/>
              </a:rPr>
              <a:t>Accessed</a:t>
            </a:r>
            <a:r>
              <a:rPr lang="de-CH" sz="800" dirty="0">
                <a:latin typeface="+mn-lt"/>
              </a:rPr>
              <a:t> June 2024</a:t>
            </a:r>
          </a:p>
          <a:p>
            <a:pPr marL="342900" indent="-342900">
              <a:buAutoNum type="arabicPeriod"/>
            </a:pPr>
            <a:r>
              <a:rPr lang="en-US" sz="800" dirty="0">
                <a:latin typeface="+mn-lt"/>
              </a:rPr>
              <a:t>Crawford, E.D., et al. Challenges and recommendations for early identification of metastatic disease in prostate cancer. Urology, 2014. 83: 664</a:t>
            </a:r>
          </a:p>
          <a:p>
            <a:pPr marL="342900" indent="-342900">
              <a:buAutoNum type="arabicPeriod"/>
            </a:pPr>
            <a:r>
              <a:rPr lang="en-US" sz="800" dirty="0">
                <a:latin typeface="+mn-lt"/>
                <a:ea typeface="ＭＳ Ｐゴシック" pitchFamily="-106" charset="-128"/>
              </a:rPr>
              <a:t>Luo J, Beer TM, Graff JN. Treatment of Nonmetastatic Castration-Resistant Prostate Cancer. Oncology (Williston Park). 2016;30(4):336-344.</a:t>
            </a:r>
          </a:p>
          <a:p>
            <a:pPr marL="342900" indent="-342900">
              <a:buFontTx/>
              <a:buAutoNum type="arabicPeriod"/>
            </a:pPr>
            <a:r>
              <a:rPr lang="de-CH" sz="800" dirty="0" err="1">
                <a:latin typeface="+mn-lt"/>
              </a:rPr>
              <a:t>Selli</a:t>
            </a:r>
            <a:r>
              <a:rPr lang="de-CH" sz="800" dirty="0">
                <a:latin typeface="+mn-lt"/>
              </a:rPr>
              <a:t> C et al.</a:t>
            </a:r>
            <a:r>
              <a:rPr lang="en-US" sz="800" dirty="0">
                <a:latin typeface="+mn-lt"/>
              </a:rPr>
              <a:t> Burden of Illness in Prostate Cancer Patients with a Low-to-Moderate Risk of Progression: A One-Year, Pan-European Observational Study.</a:t>
            </a:r>
            <a:r>
              <a:rPr lang="de-CH" sz="800" dirty="0">
                <a:latin typeface="+mn-lt"/>
              </a:rPr>
              <a:t> Prostate Cancer. 2014;2014:472949.</a:t>
            </a:r>
          </a:p>
          <a:p>
            <a:pPr marL="342900" indent="-342900">
              <a:buFontTx/>
              <a:buAutoNum type="arabicPeriod"/>
            </a:pPr>
            <a:r>
              <a:rPr lang="de-CH" sz="800" dirty="0">
                <a:latin typeface="+mn-lt"/>
              </a:rPr>
              <a:t>Ryan CJ et al. </a:t>
            </a:r>
            <a:r>
              <a:rPr lang="en-US" sz="800" dirty="0">
                <a:latin typeface="+mn-lt"/>
              </a:rPr>
              <a:t>The IMAAGEN Study: Effect of Abiraterone Acetate and Prednisone on Prostate Specific Antigen and Radiographic Disease Progression in Patients with Nonmetastatic Castration Resistant Prostate Cancer. </a:t>
            </a:r>
            <a:r>
              <a:rPr lang="de-CH" sz="800" dirty="0">
                <a:latin typeface="+mn-lt"/>
              </a:rPr>
              <a:t>J </a:t>
            </a:r>
            <a:r>
              <a:rPr lang="de-CH" sz="800" dirty="0" err="1">
                <a:latin typeface="+mn-lt"/>
              </a:rPr>
              <a:t>Urol</a:t>
            </a:r>
            <a:r>
              <a:rPr lang="de-CH" sz="800" dirty="0">
                <a:latin typeface="+mn-lt"/>
              </a:rPr>
              <a:t>. 2018;200:344-352. </a:t>
            </a:r>
          </a:p>
          <a:p>
            <a:pPr marL="342900" indent="-342900">
              <a:buFontTx/>
              <a:buAutoNum type="arabicPeriod"/>
            </a:pPr>
            <a:r>
              <a:rPr lang="de-CH" sz="800" dirty="0">
                <a:latin typeface="+mn-lt"/>
              </a:rPr>
              <a:t>Parker C, et al. </a:t>
            </a:r>
            <a:r>
              <a:rPr lang="en-US" sz="800" dirty="0">
                <a:latin typeface="+mn-lt"/>
              </a:rPr>
              <a:t>Alpha emitter radium-223 and survival in metastatic prostate cancer. </a:t>
            </a:r>
            <a:r>
              <a:rPr lang="de-CH" sz="800" dirty="0">
                <a:latin typeface="+mn-lt"/>
              </a:rPr>
              <a:t>N Engl J Med. 2013;369(3):213-223.</a:t>
            </a:r>
          </a:p>
          <a:p>
            <a:pPr marL="342900" indent="-342900">
              <a:buFontTx/>
              <a:buAutoNum type="arabicPeriod"/>
            </a:pPr>
            <a:r>
              <a:rPr lang="de-CH" sz="800" dirty="0" err="1">
                <a:latin typeface="+mn-lt"/>
              </a:rPr>
              <a:t>Fizazi</a:t>
            </a:r>
            <a:r>
              <a:rPr lang="de-CH" sz="800" dirty="0">
                <a:latin typeface="+mn-lt"/>
              </a:rPr>
              <a:t> K et al. </a:t>
            </a:r>
            <a:r>
              <a:rPr lang="it-IT" sz="800" dirty="0" err="1">
                <a:latin typeface="+mn-lt"/>
              </a:rPr>
              <a:t>Darolutamide</a:t>
            </a:r>
            <a:r>
              <a:rPr lang="it-IT" sz="800" dirty="0">
                <a:latin typeface="+mn-lt"/>
              </a:rPr>
              <a:t> in </a:t>
            </a:r>
            <a:r>
              <a:rPr lang="it-IT" sz="800" dirty="0" err="1">
                <a:latin typeface="+mn-lt"/>
              </a:rPr>
              <a:t>Nonmetastatic</a:t>
            </a:r>
            <a:r>
              <a:rPr lang="it-IT" sz="800" dirty="0">
                <a:latin typeface="+mn-lt"/>
              </a:rPr>
              <a:t>, </a:t>
            </a:r>
            <a:r>
              <a:rPr lang="it-IT" sz="800" dirty="0" err="1">
                <a:latin typeface="+mn-lt"/>
              </a:rPr>
              <a:t>Castration-Resistant</a:t>
            </a:r>
            <a:r>
              <a:rPr lang="it-IT" sz="800" dirty="0">
                <a:latin typeface="+mn-lt"/>
              </a:rPr>
              <a:t> Prostate Cancer. </a:t>
            </a:r>
            <a:r>
              <a:rPr lang="de-CH" sz="800" dirty="0">
                <a:latin typeface="+mn-lt"/>
              </a:rPr>
              <a:t>N Engl J Med. 2019;380:1235-1246. </a:t>
            </a:r>
          </a:p>
          <a:p>
            <a:pPr marL="342900" indent="-342900">
              <a:buFontTx/>
              <a:buAutoNum type="arabicPeriod"/>
            </a:pPr>
            <a:r>
              <a:rPr lang="de-CH" sz="800" dirty="0">
                <a:latin typeface="+mn-lt"/>
              </a:rPr>
              <a:t>Smith MR et al.</a:t>
            </a:r>
            <a:r>
              <a:rPr lang="en-US" sz="800" dirty="0">
                <a:latin typeface="+mn-lt"/>
              </a:rPr>
              <a:t> Apalutamide Treatment and Metastasis-free Survival in Prostate Cancer.</a:t>
            </a:r>
            <a:r>
              <a:rPr lang="de-CH" sz="800" dirty="0">
                <a:latin typeface="+mn-lt"/>
              </a:rPr>
              <a:t> N Engl J Med. 2018;378:1408-1418.</a:t>
            </a:r>
          </a:p>
          <a:p>
            <a:pPr marL="342900" indent="-342900">
              <a:buFontTx/>
              <a:buAutoNum type="arabicPeriod"/>
            </a:pPr>
            <a:r>
              <a:rPr lang="de-CH" sz="800" dirty="0">
                <a:latin typeface="+mn-lt"/>
              </a:rPr>
              <a:t>Hussain M et al. </a:t>
            </a:r>
            <a:r>
              <a:rPr lang="en-US" sz="800" dirty="0">
                <a:latin typeface="+mn-lt"/>
              </a:rPr>
              <a:t>Enzalutamide in Men with Nonmetastatic, Castration-Resistant Prostate Cancer. </a:t>
            </a:r>
            <a:r>
              <a:rPr lang="de-CH" sz="800" dirty="0">
                <a:latin typeface="+mn-lt"/>
              </a:rPr>
              <a:t>N Engl J Med. 2018;378:2465-2474. </a:t>
            </a:r>
          </a:p>
          <a:p>
            <a:pPr marL="342900" indent="-342900">
              <a:buFontTx/>
              <a:buAutoNum type="arabicPeriod"/>
            </a:pPr>
            <a:r>
              <a:rPr lang="de-CH" sz="800" dirty="0">
                <a:latin typeface="+mn-lt"/>
              </a:rPr>
              <a:t>Beer TM et al.</a:t>
            </a:r>
            <a:r>
              <a:rPr lang="en-US" sz="800" dirty="0">
                <a:latin typeface="+mn-lt"/>
              </a:rPr>
              <a:t> Enzalutamide in Men with Chemotherapy-naïve Metastatic Castration-resistant Prostate Cancer: Extended Analysis of the Phase 3 PREVAIL Study.</a:t>
            </a:r>
            <a:r>
              <a:rPr lang="de-CH" sz="800" dirty="0">
                <a:latin typeface="+mn-lt"/>
              </a:rPr>
              <a:t> Eur </a:t>
            </a:r>
            <a:r>
              <a:rPr lang="de-CH" sz="800" dirty="0" err="1">
                <a:latin typeface="+mn-lt"/>
              </a:rPr>
              <a:t>Urol</a:t>
            </a:r>
            <a:r>
              <a:rPr lang="de-CH" sz="800" dirty="0">
                <a:latin typeface="+mn-lt"/>
              </a:rPr>
              <a:t> 2017;71:151-154. </a:t>
            </a:r>
          </a:p>
          <a:p>
            <a:pPr marL="342900" indent="-342900">
              <a:buFontTx/>
              <a:buAutoNum type="arabicPeriod"/>
            </a:pPr>
            <a:r>
              <a:rPr lang="de-CH" sz="800" dirty="0">
                <a:latin typeface="+mn-lt"/>
              </a:rPr>
              <a:t>Beer TM et al. </a:t>
            </a:r>
            <a:r>
              <a:rPr lang="de-CH" sz="800" dirty="0" err="1">
                <a:latin typeface="+mn-lt"/>
              </a:rPr>
              <a:t>Enzalutamide</a:t>
            </a:r>
            <a:r>
              <a:rPr lang="de-CH" sz="800" dirty="0">
                <a:latin typeface="+mn-lt"/>
              </a:rPr>
              <a:t> in </a:t>
            </a:r>
            <a:r>
              <a:rPr lang="de-CH" sz="800" dirty="0" err="1">
                <a:latin typeface="+mn-lt"/>
              </a:rPr>
              <a:t>metastatic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prostate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cancer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before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chemotherapy</a:t>
            </a:r>
            <a:r>
              <a:rPr lang="de-CH" sz="800" dirty="0">
                <a:latin typeface="+mn-lt"/>
              </a:rPr>
              <a:t>. N Engl J Med. 2014;371:424-433.</a:t>
            </a:r>
          </a:p>
          <a:p>
            <a:pPr marL="342900" indent="-342900">
              <a:buFontTx/>
              <a:buAutoNum type="arabicPeriod"/>
            </a:pPr>
            <a:r>
              <a:rPr lang="de-CH" sz="800" dirty="0">
                <a:latin typeface="+mn-lt"/>
              </a:rPr>
              <a:t>Ryan CJ et al. </a:t>
            </a:r>
            <a:r>
              <a:rPr lang="en-US" sz="800" dirty="0">
                <a:latin typeface="+mn-lt"/>
              </a:rPr>
              <a:t>Abiraterone in metastatic prostate cancer without previous chemotherapy. </a:t>
            </a:r>
            <a:r>
              <a:rPr lang="de-CH" sz="800" dirty="0">
                <a:latin typeface="+mn-lt"/>
              </a:rPr>
              <a:t>N Engl J Med. 2013;368:138-148.</a:t>
            </a:r>
          </a:p>
          <a:p>
            <a:pPr marL="342900" indent="-342900">
              <a:buFontTx/>
              <a:buAutoNum type="arabicPeriod"/>
            </a:pPr>
            <a:r>
              <a:rPr lang="de-CH" sz="800" dirty="0" err="1">
                <a:latin typeface="+mn-lt"/>
              </a:rPr>
              <a:t>Pezaro</a:t>
            </a:r>
            <a:r>
              <a:rPr lang="de-CH" sz="800" dirty="0">
                <a:latin typeface="+mn-lt"/>
              </a:rPr>
              <a:t> CJ, et al. </a:t>
            </a:r>
            <a:r>
              <a:rPr lang="it-IT" sz="800" dirty="0" err="1">
                <a:latin typeface="+mn-lt"/>
              </a:rPr>
              <a:t>Visceral</a:t>
            </a:r>
            <a:r>
              <a:rPr lang="it-IT" sz="800" dirty="0">
                <a:latin typeface="+mn-lt"/>
              </a:rPr>
              <a:t> </a:t>
            </a:r>
            <a:r>
              <a:rPr lang="it-IT" sz="800" dirty="0" err="1">
                <a:latin typeface="+mn-lt"/>
              </a:rPr>
              <a:t>disease</a:t>
            </a:r>
            <a:r>
              <a:rPr lang="it-IT" sz="800" dirty="0">
                <a:latin typeface="+mn-lt"/>
              </a:rPr>
              <a:t> in </a:t>
            </a:r>
            <a:r>
              <a:rPr lang="it-IT" sz="800" dirty="0" err="1">
                <a:latin typeface="+mn-lt"/>
              </a:rPr>
              <a:t>castration-resistant</a:t>
            </a:r>
            <a:r>
              <a:rPr lang="it-IT" sz="800" dirty="0">
                <a:latin typeface="+mn-lt"/>
              </a:rPr>
              <a:t> prostate </a:t>
            </a:r>
            <a:r>
              <a:rPr lang="it-IT" sz="800" dirty="0" err="1">
                <a:latin typeface="+mn-lt"/>
              </a:rPr>
              <a:t>cancer</a:t>
            </a:r>
            <a:r>
              <a:rPr lang="it-IT" sz="800" dirty="0">
                <a:latin typeface="+mn-lt"/>
              </a:rPr>
              <a:t>. </a:t>
            </a:r>
            <a:r>
              <a:rPr lang="de-CH" sz="800" dirty="0">
                <a:latin typeface="+mn-lt"/>
              </a:rPr>
              <a:t>Eur </a:t>
            </a:r>
            <a:r>
              <a:rPr lang="de-CH" sz="800" dirty="0" err="1">
                <a:latin typeface="+mn-lt"/>
              </a:rPr>
              <a:t>Urol</a:t>
            </a:r>
            <a:r>
              <a:rPr lang="de-CH" sz="800" dirty="0">
                <a:latin typeface="+mn-lt"/>
              </a:rPr>
              <a:t>. 2014;65(2):270-273. </a:t>
            </a:r>
          </a:p>
          <a:p>
            <a:pPr marL="342900" indent="-342900">
              <a:buFontTx/>
              <a:buAutoNum type="arabicPeriod"/>
            </a:pPr>
            <a:r>
              <a:rPr lang="de-CH" sz="800" dirty="0">
                <a:latin typeface="+mn-lt"/>
              </a:rPr>
              <a:t>Ryan CJ, et al. </a:t>
            </a:r>
            <a:r>
              <a:rPr lang="de-CH" sz="800" dirty="0" err="1">
                <a:latin typeface="+mn-lt"/>
              </a:rPr>
              <a:t>Abiraterone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acetate</a:t>
            </a:r>
            <a:r>
              <a:rPr lang="de-CH" sz="800" dirty="0">
                <a:latin typeface="+mn-lt"/>
              </a:rPr>
              <a:t> plus </a:t>
            </a:r>
            <a:r>
              <a:rPr lang="de-CH" sz="800" dirty="0" err="1">
                <a:latin typeface="+mn-lt"/>
              </a:rPr>
              <a:t>prednisone</a:t>
            </a:r>
            <a:r>
              <a:rPr lang="de-CH" sz="800" dirty="0">
                <a:latin typeface="+mn-lt"/>
              </a:rPr>
              <a:t> versus </a:t>
            </a:r>
            <a:r>
              <a:rPr lang="de-CH" sz="800" dirty="0" err="1">
                <a:latin typeface="+mn-lt"/>
              </a:rPr>
              <a:t>placebo</a:t>
            </a:r>
            <a:r>
              <a:rPr lang="de-CH" sz="800" dirty="0">
                <a:latin typeface="+mn-lt"/>
              </a:rPr>
              <a:t> plus </a:t>
            </a:r>
            <a:r>
              <a:rPr lang="de-CH" sz="800" dirty="0" err="1">
                <a:latin typeface="+mn-lt"/>
              </a:rPr>
              <a:t>prednisone</a:t>
            </a:r>
            <a:r>
              <a:rPr lang="de-CH" sz="800" dirty="0">
                <a:latin typeface="+mn-lt"/>
              </a:rPr>
              <a:t> in </a:t>
            </a:r>
            <a:r>
              <a:rPr lang="de-CH" sz="800" dirty="0" err="1">
                <a:latin typeface="+mn-lt"/>
              </a:rPr>
              <a:t>chemotherapy</a:t>
            </a:r>
            <a:r>
              <a:rPr lang="de-CH" sz="800" dirty="0">
                <a:latin typeface="+mn-lt"/>
              </a:rPr>
              <a:t>-naive </a:t>
            </a:r>
            <a:r>
              <a:rPr lang="de-CH" sz="800" dirty="0" err="1">
                <a:latin typeface="+mn-lt"/>
              </a:rPr>
              <a:t>men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with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metastatic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castration-resistant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prostate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cancer</a:t>
            </a:r>
            <a:r>
              <a:rPr lang="de-CH" sz="800" dirty="0">
                <a:latin typeface="+mn-lt"/>
              </a:rPr>
              <a:t> (COU-AA-302): final </a:t>
            </a:r>
            <a:r>
              <a:rPr lang="de-CH" sz="800" dirty="0" err="1">
                <a:latin typeface="+mn-lt"/>
              </a:rPr>
              <a:t>overall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survival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analysis</a:t>
            </a:r>
            <a:r>
              <a:rPr lang="de-CH" sz="800" dirty="0">
                <a:latin typeface="+mn-lt"/>
              </a:rPr>
              <a:t> of a </a:t>
            </a:r>
            <a:r>
              <a:rPr lang="de-CH" sz="800" dirty="0" err="1">
                <a:latin typeface="+mn-lt"/>
              </a:rPr>
              <a:t>randomised</a:t>
            </a:r>
            <a:r>
              <a:rPr lang="de-CH" sz="800" dirty="0">
                <a:latin typeface="+mn-lt"/>
              </a:rPr>
              <a:t>, double-blind, </a:t>
            </a:r>
            <a:r>
              <a:rPr lang="de-CH" sz="800" dirty="0" err="1">
                <a:latin typeface="+mn-lt"/>
              </a:rPr>
              <a:t>placebo-controlled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phase</a:t>
            </a:r>
            <a:r>
              <a:rPr lang="de-CH" sz="800" dirty="0">
                <a:latin typeface="+mn-lt"/>
              </a:rPr>
              <a:t> 3 </a:t>
            </a:r>
            <a:r>
              <a:rPr lang="de-CH" sz="800" dirty="0" err="1">
                <a:latin typeface="+mn-lt"/>
              </a:rPr>
              <a:t>study</a:t>
            </a:r>
            <a:r>
              <a:rPr lang="de-CH" sz="800" dirty="0">
                <a:latin typeface="+mn-lt"/>
              </a:rPr>
              <a:t>. Lancet </a:t>
            </a:r>
            <a:r>
              <a:rPr lang="de-CH" sz="800" dirty="0" err="1">
                <a:latin typeface="+mn-lt"/>
              </a:rPr>
              <a:t>Oncol</a:t>
            </a:r>
            <a:r>
              <a:rPr lang="de-CH" sz="800" dirty="0">
                <a:latin typeface="+mn-lt"/>
              </a:rPr>
              <a:t>. 2015;16(2):152-160.</a:t>
            </a:r>
          </a:p>
          <a:p>
            <a:pPr marL="342900" indent="-342900">
              <a:buFontTx/>
              <a:buAutoNum type="arabicPeriod"/>
            </a:pPr>
            <a:r>
              <a:rPr lang="de-CH" sz="800" dirty="0">
                <a:latin typeface="+mn-lt"/>
              </a:rPr>
              <a:t>NCCN Guidelines® Prostate Cancer. Version 4.2024. </a:t>
            </a:r>
            <a:r>
              <a:rPr lang="de-CH" sz="800" dirty="0" err="1">
                <a:latin typeface="+mn-lt"/>
              </a:rPr>
              <a:t>Available</a:t>
            </a:r>
            <a:r>
              <a:rPr lang="de-CH" sz="800" dirty="0">
                <a:latin typeface="+mn-lt"/>
              </a:rPr>
              <a:t> at: https://www.nccn.org . </a:t>
            </a:r>
            <a:r>
              <a:rPr lang="de-CH" sz="800" dirty="0" err="1">
                <a:latin typeface="+mn-lt"/>
              </a:rPr>
              <a:t>Accessed</a:t>
            </a:r>
            <a:r>
              <a:rPr lang="de-CH" sz="800" dirty="0">
                <a:latin typeface="+mn-lt"/>
              </a:rPr>
              <a:t> June 2024. </a:t>
            </a:r>
          </a:p>
          <a:p>
            <a:pPr marL="342900" indent="-342900">
              <a:buFontTx/>
              <a:buAutoNum type="arabicPeriod"/>
            </a:pPr>
            <a:r>
              <a:rPr lang="en-US" altLang="en-US" sz="800" dirty="0">
                <a:latin typeface="+mn-lt"/>
              </a:rPr>
              <a:t>Kirby M, et al. </a:t>
            </a:r>
            <a:r>
              <a:rPr lang="en-US" altLang="en-US" sz="800" dirty="0" err="1">
                <a:latin typeface="+mn-lt"/>
              </a:rPr>
              <a:t>Characterising</a:t>
            </a:r>
            <a:r>
              <a:rPr lang="en-US" altLang="en-US" sz="800" dirty="0">
                <a:latin typeface="+mn-lt"/>
              </a:rPr>
              <a:t> the castration-resistant prostate cancer population: a systematic review. </a:t>
            </a:r>
            <a:r>
              <a:rPr lang="en-US" altLang="en-US" sz="800" i="1" dirty="0">
                <a:latin typeface="+mn-lt"/>
              </a:rPr>
              <a:t>Int J Clin </a:t>
            </a:r>
            <a:r>
              <a:rPr lang="en-US" altLang="en-US" sz="800" i="1" dirty="0" err="1">
                <a:latin typeface="+mn-lt"/>
              </a:rPr>
              <a:t>Pract</a:t>
            </a:r>
            <a:r>
              <a:rPr lang="en-US" altLang="en-US" sz="800" i="1" dirty="0">
                <a:latin typeface="+mn-lt"/>
              </a:rPr>
              <a:t>. </a:t>
            </a:r>
            <a:r>
              <a:rPr lang="en-US" altLang="en-US" sz="800" dirty="0">
                <a:latin typeface="+mn-lt"/>
              </a:rPr>
              <a:t>2011;65(11):1180-1192. </a:t>
            </a:r>
          </a:p>
          <a:p>
            <a:pPr marL="342900" indent="-342900">
              <a:buFontTx/>
              <a:buAutoNum type="arabicPeriod"/>
            </a:pPr>
            <a:r>
              <a:rPr lang="en-US" altLang="en-US" sz="800" dirty="0" err="1">
                <a:latin typeface="+mn-lt"/>
              </a:rPr>
              <a:t>Nørgaard</a:t>
            </a:r>
            <a:r>
              <a:rPr lang="en-US" altLang="en-US" sz="800" dirty="0">
                <a:latin typeface="+mn-lt"/>
              </a:rPr>
              <a:t> M, et al. Skeletal related events, bone metastasis and survival of prostate cancer: a population based cohort study in Denmark (1999 to 2007). </a:t>
            </a:r>
            <a:r>
              <a:rPr lang="en-US" altLang="en-US" sz="800" i="1" dirty="0">
                <a:latin typeface="+mn-lt"/>
              </a:rPr>
              <a:t>J Urol.</a:t>
            </a:r>
            <a:r>
              <a:rPr lang="en-US" altLang="en-US" sz="800" dirty="0">
                <a:latin typeface="+mn-lt"/>
              </a:rPr>
              <a:t> 2010;184(1):162-167. </a:t>
            </a:r>
          </a:p>
          <a:p>
            <a:pPr marL="342900" indent="-342900">
              <a:buFontTx/>
              <a:buAutoNum type="arabicPeriod"/>
            </a:pPr>
            <a:r>
              <a:rPr lang="en-US" altLang="en-US" sz="800" dirty="0">
                <a:latin typeface="+mn-lt"/>
              </a:rPr>
              <a:t>Hagiwara M, et al. Healthcare utilization and costs associated with skeletal-related events in prostate cancer patients with bone metastases. </a:t>
            </a:r>
            <a:r>
              <a:rPr lang="en-US" altLang="en-US" sz="800" i="1" dirty="0">
                <a:latin typeface="+mn-lt"/>
              </a:rPr>
              <a:t>Prostate Cancer Prostatic Dis</a:t>
            </a:r>
            <a:r>
              <a:rPr lang="en-US" altLang="en-US" sz="800" dirty="0">
                <a:latin typeface="+mn-lt"/>
              </a:rPr>
              <a:t>. 2013;16(1):23-27.</a:t>
            </a:r>
          </a:p>
          <a:p>
            <a:pPr marL="342900" indent="-342900">
              <a:buFontTx/>
              <a:buAutoNum type="arabicPeriod"/>
            </a:pPr>
            <a:r>
              <a:rPr lang="en-US" altLang="en-US" sz="800" dirty="0">
                <a:latin typeface="+mn-lt"/>
              </a:rPr>
              <a:t>Jayasekera J, et al. The economic burden of skeletal-related events among elderly men with metastatic prostate cancer. </a:t>
            </a:r>
            <a:r>
              <a:rPr lang="en-US" altLang="en-US" sz="800" i="1" dirty="0">
                <a:latin typeface="+mn-lt"/>
              </a:rPr>
              <a:t>Pharmacoeconomics.</a:t>
            </a:r>
            <a:r>
              <a:rPr lang="en-US" altLang="en-US" sz="800" dirty="0">
                <a:latin typeface="+mn-lt"/>
              </a:rPr>
              <a:t> 2014;32(2):173-191. </a:t>
            </a:r>
          </a:p>
          <a:p>
            <a:pPr marL="342900" indent="-342900">
              <a:buFontTx/>
              <a:buAutoNum type="arabicPeriod"/>
            </a:pPr>
            <a:r>
              <a:rPr lang="en-US" altLang="en-US" sz="800" dirty="0">
                <a:latin typeface="+mn-lt"/>
              </a:rPr>
              <a:t>McDougall JA, et al. The Clinical and Economic Impacts of Skeletal-Related Events Among Medicare Enrollees With Prostate Cancer Metastatic to Bone. </a:t>
            </a:r>
            <a:r>
              <a:rPr lang="en-US" altLang="en-US" sz="800" i="1" dirty="0">
                <a:latin typeface="+mn-lt"/>
              </a:rPr>
              <a:t>Oncologist.</a:t>
            </a:r>
            <a:r>
              <a:rPr lang="en-US" altLang="en-US" sz="800" dirty="0">
                <a:latin typeface="+mn-lt"/>
              </a:rPr>
              <a:t> 2016;21(3):320-326. </a:t>
            </a:r>
          </a:p>
          <a:p>
            <a:pPr marL="342900" indent="-342900">
              <a:buFontTx/>
              <a:buAutoNum type="arabicPeriod"/>
            </a:pPr>
            <a:r>
              <a:rPr lang="en-US" altLang="en-US" sz="800" dirty="0">
                <a:latin typeface="+mn-lt"/>
              </a:rPr>
              <a:t>Lage MJ, et al. The cost of treating skeletal-related events in patients with prostate cancer. </a:t>
            </a:r>
            <a:r>
              <a:rPr lang="en-US" altLang="en-US" sz="800" i="1" dirty="0">
                <a:latin typeface="+mn-lt"/>
              </a:rPr>
              <a:t>Am J </a:t>
            </a:r>
            <a:r>
              <a:rPr lang="en-US" altLang="en-US" sz="800" i="1" dirty="0" err="1">
                <a:latin typeface="+mn-lt"/>
              </a:rPr>
              <a:t>Manag</a:t>
            </a:r>
            <a:r>
              <a:rPr lang="en-US" altLang="en-US" sz="800" i="1" dirty="0">
                <a:latin typeface="+mn-lt"/>
              </a:rPr>
              <a:t> Care. </a:t>
            </a:r>
            <a:r>
              <a:rPr lang="en-US" altLang="en-US" sz="800" dirty="0">
                <a:latin typeface="+mn-lt"/>
              </a:rPr>
              <a:t>2008;14(5):317-322. </a:t>
            </a:r>
          </a:p>
          <a:p>
            <a:pPr marL="342900" indent="-342900">
              <a:buFontTx/>
              <a:buAutoNum type="arabicPeriod"/>
            </a:pPr>
            <a:r>
              <a:rPr lang="en-US" altLang="en-US" sz="800" dirty="0">
                <a:latin typeface="+mn-lt"/>
                <a:cs typeface="Arial"/>
              </a:rPr>
              <a:t>Smith MR, et al. Denosumab and bone metastasis-free survival in men with nonmetastatic castration-resistant prostate cancer: exploratory analyses by baseline prostate-specific antigen doubling time. </a:t>
            </a:r>
            <a:r>
              <a:rPr lang="en-US" altLang="en-US" sz="800" i="1" dirty="0">
                <a:latin typeface="+mn-lt"/>
                <a:cs typeface="Arial"/>
              </a:rPr>
              <a:t>J Clin Oncol.</a:t>
            </a:r>
            <a:r>
              <a:rPr lang="en-US" altLang="en-US" sz="800" dirty="0">
                <a:latin typeface="+mn-lt"/>
                <a:cs typeface="Arial"/>
              </a:rPr>
              <a:t> 2013;31(30):3800-3806. </a:t>
            </a:r>
          </a:p>
          <a:p>
            <a:pPr marL="342900" indent="-342900">
              <a:buFontTx/>
              <a:buAutoNum type="arabicPeriod"/>
            </a:pPr>
            <a:r>
              <a:rPr lang="de-CH" sz="800" dirty="0">
                <a:latin typeface="+mn-lt"/>
              </a:rPr>
              <a:t>Parker C. et al, Prostate Cancer: ESMO Clinical Practice Guidelines </a:t>
            </a:r>
            <a:r>
              <a:rPr lang="de-CH" sz="800" dirty="0" err="1">
                <a:latin typeface="+mn-lt"/>
              </a:rPr>
              <a:t>for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diagnosis</a:t>
            </a:r>
            <a:r>
              <a:rPr lang="de-CH" sz="800" dirty="0">
                <a:latin typeface="+mn-lt"/>
              </a:rPr>
              <a:t>, </a:t>
            </a:r>
            <a:r>
              <a:rPr lang="de-CH" sz="800" dirty="0" err="1">
                <a:latin typeface="+mn-lt"/>
              </a:rPr>
              <a:t>treatment</a:t>
            </a:r>
            <a:r>
              <a:rPr lang="de-CH" sz="800" dirty="0">
                <a:latin typeface="+mn-lt"/>
              </a:rPr>
              <a:t> and follow-</a:t>
            </a:r>
            <a:r>
              <a:rPr lang="de-CH" sz="800" dirty="0" err="1">
                <a:latin typeface="+mn-lt"/>
              </a:rPr>
              <a:t>up</a:t>
            </a:r>
            <a:r>
              <a:rPr lang="de-CH" sz="800" dirty="0">
                <a:latin typeface="+mn-lt"/>
              </a:rPr>
              <a:t>, </a:t>
            </a:r>
            <a:r>
              <a:rPr lang="de-CH" sz="800" i="1" dirty="0" err="1">
                <a:latin typeface="+mn-lt"/>
              </a:rPr>
              <a:t>Annals</a:t>
            </a:r>
            <a:r>
              <a:rPr lang="de-CH" sz="800" i="1" dirty="0">
                <a:latin typeface="+mn-lt"/>
              </a:rPr>
              <a:t> of Oncology 2020,Volume 31, </a:t>
            </a:r>
            <a:r>
              <a:rPr lang="de-CH" sz="800" i="1" dirty="0" err="1">
                <a:latin typeface="+mn-lt"/>
              </a:rPr>
              <a:t>Issue</a:t>
            </a:r>
            <a:r>
              <a:rPr lang="de-CH" sz="800" i="1" dirty="0">
                <a:latin typeface="+mn-lt"/>
              </a:rPr>
              <a:t> 9</a:t>
            </a:r>
            <a:r>
              <a:rPr lang="de-CH" sz="800" dirty="0">
                <a:latin typeface="+mn-lt"/>
              </a:rPr>
              <a:t>, 1119-1133 </a:t>
            </a:r>
          </a:p>
          <a:p>
            <a:pPr marL="342900" indent="-342900">
              <a:buFontTx/>
              <a:buAutoNum type="arabicPeriod"/>
            </a:pPr>
            <a:r>
              <a:rPr lang="en-US" sz="800" dirty="0" err="1">
                <a:latin typeface="+mn-lt"/>
              </a:rPr>
              <a:t>Moilanen</a:t>
            </a:r>
            <a:r>
              <a:rPr lang="en-US" sz="800" dirty="0">
                <a:latin typeface="+mn-lt"/>
              </a:rPr>
              <a:t> A, et al. Discovery of ODM-201, a new-generation androgen receptor inhibitor targeting resistance mechanisms to androgen signaling-directed prostate cancer therapies. </a:t>
            </a:r>
            <a:r>
              <a:rPr lang="en-US" sz="800" i="1" dirty="0">
                <a:latin typeface="+mn-lt"/>
              </a:rPr>
              <a:t>Sci Rep</a:t>
            </a:r>
            <a:r>
              <a:rPr lang="en-US" sz="800" dirty="0">
                <a:latin typeface="+mn-lt"/>
              </a:rPr>
              <a:t>. 2015;5:12007</a:t>
            </a:r>
            <a:r>
              <a:rPr lang="en-US" sz="800" dirty="0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.</a:t>
            </a:r>
          </a:p>
          <a:p>
            <a:pPr marL="342900" indent="-342900">
              <a:buFontTx/>
              <a:buAutoNum type="arabicPeriod"/>
            </a:pPr>
            <a:r>
              <a:rPr lang="en-US" sz="800" dirty="0">
                <a:latin typeface="+mn-lt"/>
              </a:rPr>
              <a:t>Sasaki T, Sugimura Y. The Importance of Time to Prostate-Specific Antigen (PSA) Nadir after Primary Androgen Deprivation Therapy in Hormone-Naïve Prostate Cancer Patients. </a:t>
            </a:r>
            <a:r>
              <a:rPr lang="en-US" sz="800" i="1" dirty="0">
                <a:latin typeface="+mn-lt"/>
              </a:rPr>
              <a:t>J Clin Med</a:t>
            </a:r>
            <a:r>
              <a:rPr lang="en-US" sz="800" dirty="0">
                <a:latin typeface="+mn-lt"/>
              </a:rPr>
              <a:t>. 2018;7(12):565-574. </a:t>
            </a:r>
          </a:p>
          <a:p>
            <a:pPr marL="342900" indent="-342900">
              <a:buFontTx/>
              <a:buAutoNum type="arabicPeriod"/>
            </a:pPr>
            <a:r>
              <a:rPr lang="en-US" sz="800" dirty="0">
                <a:latin typeface="+mn-lt"/>
              </a:rPr>
              <a:t>Balk SP, et al. AR, the cell cycle, and prostate cancer. </a:t>
            </a:r>
            <a:r>
              <a:rPr lang="en-US" sz="800" i="1" dirty="0">
                <a:latin typeface="+mn-lt"/>
              </a:rPr>
              <a:t>Nucl </a:t>
            </a:r>
            <a:r>
              <a:rPr lang="en-US" sz="800" i="1" dirty="0" err="1">
                <a:latin typeface="+mn-lt"/>
              </a:rPr>
              <a:t>Recept</a:t>
            </a:r>
            <a:r>
              <a:rPr lang="en-US" sz="800" i="1" dirty="0">
                <a:latin typeface="+mn-lt"/>
              </a:rPr>
              <a:t> Signal</a:t>
            </a:r>
            <a:r>
              <a:rPr lang="en-US" sz="800" dirty="0">
                <a:latin typeface="+mn-lt"/>
              </a:rPr>
              <a:t>. 2008;6:e001.</a:t>
            </a:r>
          </a:p>
          <a:p>
            <a:pPr marL="342900" indent="-342900">
              <a:buFontTx/>
              <a:buAutoNum type="arabicPeriod"/>
            </a:pPr>
            <a:r>
              <a:rPr lang="en-US" sz="800" dirty="0">
                <a:latin typeface="+mn-lt"/>
              </a:rPr>
              <a:t>Wen S, et al. Androgen receptor (AR) positive vs negative roles in prostate cancer cell deaths including apoptosis, </a:t>
            </a:r>
            <a:r>
              <a:rPr lang="en-US" sz="800" dirty="0" err="1">
                <a:latin typeface="+mn-lt"/>
              </a:rPr>
              <a:t>anoikis</a:t>
            </a:r>
            <a:r>
              <a:rPr lang="en-US" sz="800" dirty="0">
                <a:latin typeface="+mn-lt"/>
              </a:rPr>
              <a:t>, </a:t>
            </a:r>
            <a:r>
              <a:rPr lang="en-US" sz="800" dirty="0" err="1">
                <a:latin typeface="+mn-lt"/>
              </a:rPr>
              <a:t>entosis</a:t>
            </a:r>
            <a:r>
              <a:rPr lang="en-US" sz="800" dirty="0">
                <a:latin typeface="+mn-lt"/>
              </a:rPr>
              <a:t>, necrosis and autophagic cell death. </a:t>
            </a:r>
            <a:r>
              <a:rPr lang="en-US" sz="800" i="1" dirty="0">
                <a:latin typeface="+mn-lt"/>
              </a:rPr>
              <a:t>Cancer Treat Rev</a:t>
            </a:r>
            <a:r>
              <a:rPr lang="en-US" sz="800" dirty="0">
                <a:latin typeface="+mn-lt"/>
              </a:rPr>
              <a:t>. 2014;40(1):31-40. </a:t>
            </a:r>
          </a:p>
          <a:p>
            <a:pPr marL="342900" indent="-342900">
              <a:buFontTx/>
              <a:buAutoNum type="arabicPeriod"/>
            </a:pPr>
            <a:r>
              <a:rPr lang="en-US" sz="800" dirty="0" err="1">
                <a:latin typeface="+mn-lt"/>
              </a:rPr>
              <a:t>Mout</a:t>
            </a:r>
            <a:r>
              <a:rPr lang="en-US" sz="800" dirty="0">
                <a:latin typeface="+mn-lt"/>
              </a:rPr>
              <a:t> L, et al. Continued androgen </a:t>
            </a:r>
            <a:r>
              <a:rPr lang="en-US" sz="800" dirty="0" err="1">
                <a:latin typeface="+mn-lt"/>
              </a:rPr>
              <a:t>signalling</a:t>
            </a:r>
            <a:r>
              <a:rPr lang="en-US" sz="800" dirty="0">
                <a:latin typeface="+mn-lt"/>
              </a:rPr>
              <a:t> inhibition improves </a:t>
            </a:r>
            <a:r>
              <a:rPr lang="en-US" sz="800" dirty="0" err="1">
                <a:latin typeface="+mn-lt"/>
              </a:rPr>
              <a:t>cabazitaxel</a:t>
            </a:r>
            <a:r>
              <a:rPr lang="en-US" sz="800" dirty="0">
                <a:latin typeface="+mn-lt"/>
              </a:rPr>
              <a:t> efficacy in prostate cancer.  </a:t>
            </a:r>
            <a:r>
              <a:rPr lang="en-US" sz="800" i="1" dirty="0" err="1">
                <a:latin typeface="+mn-lt"/>
              </a:rPr>
              <a:t>EBioMedicine</a:t>
            </a:r>
            <a:r>
              <a:rPr lang="en-US" sz="800" dirty="0">
                <a:latin typeface="+mn-lt"/>
              </a:rPr>
              <a:t>. 2021;3:103681. </a:t>
            </a:r>
            <a:endParaRPr lang="en-US" sz="800" dirty="0">
              <a:latin typeface="+mn-lt"/>
              <a:ea typeface="ＭＳ Ｐゴシック" pitchFamily="-106" charset="-128"/>
              <a:cs typeface="Arial" panose="020B0604020202020204" pitchFamily="34" charset="0"/>
            </a:endParaRPr>
          </a:p>
          <a:p>
            <a:pPr marL="342900" indent="-342900">
              <a:buFontTx/>
              <a:buAutoNum type="arabicPeriod"/>
            </a:pPr>
            <a:r>
              <a:rPr lang="en-US" sz="800" dirty="0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Palmieri VE, et al. </a:t>
            </a:r>
            <a:r>
              <a:rPr lang="en-US" sz="800" dirty="0" err="1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Darolutamide</a:t>
            </a:r>
            <a:r>
              <a:rPr lang="en-US" sz="800" dirty="0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 in hormone-sensitive and castration-resistant prostate cancer. Expert Rev Clin </a:t>
            </a:r>
            <a:r>
              <a:rPr lang="en-US" sz="800" dirty="0" err="1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Pharmacol</a:t>
            </a:r>
            <a:r>
              <a:rPr lang="en-US" sz="800" dirty="0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. 2021 May;14(5):535-544.</a:t>
            </a:r>
          </a:p>
          <a:p>
            <a:pPr marL="342900" indent="-342900">
              <a:buFontTx/>
              <a:buAutoNum type="arabicPeriod"/>
            </a:pPr>
            <a:r>
              <a:rPr lang="en-US" sz="800" dirty="0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Shore N, et al. Evaluation of Clinically Relevant Drug-Drug Interactions and Population Pharmacokinetics of </a:t>
            </a:r>
            <a:r>
              <a:rPr lang="en-US" sz="800" dirty="0" err="1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Darolutamide</a:t>
            </a:r>
            <a:r>
              <a:rPr lang="en-US" sz="800" dirty="0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 in Patients with Nonmetastatic Castration-Resistant Prostate Cancer: Results of Pre-Specified and Post Hoc Analyses of the Phase III ARAMIS Trial. </a:t>
            </a:r>
            <a:r>
              <a:rPr lang="en-US" sz="800" i="1" dirty="0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Target Oncol. </a:t>
            </a:r>
            <a:r>
              <a:rPr lang="en-US" sz="800" dirty="0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2019;14:527-539.</a:t>
            </a:r>
          </a:p>
          <a:p>
            <a:pPr marL="342900" indent="-342900">
              <a:buFontTx/>
              <a:buAutoNum type="arabicPeriod"/>
            </a:pPr>
            <a:r>
              <a:rPr lang="en-US" sz="800" dirty="0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PubChem. Compound ID: 67171867. Accessed: August 2022. </a:t>
            </a:r>
          </a:p>
          <a:p>
            <a:pPr marL="342900" indent="-342900">
              <a:buFontTx/>
              <a:buAutoNum type="arabicPeriod"/>
            </a:pPr>
            <a:r>
              <a:rPr lang="en-US" sz="800" dirty="0" err="1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Pubchem</a:t>
            </a:r>
            <a:r>
              <a:rPr lang="en-US" sz="800" dirty="0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. Compound ID: 15951529. Accessed: August 2022. </a:t>
            </a:r>
          </a:p>
          <a:p>
            <a:pPr marL="342900" indent="-342900">
              <a:buFontTx/>
              <a:buAutoNum type="arabicPeriod"/>
            </a:pPr>
            <a:r>
              <a:rPr lang="en-US" sz="800" dirty="0" err="1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DrugCentral</a:t>
            </a:r>
            <a:r>
              <a:rPr lang="en-US" sz="800" dirty="0">
                <a:latin typeface="+mn-lt"/>
                <a:ea typeface="ＭＳ Ｐゴシック" pitchFamily="-106" charset="-128"/>
                <a:cs typeface="Arial" panose="020B0604020202020204" pitchFamily="34" charset="0"/>
              </a:rPr>
              <a:t> 2021. Drug ID: 5278. https://drugcentral.org/drugcard/5278?q=apalutamide. Accessed: August 2022. </a:t>
            </a:r>
          </a:p>
          <a:p>
            <a:pPr marL="342900" indent="-342900">
              <a:buFontTx/>
              <a:buAutoNum type="arabicPeriod"/>
            </a:pPr>
            <a:r>
              <a:rPr lang="en-US" sz="800" dirty="0">
                <a:latin typeface="+mn-lt"/>
              </a:rPr>
              <a:t>ClinicalTrials.gov identifier: NCT02200614. </a:t>
            </a:r>
          </a:p>
          <a:p>
            <a:pPr marL="342900" indent="-342900">
              <a:buFontTx/>
              <a:buAutoNum type="arabicPeriod"/>
            </a:pPr>
            <a:r>
              <a:rPr lang="da-DK" sz="800" dirty="0">
                <a:latin typeface="+mn-lt"/>
              </a:rPr>
              <a:t>Fizazi K, et al.</a:t>
            </a:r>
            <a:r>
              <a:rPr lang="en-US" sz="800" dirty="0">
                <a:latin typeface="+mn-lt"/>
              </a:rPr>
              <a:t> Nonmetastatic, Castration-Resistant Prostate Cancer and Survival with </a:t>
            </a:r>
            <a:r>
              <a:rPr lang="en-US" sz="800" dirty="0" err="1">
                <a:latin typeface="+mn-lt"/>
              </a:rPr>
              <a:t>Darolutamide</a:t>
            </a:r>
            <a:r>
              <a:rPr lang="en-US" sz="800" dirty="0">
                <a:latin typeface="+mn-lt"/>
              </a:rPr>
              <a:t>.</a:t>
            </a:r>
            <a:r>
              <a:rPr lang="da-DK" sz="800" dirty="0">
                <a:latin typeface="+mn-lt"/>
              </a:rPr>
              <a:t> N Engl J Med. 2020;383:1040-1049. </a:t>
            </a:r>
          </a:p>
          <a:p>
            <a:pPr marL="342900" indent="-342900">
              <a:buFontTx/>
              <a:buAutoNum type="arabicPeriod"/>
            </a:pPr>
            <a:r>
              <a:rPr lang="en-US" altLang="en-US" sz="800" dirty="0">
                <a:latin typeface="+mn-lt"/>
              </a:rPr>
              <a:t>Smith MR, et al. </a:t>
            </a:r>
            <a:r>
              <a:rPr lang="en-US" altLang="en-US" sz="800" dirty="0" err="1">
                <a:latin typeface="+mn-lt"/>
              </a:rPr>
              <a:t>Darolutamide</a:t>
            </a:r>
            <a:r>
              <a:rPr lang="en-US" altLang="en-US" sz="800" dirty="0">
                <a:latin typeface="+mn-lt"/>
              </a:rPr>
              <a:t> and health-related quality of life in patients with non-metastatic castration-resistant prostate cancer: An analysis of the phase III ARAMIS trial. </a:t>
            </a:r>
            <a:r>
              <a:rPr lang="en-US" altLang="en-US" sz="800" i="1" dirty="0">
                <a:latin typeface="+mn-lt"/>
              </a:rPr>
              <a:t>Eur J  </a:t>
            </a:r>
            <a:r>
              <a:rPr lang="en-US" altLang="en-US" sz="800" dirty="0">
                <a:latin typeface="+mn-lt"/>
              </a:rPr>
              <a:t>Cancer. 2021; 154:138-146. </a:t>
            </a:r>
          </a:p>
          <a:p>
            <a:pPr marL="342900" indent="-342900">
              <a:buFontTx/>
              <a:buAutoNum type="arabicPeriod"/>
            </a:pPr>
            <a:r>
              <a:rPr lang="en-US" altLang="en-US" sz="800" dirty="0">
                <a:latin typeface="+mn-lt"/>
              </a:rPr>
              <a:t>Shore N, et al. Impact of </a:t>
            </a:r>
            <a:r>
              <a:rPr lang="en-US" altLang="en-US" sz="800" dirty="0" err="1">
                <a:latin typeface="+mn-lt"/>
              </a:rPr>
              <a:t>darolutamide</a:t>
            </a:r>
            <a:r>
              <a:rPr lang="en-US" altLang="en-US" sz="800" dirty="0">
                <a:latin typeface="+mn-lt"/>
              </a:rPr>
              <a:t> on local symptoms in patients with nonmetastatic castration-resistant prostate cancer. Presented at the American Urological Association 2021 Annual Meeting. September 10-13, 2021; Abstract PD34-10.</a:t>
            </a:r>
          </a:p>
          <a:p>
            <a:pPr marL="342900" indent="-342900">
              <a:buFontTx/>
              <a:buAutoNum type="arabicPeriod"/>
            </a:pPr>
            <a:r>
              <a:rPr lang="de-CH" sz="800" dirty="0">
                <a:latin typeface="+mn-lt"/>
              </a:rPr>
              <a:t>Professional Information </a:t>
            </a:r>
            <a:r>
              <a:rPr lang="de-CH" sz="800" dirty="0" err="1">
                <a:latin typeface="+mn-lt"/>
              </a:rPr>
              <a:t>Xtandi</a:t>
            </a:r>
            <a:r>
              <a:rPr lang="de-CH" sz="800" dirty="0">
                <a:latin typeface="+mn-lt"/>
              </a:rPr>
              <a:t>; www.swissmedicinfo.ch, Stand March 2022</a:t>
            </a:r>
          </a:p>
          <a:p>
            <a:pPr marL="342900" indent="-342900">
              <a:buFontTx/>
              <a:buAutoNum type="arabicPeriod"/>
            </a:pPr>
            <a:r>
              <a:rPr lang="de-CH" sz="800" dirty="0">
                <a:latin typeface="+mn-lt"/>
              </a:rPr>
              <a:t>Professional Information </a:t>
            </a:r>
            <a:r>
              <a:rPr lang="de-CH" sz="800" dirty="0" err="1">
                <a:latin typeface="+mn-lt"/>
              </a:rPr>
              <a:t>Erleada</a:t>
            </a:r>
            <a:r>
              <a:rPr lang="de-CH" sz="800" dirty="0">
                <a:latin typeface="+mn-lt"/>
              </a:rPr>
              <a:t>; www.swissmedicinfo.ch, Stand April 2022</a:t>
            </a:r>
          </a:p>
          <a:p>
            <a:pPr marL="342900" indent="-342900">
              <a:buFontTx/>
              <a:buAutoNum type="arabicPeriod"/>
            </a:pPr>
            <a:r>
              <a:rPr lang="de-CH" sz="800" dirty="0" err="1">
                <a:latin typeface="+mn-lt"/>
              </a:rPr>
              <a:t>Fizazi</a:t>
            </a:r>
            <a:r>
              <a:rPr lang="de-CH" sz="800" dirty="0">
                <a:latin typeface="+mn-lt"/>
              </a:rPr>
              <a:t> K, Gillessen S. Updated </a:t>
            </a:r>
            <a:r>
              <a:rPr lang="de-CH" sz="800" dirty="0" err="1">
                <a:latin typeface="+mn-lt"/>
              </a:rPr>
              <a:t>treatment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recommendations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for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prostate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cancer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from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the</a:t>
            </a:r>
            <a:r>
              <a:rPr lang="de-CH" sz="800" dirty="0">
                <a:latin typeface="+mn-lt"/>
              </a:rPr>
              <a:t> ESMO Clinical Practice Guideline </a:t>
            </a:r>
            <a:r>
              <a:rPr lang="de-CH" sz="800" dirty="0" err="1">
                <a:latin typeface="+mn-lt"/>
              </a:rPr>
              <a:t>considering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treatment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intensification</a:t>
            </a:r>
            <a:r>
              <a:rPr lang="de-CH" sz="800" dirty="0">
                <a:latin typeface="+mn-lt"/>
              </a:rPr>
              <a:t> and </a:t>
            </a:r>
            <a:r>
              <a:rPr lang="de-CH" sz="800" dirty="0" err="1">
                <a:latin typeface="+mn-lt"/>
              </a:rPr>
              <a:t>use</a:t>
            </a:r>
            <a:r>
              <a:rPr lang="de-CH" sz="800" dirty="0">
                <a:latin typeface="+mn-lt"/>
              </a:rPr>
              <a:t> of </a:t>
            </a:r>
            <a:r>
              <a:rPr lang="de-CH" sz="800" dirty="0" err="1">
                <a:latin typeface="+mn-lt"/>
              </a:rPr>
              <a:t>novel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systemic</a:t>
            </a:r>
            <a:r>
              <a:rPr lang="de-CH" sz="800" dirty="0">
                <a:latin typeface="+mn-lt"/>
              </a:rPr>
              <a:t> </a:t>
            </a:r>
            <a:r>
              <a:rPr lang="de-CH" sz="800" dirty="0" err="1">
                <a:latin typeface="+mn-lt"/>
              </a:rPr>
              <a:t>agents</a:t>
            </a:r>
            <a:r>
              <a:rPr lang="de-CH" sz="800" dirty="0">
                <a:latin typeface="+mn-lt"/>
              </a:rPr>
              <a:t>. Ann </a:t>
            </a:r>
            <a:r>
              <a:rPr lang="de-CH" sz="800" dirty="0" err="1">
                <a:latin typeface="+mn-lt"/>
              </a:rPr>
              <a:t>Oncol</a:t>
            </a:r>
            <a:r>
              <a:rPr lang="de-CH" sz="800" dirty="0">
                <a:latin typeface="+mn-lt"/>
              </a:rPr>
              <a:t>. 2023 Jun;34(6):557-563. </a:t>
            </a:r>
          </a:p>
        </p:txBody>
      </p:sp>
    </p:spTree>
    <p:extLst>
      <p:ext uri="{BB962C8B-B14F-4D97-AF65-F5344CB8AC3E}">
        <p14:creationId xmlns:p14="http://schemas.microsoft.com/office/powerpoint/2010/main" val="10808874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21EC9B-1572-4D94-B762-C249D50C7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Short Professional Information</a:t>
            </a:r>
            <a:endParaRPr lang="de-CH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FC90A74-61CB-46AC-8D97-EF1DA7455BDF}"/>
              </a:ext>
            </a:extLst>
          </p:cNvPr>
          <p:cNvSpPr txBox="1"/>
          <p:nvPr/>
        </p:nvSpPr>
        <p:spPr bwMode="gray">
          <a:xfrm>
            <a:off x="196551" y="1246974"/>
            <a:ext cx="11798897" cy="5442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1000"/>
              </a:spcAft>
            </a:pP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▼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icinal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duct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ject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itional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onitoring. 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rther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formation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mmar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Product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aracteristic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formation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afle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NUBEQA</a:t>
            </a:r>
            <a:r>
              <a:rPr lang="it-IT" sz="1200" baseline="30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®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u="sng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www.swissmedicinfo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it-IT" sz="12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.</a:t>
            </a:r>
            <a:endParaRPr lang="en-CH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rt product information NUBEQA</a:t>
            </a:r>
            <a:r>
              <a:rPr lang="it-IT" sz="1200" b="1" baseline="30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®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CH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ive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stance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rolutamid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cation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UBEQA, in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binatio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cetaxe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roge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rivatio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rapy (ADT)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cat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the treatment of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ul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tastatic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rmon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sensitive prostat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ncer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HSPC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, for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m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cetaxe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rapy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cat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NUBEQA, in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binatio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ADT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cat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the treatment of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ul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non-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tastatic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stration-resistan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stat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ncer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mCRPC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, for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os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r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igh risk of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ing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tastase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peciall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a PSADT ≤ 10 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th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.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sage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Administration: 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00 mg (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wo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300-mg film-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at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ablets)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ke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wic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il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a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t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il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ose of 1200 mg).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eiving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UBEQA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ul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so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eiv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 LHRH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ogu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urrentl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r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v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ater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chiectom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HSPC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ul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art treatment with NUBEQA in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binatio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x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ycle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cetaxe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aindications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ypersensitivit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th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iv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armaceutic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gredien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r to one of th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ipient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Women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r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gnan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r of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ildbearing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tenti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cial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rnings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cautions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use: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n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patic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mpairment: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osel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onitor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sever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n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mpairment or moderate/sever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patic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mpairment for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vers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actions.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patotoxicit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In case of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ver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est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normalitie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uggestive of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iosyncratic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ILI, NUBEQA must b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anentl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continu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ADT can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long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QT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v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In case of risk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ctor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r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omitan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icatio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a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long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QT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v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ECG monitoring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ul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ider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aceptio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xuall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iv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ust use a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l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fectiv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m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aceptio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Bon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nsit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ffect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ing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reatment with NUBEQA due to long-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m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estosteron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ressio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en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riovascular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eas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Th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fet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NUBEQA in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ient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a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nicall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levan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rdiovascular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eas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the last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x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th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e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e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follow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rren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uideline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Th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crib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os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acticall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“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dium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ree”. Do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ak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f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ou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v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reditar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lactos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oleranc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t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ctas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ficienc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or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ucose-galactos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labsorptio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verse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fect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it-IT" sz="12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BEQA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ommon: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trophi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n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creas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ST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irubi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fatigue. Common: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chaemic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ar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eas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rdiac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ilur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rash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tremitie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sculoskelet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acture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2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BEQA in </a:t>
            </a:r>
            <a:r>
              <a:rPr lang="it-IT" sz="1200" i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bination</a:t>
            </a:r>
            <a:r>
              <a:rPr lang="it-IT" sz="12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</a:t>
            </a:r>
            <a:r>
              <a:rPr lang="it-IT" sz="1200" i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cetaxel</a:t>
            </a:r>
            <a:r>
              <a:rPr lang="it-IT" sz="12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ommon: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ypertensio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luding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sion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ypertensiv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ergency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ST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LT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irubin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rash. 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actions: 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CRP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hibitor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OATP 1B1 and 1B3, in the case of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urren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use with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rresponding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strate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follow th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ommendation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th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pectiv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cribing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formation.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ak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YP3A4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ucer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strat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CYP3A4, P-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p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nd BCRP. Use of strong CYP3A4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ucer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d P-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p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ucers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ing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reatment with NUBEQA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ul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oid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pensing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tegory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. </a:t>
            </a:r>
            <a:r>
              <a:rPr lang="it-IT" sz="12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thorization</a:t>
            </a:r>
            <a:r>
              <a:rPr lang="it-IT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older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Bayer (Schweiz) AG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etlibergstrass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132, 8045 Zurich. For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ail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formation,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ease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fer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the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blished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icinal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duct information </a:t>
            </a:r>
            <a:r>
              <a:rPr lang="it-IT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</a:t>
            </a:r>
            <a:r>
              <a:rPr lang="it-IT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ww.swissmedicinfo.ch.</a:t>
            </a:r>
            <a:endParaRPr lang="en-CH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fr-CH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-M_DAR-CH-0198-3 12/23</a:t>
            </a:r>
            <a:endParaRPr lang="en-CH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endParaRPr lang="de-CH" sz="12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708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7768E21-7EC5-4D4B-8AEE-A9E401834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TABLE OF CONTEN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A9A5A7A-354A-4606-8DF0-2109B1EB14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1619" y="1838609"/>
            <a:ext cx="11193569" cy="3113637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de-CH" sz="2400" b="1">
                <a:solidFill>
                  <a:schemeClr val="tx1">
                    <a:lumMod val="65000"/>
                    <a:lumOff val="35000"/>
                  </a:schemeClr>
                </a:solidFill>
                <a:hlinkClick r:id="rId2" action="ppaction://hlinksldjump"/>
              </a:rPr>
              <a:t>nmCRPC</a:t>
            </a:r>
            <a:endParaRPr lang="de-CH" sz="2400" b="1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de-CH" sz="2400" b="1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de-CH" sz="2400" b="1">
                <a:solidFill>
                  <a:schemeClr val="tx1">
                    <a:lumMod val="65000"/>
                    <a:lumOff val="35000"/>
                  </a:schemeClr>
                </a:solidFill>
                <a:hlinkClick r:id="rId3" action="ppaction://hlinksldjump"/>
              </a:rPr>
              <a:t>What </a:t>
            </a:r>
            <a:r>
              <a:rPr lang="de-CH" sz="2400" b="1" err="1">
                <a:solidFill>
                  <a:schemeClr val="tx1">
                    <a:lumMod val="65000"/>
                    <a:lumOff val="35000"/>
                  </a:schemeClr>
                </a:solidFill>
                <a:hlinkClick r:id="rId3" action="ppaction://hlinksldjump"/>
              </a:rPr>
              <a:t>is</a:t>
            </a:r>
            <a:r>
              <a:rPr lang="de-CH" sz="2400" b="1">
                <a:solidFill>
                  <a:schemeClr val="tx1">
                    <a:lumMod val="65000"/>
                    <a:lumOff val="35000"/>
                  </a:schemeClr>
                </a:solidFill>
                <a:hlinkClick r:id="rId3" action="ppaction://hlinksldjump"/>
              </a:rPr>
              <a:t> </a:t>
            </a:r>
            <a:r>
              <a:rPr lang="de-CH" sz="2400" b="1" err="1">
                <a:solidFill>
                  <a:schemeClr val="tx1">
                    <a:lumMod val="65000"/>
                    <a:lumOff val="35000"/>
                  </a:schemeClr>
                </a:solidFill>
                <a:hlinkClick r:id="rId3" action="ppaction://hlinksldjump"/>
              </a:rPr>
              <a:t>Darolutamide</a:t>
            </a:r>
            <a:r>
              <a:rPr lang="de-CH" sz="2400" b="1">
                <a:solidFill>
                  <a:schemeClr val="tx1">
                    <a:lumMod val="65000"/>
                    <a:lumOff val="35000"/>
                  </a:schemeClr>
                </a:solidFill>
                <a:hlinkClick r:id="rId3" action="ppaction://hlinksldjump"/>
              </a:rPr>
              <a:t>?</a:t>
            </a:r>
            <a:endParaRPr lang="de-CH" sz="2400" b="1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de-CH" sz="2400" b="1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en-US" sz="2400" b="1">
                <a:solidFill>
                  <a:schemeClr val="tx1">
                    <a:lumMod val="65000"/>
                    <a:lumOff val="35000"/>
                  </a:schemeClr>
                </a:solidFill>
                <a:hlinkClick r:id="rId4" action="ppaction://hlinksldjump"/>
              </a:rPr>
              <a:t>ARAMIS: Phase 3 Study in </a:t>
            </a:r>
            <a:r>
              <a:rPr lang="en-US" sz="2400" b="1" err="1">
                <a:solidFill>
                  <a:schemeClr val="tx1">
                    <a:lumMod val="65000"/>
                    <a:lumOff val="35000"/>
                  </a:schemeClr>
                </a:solidFill>
                <a:hlinkClick r:id="rId4" action="ppaction://hlinksldjump"/>
              </a:rPr>
              <a:t>nmCRPC</a:t>
            </a:r>
            <a:endParaRPr lang="de-CH" sz="24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752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DD4AD713-ABB5-4582-8412-5D05940CF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i="1"/>
              <a:t>Non-metastatic castration-resistant prostate cancer (</a:t>
            </a:r>
            <a:r>
              <a:rPr lang="en-US" i="1" err="1"/>
              <a:t>nmCRPC</a:t>
            </a:r>
            <a:r>
              <a:rPr lang="en-US" i="1"/>
              <a:t>)</a:t>
            </a:r>
            <a:br>
              <a:rPr lang="en-US" i="1"/>
            </a:br>
            <a:endParaRPr lang="de-CH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06DE70-30AD-0636-B7E7-8AFB1EA849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0741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F50A88-848B-44E2-9821-4EF99A26E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altLang="en-US" b="1" dirty="0" err="1"/>
              <a:t>nmCRPC</a:t>
            </a:r>
            <a:r>
              <a:rPr lang="en-US" altLang="en-US" b="1" dirty="0"/>
              <a:t> Definition</a:t>
            </a:r>
            <a:r>
              <a:rPr lang="en-US" altLang="en-US" baseline="30000" dirty="0"/>
              <a:t>2-4</a:t>
            </a:r>
            <a:endParaRPr lang="de-CH" b="1" baseline="30000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D271B4EE-ECB8-4CB5-9D40-ECE4A391AFA0}"/>
              </a:ext>
            </a:extLst>
          </p:cNvPr>
          <p:cNvSpPr txBox="1">
            <a:spLocks/>
          </p:cNvSpPr>
          <p:nvPr/>
        </p:nvSpPr>
        <p:spPr>
          <a:xfrm>
            <a:off x="369025" y="6426689"/>
            <a:ext cx="11453949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*A consensus statement by the Prostate Cancer Radiographic Assessments for Detection of Advanced Recurrence (RADAR) group suggested a bone scan and a CT scan when the PSA reached 2 ng/mL; and if this was negative, it should be repeated when the PSA reached 5 ng/mL, and again after every doubling of the PSA based on PSA testing every three months for asymptomatic men. 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79DECF19-D482-448E-93AB-2BB44993C8AF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950615" y="1566250"/>
            <a:ext cx="10794696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270000" indent="-270000" algn="l" defTabSz="914400" rtl="0" eaLnBrk="1" latinLnBrk="0" hangingPunct="1">
              <a:buFontTx/>
              <a:buBlip>
                <a:blip r:embed="rId3"/>
              </a:buBlip>
            </a:lvl1pPr>
            <a:lvl2pPr marL="270000" indent="-270000" algn="l" defTabSz="914400" rtl="0" eaLnBrk="1" latinLnBrk="0" hangingPunct="1">
              <a:buFontTx/>
              <a:buBlip>
                <a:blip r:embed="rId3"/>
              </a:buBlip>
            </a:lvl2pPr>
            <a:lvl3pPr marL="540000" indent="-270000" algn="l" defTabSz="914400" rtl="0" eaLnBrk="1" latinLnBrk="0" hangingPunct="1">
              <a:buFontTx/>
              <a:buBlip>
                <a:blip r:embed="rId4"/>
              </a:buBlip>
            </a:lvl3pPr>
            <a:lvl4pPr marL="810000" indent="-270000" algn="l" defTabSz="914400" rtl="0" eaLnBrk="1" latinLnBrk="0" hangingPunct="1">
              <a:buFontTx/>
              <a:buBlip>
                <a:blip r:embed="rId5"/>
              </a:buBlip>
            </a:lvl4pPr>
            <a:lvl5pPr marL="1080000" indent="-270000" algn="l" defTabSz="914400" rtl="0" eaLnBrk="1" latinLnBrk="0" hangingPunct="1">
              <a:buFontTx/>
              <a:buBlip>
                <a:blip r:embed="rId6"/>
              </a:buBlip>
            </a:lvl5pPr>
            <a:lvl6pPr marL="1080000" indent="-270000" algn="l" defTabSz="914400" rtl="0" eaLnBrk="1" latinLnBrk="0" hangingPunct="1">
              <a:buFontTx/>
              <a:buBlip>
                <a:blip r:embed="rId6"/>
              </a:buBlip>
            </a:lvl6pPr>
            <a:lvl7pPr marL="1080000" indent="-270000" algn="l" defTabSz="914400" rtl="0" eaLnBrk="1" latinLnBrk="0" hangingPunct="1">
              <a:buFontTx/>
              <a:buBlip>
                <a:blip r:embed="rId6"/>
              </a:buBlip>
            </a:lvl7pPr>
            <a:lvl8pPr marL="1080000" indent="-270000" algn="l" defTabSz="914400" rtl="0" eaLnBrk="1" latinLnBrk="0" hangingPunct="1">
              <a:buFontTx/>
              <a:buBlip>
                <a:blip r:embed="rId6"/>
              </a:buBlip>
            </a:lvl8pPr>
            <a:lvl9pPr marL="1080000" indent="-270000" algn="l" defTabSz="914400" rtl="0" eaLnBrk="1" latinLnBrk="0" hangingPunct="1">
              <a:buFontTx/>
              <a:buBlip>
                <a:blip r:embed="rId6"/>
              </a:buBlip>
            </a:lvl9pPr>
          </a:lstStyle>
          <a:p>
            <a:r>
              <a:rPr lang="it-IT">
                <a:latin typeface="Arial" panose="020B0604020202020204" pitchFamily="34" charset="0"/>
              </a:rPr>
              <a:t>Castrate </a:t>
            </a:r>
            <a:r>
              <a:rPr lang="it-IT" err="1">
                <a:latin typeface="Arial" panose="020B0604020202020204" pitchFamily="34" charset="0"/>
              </a:rPr>
              <a:t>serum</a:t>
            </a:r>
            <a:r>
              <a:rPr lang="it-IT">
                <a:latin typeface="Arial" panose="020B0604020202020204" pitchFamily="34" charset="0"/>
              </a:rPr>
              <a:t> testosterone &lt; 50 </a:t>
            </a:r>
            <a:r>
              <a:rPr lang="it-IT" err="1">
                <a:latin typeface="Arial" panose="020B0604020202020204" pitchFamily="34" charset="0"/>
              </a:rPr>
              <a:t>ng</a:t>
            </a:r>
            <a:r>
              <a:rPr lang="it-IT">
                <a:latin typeface="Arial" panose="020B0604020202020204" pitchFamily="34" charset="0"/>
              </a:rPr>
              <a:t>/</a:t>
            </a:r>
            <a:r>
              <a:rPr lang="it-IT" err="1">
                <a:latin typeface="Arial" panose="020B0604020202020204" pitchFamily="34" charset="0"/>
              </a:rPr>
              <a:t>dL</a:t>
            </a:r>
            <a:endParaRPr lang="it-IT">
              <a:latin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</a:endParaRPr>
          </a:p>
          <a:p>
            <a:r>
              <a:rPr lang="en-US">
                <a:latin typeface="Arial" panose="020B0604020202020204" pitchFamily="34" charset="0"/>
              </a:rPr>
              <a:t>Biochemical progression: Three consecutive rises in PSA at least one week apart resulting in two 50% increases over the nadir, and a PSA &gt; 2 ng/mL</a:t>
            </a:r>
          </a:p>
          <a:p>
            <a:endParaRPr lang="en-US">
              <a:latin typeface="Arial" panose="020B0604020202020204" pitchFamily="34" charset="0"/>
            </a:endParaRPr>
          </a:p>
          <a:p>
            <a:r>
              <a:rPr lang="en-US">
                <a:latin typeface="Arial" panose="020B0604020202020204" pitchFamily="34" charset="0"/>
              </a:rPr>
              <a:t>no detectable clinical metastases using bone scan and CT-scan*</a:t>
            </a:r>
          </a:p>
          <a:p>
            <a:endParaRPr lang="en-US">
              <a:latin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>
                <a:latin typeface="Arial" panose="020B0604020202020204" pitchFamily="34" charset="0"/>
              </a:rPr>
              <a:t>Frequent PSA testing for men on treatment with ADT has resulted in earlier detection of biochemical progression </a:t>
            </a:r>
          </a:p>
          <a:p>
            <a:endParaRPr lang="de-CH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7455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0D26DF1-BACA-491E-81B5-E0CE45D8EC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atients With </a:t>
            </a:r>
            <a:r>
              <a:rPr lang="en-US" dirty="0" err="1"/>
              <a:t>nmCRPC</a:t>
            </a:r>
            <a:r>
              <a:rPr lang="en-US" dirty="0"/>
              <a:t> Can Have Rising PSA Levels But Are Mostly Asymptomatic From Their Cancer</a:t>
            </a:r>
            <a:r>
              <a:rPr lang="en-US" baseline="30000" dirty="0"/>
              <a:t>5-16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C7D544-D8AA-4351-B849-DA4680CA6A1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0994" y="6424195"/>
            <a:ext cx="11293055" cy="320673"/>
          </a:xfrm>
        </p:spPr>
        <p:txBody>
          <a:bodyPr vert="horz" lIns="91440" tIns="45720" rIns="91440" bIns="0" rtlCol="0" anchor="b"/>
          <a:lstStyle/>
          <a:p>
            <a:pPr defTabSz="914309">
              <a:defRPr/>
            </a:pPr>
            <a:r>
              <a:rPr lang="de-CH" sz="700" dirty="0"/>
              <a:t>*Not </a:t>
            </a:r>
            <a:r>
              <a:rPr lang="de-CH" sz="700" dirty="0" err="1"/>
              <a:t>drawn</a:t>
            </a:r>
            <a:r>
              <a:rPr lang="de-CH" sz="700" dirty="0"/>
              <a:t> </a:t>
            </a:r>
            <a:r>
              <a:rPr lang="de-CH" sz="700" dirty="0" err="1"/>
              <a:t>to</a:t>
            </a:r>
            <a:r>
              <a:rPr lang="de-CH" sz="700" dirty="0"/>
              <a:t> </a:t>
            </a:r>
            <a:r>
              <a:rPr lang="de-CH" sz="700" dirty="0" err="1"/>
              <a:t>scale</a:t>
            </a:r>
            <a:r>
              <a:rPr lang="de-CH" sz="700" dirty="0"/>
              <a:t>; </a:t>
            </a:r>
            <a:r>
              <a:rPr lang="de-CH" sz="700" dirty="0" err="1"/>
              <a:t>numbers</a:t>
            </a:r>
            <a:r>
              <a:rPr lang="de-CH" sz="700" dirty="0"/>
              <a:t> </a:t>
            </a:r>
            <a:r>
              <a:rPr lang="de-CH" sz="700" dirty="0" err="1"/>
              <a:t>reported</a:t>
            </a:r>
            <a:r>
              <a:rPr lang="de-CH" sz="700" dirty="0"/>
              <a:t> </a:t>
            </a:r>
            <a:r>
              <a:rPr lang="de-CH" sz="700" dirty="0" err="1"/>
              <a:t>are</a:t>
            </a:r>
            <a:r>
              <a:rPr lang="de-CH" sz="700" dirty="0"/>
              <a:t> </a:t>
            </a:r>
            <a:r>
              <a:rPr lang="de-CH" sz="700" dirty="0" err="1"/>
              <a:t>medians</a:t>
            </a:r>
            <a:r>
              <a:rPr lang="de-CH" sz="700" dirty="0"/>
              <a:t>. Figure </a:t>
            </a:r>
            <a:r>
              <a:rPr lang="de-CH" sz="700" dirty="0" err="1"/>
              <a:t>is</a:t>
            </a:r>
            <a:r>
              <a:rPr lang="de-CH" sz="700" dirty="0"/>
              <a:t> </a:t>
            </a:r>
            <a:r>
              <a:rPr lang="de-CH" sz="700" dirty="0" err="1"/>
              <a:t>for</a:t>
            </a:r>
            <a:r>
              <a:rPr lang="de-CH" sz="700" dirty="0"/>
              <a:t> illustrative </a:t>
            </a:r>
            <a:r>
              <a:rPr lang="de-CH" sz="700" dirty="0" err="1"/>
              <a:t>purposes</a:t>
            </a:r>
            <a:r>
              <a:rPr lang="de-CH" sz="700" dirty="0"/>
              <a:t> </a:t>
            </a:r>
            <a:r>
              <a:rPr lang="de-CH" sz="700" dirty="0" err="1"/>
              <a:t>only</a:t>
            </a:r>
            <a:r>
              <a:rPr lang="de-CH" sz="700" dirty="0"/>
              <a:t>.</a:t>
            </a:r>
          </a:p>
          <a:p>
            <a:pPr defTabSz="914309">
              <a:defRPr/>
            </a:pPr>
            <a:r>
              <a:rPr lang="de-CH" sz="700" dirty="0"/>
              <a:t>ADT, androgen </a:t>
            </a:r>
            <a:r>
              <a:rPr lang="de-CH" sz="700" dirty="0" err="1"/>
              <a:t>deprivation</a:t>
            </a:r>
            <a:r>
              <a:rPr lang="de-CH" sz="700" dirty="0"/>
              <a:t> </a:t>
            </a:r>
            <a:r>
              <a:rPr lang="de-CH" sz="700" dirty="0" err="1"/>
              <a:t>therapy</a:t>
            </a:r>
            <a:r>
              <a:rPr lang="de-CH" sz="700" dirty="0"/>
              <a:t>; MFS, </a:t>
            </a:r>
            <a:r>
              <a:rPr lang="de-CH" sz="700" dirty="0" err="1"/>
              <a:t>metastasis-free</a:t>
            </a:r>
            <a:r>
              <a:rPr lang="de-CH" sz="700" dirty="0"/>
              <a:t> </a:t>
            </a:r>
            <a:r>
              <a:rPr lang="de-CH" sz="700" dirty="0" err="1"/>
              <a:t>survival</a:t>
            </a:r>
            <a:r>
              <a:rPr lang="de-CH" sz="700" dirty="0"/>
              <a:t>; </a:t>
            </a:r>
            <a:r>
              <a:rPr lang="de-CH" sz="700" dirty="0" err="1"/>
              <a:t>nmCRPC</a:t>
            </a:r>
            <a:r>
              <a:rPr lang="de-CH" sz="700" dirty="0"/>
              <a:t>, </a:t>
            </a:r>
            <a:r>
              <a:rPr lang="de-CH" sz="700" dirty="0" err="1"/>
              <a:t>nonmetastatic</a:t>
            </a:r>
            <a:r>
              <a:rPr lang="de-CH" sz="700" dirty="0"/>
              <a:t> </a:t>
            </a:r>
            <a:r>
              <a:rPr lang="de-CH" sz="700" dirty="0" err="1"/>
              <a:t>castration-resistant</a:t>
            </a:r>
            <a:r>
              <a:rPr lang="de-CH" sz="700" dirty="0"/>
              <a:t> </a:t>
            </a:r>
            <a:r>
              <a:rPr lang="de-CH" sz="700" dirty="0" err="1"/>
              <a:t>prostate</a:t>
            </a:r>
            <a:r>
              <a:rPr lang="de-CH" sz="700" dirty="0"/>
              <a:t> </a:t>
            </a:r>
            <a:r>
              <a:rPr lang="de-CH" sz="700" dirty="0" err="1"/>
              <a:t>cancer</a:t>
            </a:r>
            <a:r>
              <a:rPr lang="de-CH" sz="700" dirty="0"/>
              <a:t>; OS, </a:t>
            </a:r>
            <a:r>
              <a:rPr lang="de-CH" sz="700" dirty="0" err="1"/>
              <a:t>overall</a:t>
            </a:r>
            <a:r>
              <a:rPr lang="de-CH" sz="700" dirty="0"/>
              <a:t> </a:t>
            </a:r>
            <a:r>
              <a:rPr lang="de-CH" sz="700" dirty="0" err="1"/>
              <a:t>survival</a:t>
            </a:r>
            <a:r>
              <a:rPr lang="de-CH" sz="700" dirty="0"/>
              <a:t>; PSA, </a:t>
            </a:r>
            <a:r>
              <a:rPr lang="de-CH" sz="700" dirty="0" err="1"/>
              <a:t>prostate-specific</a:t>
            </a:r>
            <a:r>
              <a:rPr lang="de-CH" sz="700" dirty="0"/>
              <a:t> </a:t>
            </a:r>
            <a:r>
              <a:rPr lang="de-CH" sz="700" dirty="0" err="1"/>
              <a:t>antigen</a:t>
            </a:r>
            <a:r>
              <a:rPr lang="de-CH" sz="700" dirty="0"/>
              <a:t>; </a:t>
            </a:r>
            <a:r>
              <a:rPr lang="de-CH" sz="700" dirty="0" err="1"/>
              <a:t>QoL</a:t>
            </a:r>
            <a:r>
              <a:rPr lang="de-CH" sz="700" dirty="0"/>
              <a:t>, </a:t>
            </a:r>
            <a:r>
              <a:rPr lang="de-CH" sz="700" dirty="0" err="1"/>
              <a:t>quality</a:t>
            </a:r>
            <a:r>
              <a:rPr lang="de-CH" sz="700" dirty="0"/>
              <a:t> of </a:t>
            </a:r>
            <a:r>
              <a:rPr lang="de-CH" sz="700" dirty="0" err="1"/>
              <a:t>life</a:t>
            </a:r>
            <a:r>
              <a:rPr lang="de-CH" sz="700" dirty="0"/>
              <a:t>.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D10C561-0DCF-4E78-8813-7BF089646F12}"/>
              </a:ext>
            </a:extLst>
          </p:cNvPr>
          <p:cNvGrpSpPr/>
          <p:nvPr/>
        </p:nvGrpSpPr>
        <p:grpSpPr>
          <a:xfrm>
            <a:off x="511509" y="5429924"/>
            <a:ext cx="11561060" cy="864878"/>
            <a:chOff x="390792" y="4913388"/>
            <a:chExt cx="11664266" cy="864878"/>
          </a:xfrm>
        </p:grpSpPr>
        <p:sp>
          <p:nvSpPr>
            <p:cNvPr id="9" name="Flowchart: Merge 8">
              <a:extLst>
                <a:ext uri="{FF2B5EF4-FFF2-40B4-BE49-F238E27FC236}">
                  <a16:creationId xmlns:a16="http://schemas.microsoft.com/office/drawing/2014/main" id="{BA11C3FF-828B-46A3-B87B-ED46D54A0398}"/>
                </a:ext>
              </a:extLst>
            </p:cNvPr>
            <p:cNvSpPr/>
            <p:nvPr/>
          </p:nvSpPr>
          <p:spPr bwMode="gray">
            <a:xfrm rot="5400000">
              <a:off x="5790486" y="-486306"/>
              <a:ext cx="864878" cy="11664266"/>
            </a:xfrm>
            <a:prstGeom prst="flowChartMerge">
              <a:avLst/>
            </a:prstGeom>
            <a:gradFill flip="none" rotWithShape="1">
              <a:gsLst>
                <a:gs pos="99000">
                  <a:srgbClr val="12384E"/>
                </a:gs>
                <a:gs pos="21000">
                  <a:srgbClr val="10384F">
                    <a:lumMod val="10000"/>
                    <a:lumOff val="90000"/>
                  </a:srgbClr>
                </a:gs>
                <a:gs pos="70000">
                  <a:srgbClr val="2980B1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spcCol="1270" anchor="ctr"/>
            <a:lstStyle/>
            <a:p>
              <a:pPr algn="ctr" defTabSz="1001159" eaLnBrk="0" hangingPunct="0">
                <a:spcAft>
                  <a:spcPts val="1200"/>
                </a:spcAft>
                <a:defRPr/>
              </a:pPr>
              <a:endParaRPr lang="en-US" sz="1400" b="1" kern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128EC-D30E-4C58-BA01-CBED42A6B405}"/>
                </a:ext>
              </a:extLst>
            </p:cNvPr>
            <p:cNvSpPr/>
            <p:nvPr/>
          </p:nvSpPr>
          <p:spPr>
            <a:xfrm>
              <a:off x="4495447" y="5223017"/>
              <a:ext cx="2226142" cy="245621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spcCol="1270" anchor="ctr"/>
            <a:lstStyle/>
            <a:p>
              <a:pPr algn="ctr" defTabSz="1001159" eaLnBrk="0" hangingPunct="0">
                <a:spcAft>
                  <a:spcPts val="1200"/>
                </a:spcAft>
                <a:defRPr/>
              </a:pPr>
              <a:r>
                <a:rPr lang="en-US" sz="1400" b="1" kern="0">
                  <a:solidFill>
                    <a:srgbClr val="10384F"/>
                  </a:solidFill>
                </a:rPr>
                <a:t>Asymptomatic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AEC089A-0D66-4C3D-8B9D-2ECD42060324}"/>
                </a:ext>
              </a:extLst>
            </p:cNvPr>
            <p:cNvSpPr/>
            <p:nvPr/>
          </p:nvSpPr>
          <p:spPr>
            <a:xfrm>
              <a:off x="8495408" y="5217341"/>
              <a:ext cx="1779263" cy="245621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spcCol="1270" anchor="ctr"/>
            <a:lstStyle/>
            <a:p>
              <a:pPr algn="ctr" defTabSz="1001159" eaLnBrk="0" hangingPunct="0">
                <a:spcAft>
                  <a:spcPts val="1200"/>
                </a:spcAft>
                <a:defRPr/>
              </a:pPr>
              <a:r>
                <a:rPr lang="en-US" sz="1400" b="1" kern="0">
                  <a:solidFill>
                    <a:srgbClr val="FFFFFF"/>
                  </a:solidFill>
                </a:rPr>
                <a:t>Symptomatic</a:t>
              </a:r>
              <a:endParaRPr lang="en-US" sz="1400" b="1" kern="0" baseline="30000">
                <a:solidFill>
                  <a:srgbClr val="FFFFFF"/>
                </a:solidFill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38C5A3E-356D-4C2F-9071-94A8ACEBB43F}"/>
              </a:ext>
            </a:extLst>
          </p:cNvPr>
          <p:cNvGrpSpPr>
            <a:grpSpLocks noChangeAspect="1"/>
          </p:cNvGrpSpPr>
          <p:nvPr/>
        </p:nvGrpSpPr>
        <p:grpSpPr>
          <a:xfrm>
            <a:off x="3040312" y="1207165"/>
            <a:ext cx="439379" cy="1442841"/>
            <a:chOff x="3246469" y="3462971"/>
            <a:chExt cx="798718" cy="2622841"/>
          </a:xfrm>
        </p:grpSpPr>
        <p:pic>
          <p:nvPicPr>
            <p:cNvPr id="110" name="Picture 109">
              <a:extLst>
                <a:ext uri="{FF2B5EF4-FFF2-40B4-BE49-F238E27FC236}">
                  <a16:creationId xmlns:a16="http://schemas.microsoft.com/office/drawing/2014/main" id="{09F2E2F9-24F0-4A4E-98F2-CAED347A0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6469" y="3462971"/>
              <a:ext cx="798718" cy="2622841"/>
            </a:xfrm>
            <a:prstGeom prst="rect">
              <a:avLst/>
            </a:prstGeom>
          </p:spPr>
        </p:pic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E2C8A908-8CAC-43A9-8A01-F109B53A3349}"/>
                </a:ext>
              </a:extLst>
            </p:cNvPr>
            <p:cNvSpPr/>
            <p:nvPr/>
          </p:nvSpPr>
          <p:spPr>
            <a:xfrm>
              <a:off x="3475999" y="4564487"/>
              <a:ext cx="339655" cy="355378"/>
            </a:xfrm>
            <a:prstGeom prst="ellipse">
              <a:avLst/>
            </a:prstGeom>
            <a:gradFill flip="none" rotWithShape="1">
              <a:gsLst>
                <a:gs pos="99000">
                  <a:srgbClr val="63BC47">
                    <a:alpha val="0"/>
                  </a:srgbClr>
                </a:gs>
                <a:gs pos="28000">
                  <a:srgbClr val="63BC47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A86B41B7-3AC9-4223-98B7-18D7025C2E60}"/>
              </a:ext>
            </a:extLst>
          </p:cNvPr>
          <p:cNvSpPr/>
          <p:nvPr/>
        </p:nvSpPr>
        <p:spPr bwMode="gray">
          <a:xfrm>
            <a:off x="791693" y="1482110"/>
            <a:ext cx="1726264" cy="831533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89D329"/>
            </a:solidFill>
            <a:prstDash val="solid"/>
          </a:ln>
          <a:effectLst/>
        </p:spPr>
        <p:txBody>
          <a:bodyPr rtlCol="0" anchor="ctr"/>
          <a:lstStyle/>
          <a:p>
            <a:pPr algn="ctr" eaLnBrk="0" hangingPunct="0">
              <a:defRPr/>
            </a:pP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</a:rPr>
              <a:t>No radiologic evidence of metastatic disease with conventional imaging methods</a:t>
            </a:r>
            <a:endParaRPr lang="en-US" sz="1200" kern="0" baseline="300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55495E8C-465E-415A-9936-89E03B8DBFB0}"/>
              </a:ext>
            </a:extLst>
          </p:cNvPr>
          <p:cNvCxnSpPr>
            <a:cxnSpLocks/>
            <a:stCxn id="62" idx="3"/>
          </p:cNvCxnSpPr>
          <p:nvPr/>
        </p:nvCxnSpPr>
        <p:spPr bwMode="gray">
          <a:xfrm flipV="1">
            <a:off x="2517957" y="1533038"/>
            <a:ext cx="742044" cy="364839"/>
          </a:xfrm>
          <a:prstGeom prst="bentConnector3">
            <a:avLst/>
          </a:prstGeom>
          <a:noFill/>
          <a:ln w="28575" cap="flat" cmpd="sng" algn="ctr">
            <a:solidFill>
              <a:srgbClr val="89D329"/>
            </a:solidFill>
            <a:prstDash val="solid"/>
            <a:tailEnd type="oval" w="med" len="med"/>
          </a:ln>
          <a:effectLst/>
        </p:spPr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7E90CD28-DB73-43B3-88C3-811E5DE8BDD5}"/>
              </a:ext>
            </a:extLst>
          </p:cNvPr>
          <p:cNvSpPr/>
          <p:nvPr/>
        </p:nvSpPr>
        <p:spPr bwMode="gray">
          <a:xfrm>
            <a:off x="3827028" y="1493285"/>
            <a:ext cx="2336429" cy="831533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89D329"/>
            </a:solidFill>
            <a:prstDash val="solid"/>
          </a:ln>
          <a:effectLst/>
        </p:spPr>
        <p:txBody>
          <a:bodyPr rtlCol="0" anchor="ctr"/>
          <a:lstStyle/>
          <a:p>
            <a:pPr algn="ctr" eaLnBrk="0" hangingPunct="0">
              <a:defRPr/>
            </a:pP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</a:rPr>
              <a:t>Asymptomatic from their cancer outside of adverse events associated with prior or ongoing treatments for prostate cancer</a:t>
            </a:r>
            <a:endParaRPr lang="en-US" sz="1200" kern="0" baseline="300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62B90495-DF69-40B5-84F8-F4FC6E6EF12E}"/>
              </a:ext>
            </a:extLst>
          </p:cNvPr>
          <p:cNvCxnSpPr>
            <a:cxnSpLocks/>
            <a:stCxn id="65" idx="1"/>
          </p:cNvCxnSpPr>
          <p:nvPr/>
        </p:nvCxnSpPr>
        <p:spPr bwMode="gray">
          <a:xfrm rot="10800000">
            <a:off x="3267790" y="1696385"/>
            <a:ext cx="559239" cy="212666"/>
          </a:xfrm>
          <a:prstGeom prst="bentConnector3">
            <a:avLst>
              <a:gd name="adj1" fmla="val 24111"/>
            </a:avLst>
          </a:prstGeom>
          <a:noFill/>
          <a:ln w="28575" cap="flat" cmpd="sng" algn="ctr">
            <a:solidFill>
              <a:srgbClr val="89D329"/>
            </a:solidFill>
            <a:prstDash val="solid"/>
            <a:tailEnd type="oval" w="med" len="med"/>
          </a:ln>
          <a:effectLst/>
        </p:spPr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D47D5A9-A1E1-4A24-AC8C-0C5A88623FE1}"/>
              </a:ext>
            </a:extLst>
          </p:cNvPr>
          <p:cNvGrpSpPr/>
          <p:nvPr/>
        </p:nvGrpSpPr>
        <p:grpSpPr>
          <a:xfrm>
            <a:off x="155768" y="2454208"/>
            <a:ext cx="11971129" cy="2934496"/>
            <a:chOff x="154973" y="2438674"/>
            <a:chExt cx="11971129" cy="2934496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5446A05F-CD0C-4072-B4E0-13998538AED2}"/>
                </a:ext>
              </a:extLst>
            </p:cNvPr>
            <p:cNvGrpSpPr/>
            <p:nvPr/>
          </p:nvGrpSpPr>
          <p:grpSpPr>
            <a:xfrm>
              <a:off x="154973" y="2438674"/>
              <a:ext cx="11971129" cy="2934496"/>
              <a:chOff x="440670" y="2819260"/>
              <a:chExt cx="11341530" cy="2934496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005963E9-4B8C-456E-8722-99C03A998B03}"/>
                  </a:ext>
                </a:extLst>
              </p:cNvPr>
              <p:cNvGrpSpPr/>
              <p:nvPr/>
            </p:nvGrpSpPr>
            <p:grpSpPr>
              <a:xfrm>
                <a:off x="1066237" y="3313981"/>
                <a:ext cx="10674219" cy="1921813"/>
                <a:chOff x="1397000" y="2851698"/>
                <a:chExt cx="9892167" cy="2282945"/>
              </a:xfrm>
            </p:grpSpPr>
            <p:sp>
              <p:nvSpPr>
                <p:cNvPr id="104" name="Freeform: Shape 103">
                  <a:extLst>
                    <a:ext uri="{FF2B5EF4-FFF2-40B4-BE49-F238E27FC236}">
                      <a16:creationId xmlns:a16="http://schemas.microsoft.com/office/drawing/2014/main" id="{304AE624-439D-4838-B202-8E7AFC197E70}"/>
                    </a:ext>
                  </a:extLst>
                </p:cNvPr>
                <p:cNvSpPr/>
                <p:nvPr/>
              </p:nvSpPr>
              <p:spPr>
                <a:xfrm>
                  <a:off x="1397000" y="4163075"/>
                  <a:ext cx="2143125" cy="964550"/>
                </a:xfrm>
                <a:custGeom>
                  <a:avLst/>
                  <a:gdLst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81200 w 2143125"/>
                    <a:gd name="connsiteY9" fmla="*/ 190500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908175 w 2143125"/>
                    <a:gd name="connsiteY13" fmla="*/ 330200 h 1406525"/>
                    <a:gd name="connsiteX14" fmla="*/ 1892300 w 2143125"/>
                    <a:gd name="connsiteY14" fmla="*/ 365125 h 1406525"/>
                    <a:gd name="connsiteX15" fmla="*/ 1860550 w 2143125"/>
                    <a:gd name="connsiteY15" fmla="*/ 415925 h 1406525"/>
                    <a:gd name="connsiteX16" fmla="*/ 1838325 w 2143125"/>
                    <a:gd name="connsiteY16" fmla="*/ 450850 h 1406525"/>
                    <a:gd name="connsiteX17" fmla="*/ 1828800 w 2143125"/>
                    <a:gd name="connsiteY17" fmla="*/ 476250 h 1406525"/>
                    <a:gd name="connsiteX18" fmla="*/ 1825625 w 2143125"/>
                    <a:gd name="connsiteY18" fmla="*/ 485775 h 1406525"/>
                    <a:gd name="connsiteX19" fmla="*/ 1819275 w 2143125"/>
                    <a:gd name="connsiteY19" fmla="*/ 495300 h 1406525"/>
                    <a:gd name="connsiteX20" fmla="*/ 1806575 w 2143125"/>
                    <a:gd name="connsiteY20" fmla="*/ 533400 h 1406525"/>
                    <a:gd name="connsiteX21" fmla="*/ 1793875 w 2143125"/>
                    <a:gd name="connsiteY21" fmla="*/ 558800 h 1406525"/>
                    <a:gd name="connsiteX22" fmla="*/ 1781175 w 2143125"/>
                    <a:gd name="connsiteY22" fmla="*/ 590550 h 1406525"/>
                    <a:gd name="connsiteX23" fmla="*/ 1765300 w 2143125"/>
                    <a:gd name="connsiteY23" fmla="*/ 622300 h 1406525"/>
                    <a:gd name="connsiteX24" fmla="*/ 1749425 w 2143125"/>
                    <a:gd name="connsiteY24" fmla="*/ 647700 h 1406525"/>
                    <a:gd name="connsiteX25" fmla="*/ 1739900 w 2143125"/>
                    <a:gd name="connsiteY25" fmla="*/ 673100 h 1406525"/>
                    <a:gd name="connsiteX26" fmla="*/ 1730375 w 2143125"/>
                    <a:gd name="connsiteY26" fmla="*/ 682625 h 1406525"/>
                    <a:gd name="connsiteX27" fmla="*/ 1727200 w 2143125"/>
                    <a:gd name="connsiteY27" fmla="*/ 698500 h 1406525"/>
                    <a:gd name="connsiteX28" fmla="*/ 1717675 w 2143125"/>
                    <a:gd name="connsiteY28" fmla="*/ 727075 h 1406525"/>
                    <a:gd name="connsiteX29" fmla="*/ 1704975 w 2143125"/>
                    <a:gd name="connsiteY29" fmla="*/ 752475 h 1406525"/>
                    <a:gd name="connsiteX30" fmla="*/ 1701800 w 2143125"/>
                    <a:gd name="connsiteY30" fmla="*/ 762000 h 1406525"/>
                    <a:gd name="connsiteX31" fmla="*/ 1695450 w 2143125"/>
                    <a:gd name="connsiteY31" fmla="*/ 774700 h 1406525"/>
                    <a:gd name="connsiteX32" fmla="*/ 1695450 w 2143125"/>
                    <a:gd name="connsiteY32" fmla="*/ 787400 h 1406525"/>
                    <a:gd name="connsiteX33" fmla="*/ 1685925 w 2143125"/>
                    <a:gd name="connsiteY33" fmla="*/ 806450 h 1406525"/>
                    <a:gd name="connsiteX34" fmla="*/ 1641475 w 2143125"/>
                    <a:gd name="connsiteY34" fmla="*/ 885825 h 1406525"/>
                    <a:gd name="connsiteX35" fmla="*/ 1619250 w 2143125"/>
                    <a:gd name="connsiteY35" fmla="*/ 917575 h 1406525"/>
                    <a:gd name="connsiteX36" fmla="*/ 1577975 w 2143125"/>
                    <a:gd name="connsiteY36" fmla="*/ 949325 h 1406525"/>
                    <a:gd name="connsiteX37" fmla="*/ 1543050 w 2143125"/>
                    <a:gd name="connsiteY37" fmla="*/ 958850 h 1406525"/>
                    <a:gd name="connsiteX38" fmla="*/ 1501775 w 2143125"/>
                    <a:gd name="connsiteY38" fmla="*/ 958850 h 1406525"/>
                    <a:gd name="connsiteX39" fmla="*/ 1470025 w 2143125"/>
                    <a:gd name="connsiteY39" fmla="*/ 949325 h 1406525"/>
                    <a:gd name="connsiteX40" fmla="*/ 1447800 w 2143125"/>
                    <a:gd name="connsiteY40" fmla="*/ 904875 h 1406525"/>
                    <a:gd name="connsiteX41" fmla="*/ 1409700 w 2143125"/>
                    <a:gd name="connsiteY41" fmla="*/ 863600 h 1406525"/>
                    <a:gd name="connsiteX42" fmla="*/ 1377950 w 2143125"/>
                    <a:gd name="connsiteY42" fmla="*/ 777875 h 1406525"/>
                    <a:gd name="connsiteX43" fmla="*/ 1362075 w 2143125"/>
                    <a:gd name="connsiteY43" fmla="*/ 736600 h 1406525"/>
                    <a:gd name="connsiteX44" fmla="*/ 1333500 w 2143125"/>
                    <a:gd name="connsiteY44" fmla="*/ 666750 h 1406525"/>
                    <a:gd name="connsiteX45" fmla="*/ 1304925 w 2143125"/>
                    <a:gd name="connsiteY45" fmla="*/ 600075 h 1406525"/>
                    <a:gd name="connsiteX46" fmla="*/ 1260475 w 2143125"/>
                    <a:gd name="connsiteY46" fmla="*/ 517525 h 1406525"/>
                    <a:gd name="connsiteX47" fmla="*/ 1241425 w 2143125"/>
                    <a:gd name="connsiteY47" fmla="*/ 501650 h 1406525"/>
                    <a:gd name="connsiteX48" fmla="*/ 1212850 w 2143125"/>
                    <a:gd name="connsiteY48" fmla="*/ 492125 h 1406525"/>
                    <a:gd name="connsiteX49" fmla="*/ 1158875 w 2143125"/>
                    <a:gd name="connsiteY49" fmla="*/ 508000 h 1406525"/>
                    <a:gd name="connsiteX50" fmla="*/ 1133475 w 2143125"/>
                    <a:gd name="connsiteY50" fmla="*/ 546100 h 1406525"/>
                    <a:gd name="connsiteX51" fmla="*/ 1120775 w 2143125"/>
                    <a:gd name="connsiteY51" fmla="*/ 568325 h 1406525"/>
                    <a:gd name="connsiteX52" fmla="*/ 1111250 w 2143125"/>
                    <a:gd name="connsiteY52" fmla="*/ 600075 h 1406525"/>
                    <a:gd name="connsiteX53" fmla="*/ 1104900 w 2143125"/>
                    <a:gd name="connsiteY53" fmla="*/ 635000 h 1406525"/>
                    <a:gd name="connsiteX54" fmla="*/ 1095375 w 2143125"/>
                    <a:gd name="connsiteY54" fmla="*/ 660400 h 1406525"/>
                    <a:gd name="connsiteX55" fmla="*/ 1092200 w 2143125"/>
                    <a:gd name="connsiteY55" fmla="*/ 673100 h 1406525"/>
                    <a:gd name="connsiteX56" fmla="*/ 1089025 w 2143125"/>
                    <a:gd name="connsiteY56" fmla="*/ 682625 h 1406525"/>
                    <a:gd name="connsiteX57" fmla="*/ 1076325 w 2143125"/>
                    <a:gd name="connsiteY57" fmla="*/ 720725 h 1406525"/>
                    <a:gd name="connsiteX58" fmla="*/ 1035050 w 2143125"/>
                    <a:gd name="connsiteY58" fmla="*/ 822325 h 1406525"/>
                    <a:gd name="connsiteX59" fmla="*/ 996950 w 2143125"/>
                    <a:gd name="connsiteY59" fmla="*/ 933450 h 1406525"/>
                    <a:gd name="connsiteX60" fmla="*/ 965200 w 2143125"/>
                    <a:gd name="connsiteY60" fmla="*/ 974725 h 1406525"/>
                    <a:gd name="connsiteX61" fmla="*/ 930275 w 2143125"/>
                    <a:gd name="connsiteY61" fmla="*/ 1025525 h 1406525"/>
                    <a:gd name="connsiteX62" fmla="*/ 828675 w 2143125"/>
                    <a:gd name="connsiteY62" fmla="*/ 1031875 h 1406525"/>
                    <a:gd name="connsiteX63" fmla="*/ 742950 w 2143125"/>
                    <a:gd name="connsiteY63" fmla="*/ 968375 h 1406525"/>
                    <a:gd name="connsiteX64" fmla="*/ 692150 w 2143125"/>
                    <a:gd name="connsiteY64" fmla="*/ 895350 h 1406525"/>
                    <a:gd name="connsiteX65" fmla="*/ 647700 w 2143125"/>
                    <a:gd name="connsiteY65" fmla="*/ 844550 h 1406525"/>
                    <a:gd name="connsiteX66" fmla="*/ 596900 w 2143125"/>
                    <a:gd name="connsiteY66" fmla="*/ 790575 h 1406525"/>
                    <a:gd name="connsiteX67" fmla="*/ 523875 w 2143125"/>
                    <a:gd name="connsiteY67" fmla="*/ 711200 h 1406525"/>
                    <a:gd name="connsiteX68" fmla="*/ 473075 w 2143125"/>
                    <a:gd name="connsiteY68" fmla="*/ 695325 h 1406525"/>
                    <a:gd name="connsiteX69" fmla="*/ 434975 w 2143125"/>
                    <a:gd name="connsiteY69" fmla="*/ 717550 h 1406525"/>
                    <a:gd name="connsiteX70" fmla="*/ 431800 w 2143125"/>
                    <a:gd name="connsiteY70" fmla="*/ 755650 h 1406525"/>
                    <a:gd name="connsiteX71" fmla="*/ 425450 w 2143125"/>
                    <a:gd name="connsiteY71" fmla="*/ 793750 h 1406525"/>
                    <a:gd name="connsiteX72" fmla="*/ 425450 w 2143125"/>
                    <a:gd name="connsiteY72" fmla="*/ 831850 h 1406525"/>
                    <a:gd name="connsiteX73" fmla="*/ 425450 w 2143125"/>
                    <a:gd name="connsiteY73" fmla="*/ 876300 h 1406525"/>
                    <a:gd name="connsiteX74" fmla="*/ 422275 w 2143125"/>
                    <a:gd name="connsiteY74" fmla="*/ 904875 h 1406525"/>
                    <a:gd name="connsiteX75" fmla="*/ 412750 w 2143125"/>
                    <a:gd name="connsiteY75" fmla="*/ 968375 h 1406525"/>
                    <a:gd name="connsiteX76" fmla="*/ 396875 w 2143125"/>
                    <a:gd name="connsiteY76" fmla="*/ 1016000 h 1406525"/>
                    <a:gd name="connsiteX77" fmla="*/ 358775 w 2143125"/>
                    <a:gd name="connsiteY77" fmla="*/ 1031875 h 1406525"/>
                    <a:gd name="connsiteX78" fmla="*/ 301625 w 2143125"/>
                    <a:gd name="connsiteY78" fmla="*/ 1022350 h 1406525"/>
                    <a:gd name="connsiteX79" fmla="*/ 273050 w 2143125"/>
                    <a:gd name="connsiteY79" fmla="*/ 1006475 h 1406525"/>
                    <a:gd name="connsiteX80" fmla="*/ 222250 w 2143125"/>
                    <a:gd name="connsiteY80" fmla="*/ 984250 h 1406525"/>
                    <a:gd name="connsiteX81" fmla="*/ 187325 w 2143125"/>
                    <a:gd name="connsiteY81" fmla="*/ 962025 h 1406525"/>
                    <a:gd name="connsiteX82" fmla="*/ 152400 w 2143125"/>
                    <a:gd name="connsiteY82" fmla="*/ 936625 h 1406525"/>
                    <a:gd name="connsiteX83" fmla="*/ 104775 w 2143125"/>
                    <a:gd name="connsiteY83" fmla="*/ 885825 h 1406525"/>
                    <a:gd name="connsiteX84" fmla="*/ 57150 w 2143125"/>
                    <a:gd name="connsiteY84" fmla="*/ 822325 h 1406525"/>
                    <a:gd name="connsiteX85" fmla="*/ 0 w 2143125"/>
                    <a:gd name="connsiteY8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81200 w 2143125"/>
                    <a:gd name="connsiteY9" fmla="*/ 190500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908175 w 2143125"/>
                    <a:gd name="connsiteY13" fmla="*/ 330200 h 1406525"/>
                    <a:gd name="connsiteX14" fmla="*/ 1892300 w 2143125"/>
                    <a:gd name="connsiteY14" fmla="*/ 365125 h 1406525"/>
                    <a:gd name="connsiteX15" fmla="*/ 1860550 w 2143125"/>
                    <a:gd name="connsiteY15" fmla="*/ 415925 h 1406525"/>
                    <a:gd name="connsiteX16" fmla="*/ 1838325 w 2143125"/>
                    <a:gd name="connsiteY16" fmla="*/ 450850 h 1406525"/>
                    <a:gd name="connsiteX17" fmla="*/ 1828800 w 2143125"/>
                    <a:gd name="connsiteY17" fmla="*/ 476250 h 1406525"/>
                    <a:gd name="connsiteX18" fmla="*/ 1825625 w 2143125"/>
                    <a:gd name="connsiteY18" fmla="*/ 485775 h 1406525"/>
                    <a:gd name="connsiteX19" fmla="*/ 1819275 w 2143125"/>
                    <a:gd name="connsiteY19" fmla="*/ 495300 h 1406525"/>
                    <a:gd name="connsiteX20" fmla="*/ 1806575 w 2143125"/>
                    <a:gd name="connsiteY20" fmla="*/ 533400 h 1406525"/>
                    <a:gd name="connsiteX21" fmla="*/ 1793875 w 2143125"/>
                    <a:gd name="connsiteY21" fmla="*/ 558800 h 1406525"/>
                    <a:gd name="connsiteX22" fmla="*/ 1781175 w 2143125"/>
                    <a:gd name="connsiteY22" fmla="*/ 590550 h 1406525"/>
                    <a:gd name="connsiteX23" fmla="*/ 1765300 w 2143125"/>
                    <a:gd name="connsiteY23" fmla="*/ 622300 h 1406525"/>
                    <a:gd name="connsiteX24" fmla="*/ 1749425 w 2143125"/>
                    <a:gd name="connsiteY24" fmla="*/ 647700 h 1406525"/>
                    <a:gd name="connsiteX25" fmla="*/ 1739900 w 2143125"/>
                    <a:gd name="connsiteY25" fmla="*/ 673100 h 1406525"/>
                    <a:gd name="connsiteX26" fmla="*/ 1730375 w 2143125"/>
                    <a:gd name="connsiteY26" fmla="*/ 682625 h 1406525"/>
                    <a:gd name="connsiteX27" fmla="*/ 1727200 w 2143125"/>
                    <a:gd name="connsiteY27" fmla="*/ 698500 h 1406525"/>
                    <a:gd name="connsiteX28" fmla="*/ 1717675 w 2143125"/>
                    <a:gd name="connsiteY28" fmla="*/ 727075 h 1406525"/>
                    <a:gd name="connsiteX29" fmla="*/ 1704975 w 2143125"/>
                    <a:gd name="connsiteY29" fmla="*/ 752475 h 1406525"/>
                    <a:gd name="connsiteX30" fmla="*/ 1701800 w 2143125"/>
                    <a:gd name="connsiteY30" fmla="*/ 762000 h 1406525"/>
                    <a:gd name="connsiteX31" fmla="*/ 1695450 w 2143125"/>
                    <a:gd name="connsiteY31" fmla="*/ 774700 h 1406525"/>
                    <a:gd name="connsiteX32" fmla="*/ 1695450 w 2143125"/>
                    <a:gd name="connsiteY32" fmla="*/ 787400 h 1406525"/>
                    <a:gd name="connsiteX33" fmla="*/ 1610659 w 2143125"/>
                    <a:gd name="connsiteY33" fmla="*/ 699201 h 1406525"/>
                    <a:gd name="connsiteX34" fmla="*/ 1641475 w 2143125"/>
                    <a:gd name="connsiteY34" fmla="*/ 885825 h 1406525"/>
                    <a:gd name="connsiteX35" fmla="*/ 1619250 w 2143125"/>
                    <a:gd name="connsiteY35" fmla="*/ 917575 h 1406525"/>
                    <a:gd name="connsiteX36" fmla="*/ 1577975 w 2143125"/>
                    <a:gd name="connsiteY36" fmla="*/ 949325 h 1406525"/>
                    <a:gd name="connsiteX37" fmla="*/ 1543050 w 2143125"/>
                    <a:gd name="connsiteY37" fmla="*/ 958850 h 1406525"/>
                    <a:gd name="connsiteX38" fmla="*/ 1501775 w 2143125"/>
                    <a:gd name="connsiteY38" fmla="*/ 958850 h 1406525"/>
                    <a:gd name="connsiteX39" fmla="*/ 1470025 w 2143125"/>
                    <a:gd name="connsiteY39" fmla="*/ 949325 h 1406525"/>
                    <a:gd name="connsiteX40" fmla="*/ 1447800 w 2143125"/>
                    <a:gd name="connsiteY40" fmla="*/ 904875 h 1406525"/>
                    <a:gd name="connsiteX41" fmla="*/ 1409700 w 2143125"/>
                    <a:gd name="connsiteY41" fmla="*/ 863600 h 1406525"/>
                    <a:gd name="connsiteX42" fmla="*/ 1377950 w 2143125"/>
                    <a:gd name="connsiteY42" fmla="*/ 777875 h 1406525"/>
                    <a:gd name="connsiteX43" fmla="*/ 1362075 w 2143125"/>
                    <a:gd name="connsiteY43" fmla="*/ 736600 h 1406525"/>
                    <a:gd name="connsiteX44" fmla="*/ 1333500 w 2143125"/>
                    <a:gd name="connsiteY44" fmla="*/ 666750 h 1406525"/>
                    <a:gd name="connsiteX45" fmla="*/ 1304925 w 2143125"/>
                    <a:gd name="connsiteY45" fmla="*/ 600075 h 1406525"/>
                    <a:gd name="connsiteX46" fmla="*/ 1260475 w 2143125"/>
                    <a:gd name="connsiteY46" fmla="*/ 517525 h 1406525"/>
                    <a:gd name="connsiteX47" fmla="*/ 1241425 w 2143125"/>
                    <a:gd name="connsiteY47" fmla="*/ 501650 h 1406525"/>
                    <a:gd name="connsiteX48" fmla="*/ 1212850 w 2143125"/>
                    <a:gd name="connsiteY48" fmla="*/ 492125 h 1406525"/>
                    <a:gd name="connsiteX49" fmla="*/ 1158875 w 2143125"/>
                    <a:gd name="connsiteY49" fmla="*/ 508000 h 1406525"/>
                    <a:gd name="connsiteX50" fmla="*/ 1133475 w 2143125"/>
                    <a:gd name="connsiteY50" fmla="*/ 546100 h 1406525"/>
                    <a:gd name="connsiteX51" fmla="*/ 1120775 w 2143125"/>
                    <a:gd name="connsiteY51" fmla="*/ 568325 h 1406525"/>
                    <a:gd name="connsiteX52" fmla="*/ 1111250 w 2143125"/>
                    <a:gd name="connsiteY52" fmla="*/ 600075 h 1406525"/>
                    <a:gd name="connsiteX53" fmla="*/ 1104900 w 2143125"/>
                    <a:gd name="connsiteY53" fmla="*/ 635000 h 1406525"/>
                    <a:gd name="connsiteX54" fmla="*/ 1095375 w 2143125"/>
                    <a:gd name="connsiteY54" fmla="*/ 660400 h 1406525"/>
                    <a:gd name="connsiteX55" fmla="*/ 1092200 w 2143125"/>
                    <a:gd name="connsiteY55" fmla="*/ 673100 h 1406525"/>
                    <a:gd name="connsiteX56" fmla="*/ 1089025 w 2143125"/>
                    <a:gd name="connsiteY56" fmla="*/ 682625 h 1406525"/>
                    <a:gd name="connsiteX57" fmla="*/ 1076325 w 2143125"/>
                    <a:gd name="connsiteY57" fmla="*/ 720725 h 1406525"/>
                    <a:gd name="connsiteX58" fmla="*/ 1035050 w 2143125"/>
                    <a:gd name="connsiteY58" fmla="*/ 822325 h 1406525"/>
                    <a:gd name="connsiteX59" fmla="*/ 996950 w 2143125"/>
                    <a:gd name="connsiteY59" fmla="*/ 933450 h 1406525"/>
                    <a:gd name="connsiteX60" fmla="*/ 965200 w 2143125"/>
                    <a:gd name="connsiteY60" fmla="*/ 974725 h 1406525"/>
                    <a:gd name="connsiteX61" fmla="*/ 930275 w 2143125"/>
                    <a:gd name="connsiteY61" fmla="*/ 1025525 h 1406525"/>
                    <a:gd name="connsiteX62" fmla="*/ 828675 w 2143125"/>
                    <a:gd name="connsiteY62" fmla="*/ 1031875 h 1406525"/>
                    <a:gd name="connsiteX63" fmla="*/ 742950 w 2143125"/>
                    <a:gd name="connsiteY63" fmla="*/ 968375 h 1406525"/>
                    <a:gd name="connsiteX64" fmla="*/ 692150 w 2143125"/>
                    <a:gd name="connsiteY64" fmla="*/ 895350 h 1406525"/>
                    <a:gd name="connsiteX65" fmla="*/ 647700 w 2143125"/>
                    <a:gd name="connsiteY65" fmla="*/ 844550 h 1406525"/>
                    <a:gd name="connsiteX66" fmla="*/ 596900 w 2143125"/>
                    <a:gd name="connsiteY66" fmla="*/ 790575 h 1406525"/>
                    <a:gd name="connsiteX67" fmla="*/ 523875 w 2143125"/>
                    <a:gd name="connsiteY67" fmla="*/ 711200 h 1406525"/>
                    <a:gd name="connsiteX68" fmla="*/ 473075 w 2143125"/>
                    <a:gd name="connsiteY68" fmla="*/ 695325 h 1406525"/>
                    <a:gd name="connsiteX69" fmla="*/ 434975 w 2143125"/>
                    <a:gd name="connsiteY69" fmla="*/ 717550 h 1406525"/>
                    <a:gd name="connsiteX70" fmla="*/ 431800 w 2143125"/>
                    <a:gd name="connsiteY70" fmla="*/ 755650 h 1406525"/>
                    <a:gd name="connsiteX71" fmla="*/ 425450 w 2143125"/>
                    <a:gd name="connsiteY71" fmla="*/ 793750 h 1406525"/>
                    <a:gd name="connsiteX72" fmla="*/ 425450 w 2143125"/>
                    <a:gd name="connsiteY72" fmla="*/ 831850 h 1406525"/>
                    <a:gd name="connsiteX73" fmla="*/ 425450 w 2143125"/>
                    <a:gd name="connsiteY73" fmla="*/ 876300 h 1406525"/>
                    <a:gd name="connsiteX74" fmla="*/ 422275 w 2143125"/>
                    <a:gd name="connsiteY74" fmla="*/ 904875 h 1406525"/>
                    <a:gd name="connsiteX75" fmla="*/ 412750 w 2143125"/>
                    <a:gd name="connsiteY75" fmla="*/ 968375 h 1406525"/>
                    <a:gd name="connsiteX76" fmla="*/ 396875 w 2143125"/>
                    <a:gd name="connsiteY76" fmla="*/ 1016000 h 1406525"/>
                    <a:gd name="connsiteX77" fmla="*/ 358775 w 2143125"/>
                    <a:gd name="connsiteY77" fmla="*/ 1031875 h 1406525"/>
                    <a:gd name="connsiteX78" fmla="*/ 301625 w 2143125"/>
                    <a:gd name="connsiteY78" fmla="*/ 1022350 h 1406525"/>
                    <a:gd name="connsiteX79" fmla="*/ 273050 w 2143125"/>
                    <a:gd name="connsiteY79" fmla="*/ 1006475 h 1406525"/>
                    <a:gd name="connsiteX80" fmla="*/ 222250 w 2143125"/>
                    <a:gd name="connsiteY80" fmla="*/ 984250 h 1406525"/>
                    <a:gd name="connsiteX81" fmla="*/ 187325 w 2143125"/>
                    <a:gd name="connsiteY81" fmla="*/ 962025 h 1406525"/>
                    <a:gd name="connsiteX82" fmla="*/ 152400 w 2143125"/>
                    <a:gd name="connsiteY82" fmla="*/ 936625 h 1406525"/>
                    <a:gd name="connsiteX83" fmla="*/ 104775 w 2143125"/>
                    <a:gd name="connsiteY83" fmla="*/ 885825 h 1406525"/>
                    <a:gd name="connsiteX84" fmla="*/ 57150 w 2143125"/>
                    <a:gd name="connsiteY84" fmla="*/ 822325 h 1406525"/>
                    <a:gd name="connsiteX85" fmla="*/ 0 w 2143125"/>
                    <a:gd name="connsiteY8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81200 w 2143125"/>
                    <a:gd name="connsiteY9" fmla="*/ 190500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908175 w 2143125"/>
                    <a:gd name="connsiteY13" fmla="*/ 330200 h 1406525"/>
                    <a:gd name="connsiteX14" fmla="*/ 1892300 w 2143125"/>
                    <a:gd name="connsiteY14" fmla="*/ 365125 h 1406525"/>
                    <a:gd name="connsiteX15" fmla="*/ 1860550 w 2143125"/>
                    <a:gd name="connsiteY15" fmla="*/ 415925 h 1406525"/>
                    <a:gd name="connsiteX16" fmla="*/ 1838325 w 2143125"/>
                    <a:gd name="connsiteY16" fmla="*/ 450850 h 1406525"/>
                    <a:gd name="connsiteX17" fmla="*/ 1828800 w 2143125"/>
                    <a:gd name="connsiteY17" fmla="*/ 476250 h 1406525"/>
                    <a:gd name="connsiteX18" fmla="*/ 1825625 w 2143125"/>
                    <a:gd name="connsiteY18" fmla="*/ 485775 h 1406525"/>
                    <a:gd name="connsiteX19" fmla="*/ 1819275 w 2143125"/>
                    <a:gd name="connsiteY19" fmla="*/ 495300 h 1406525"/>
                    <a:gd name="connsiteX20" fmla="*/ 1806575 w 2143125"/>
                    <a:gd name="connsiteY20" fmla="*/ 533400 h 1406525"/>
                    <a:gd name="connsiteX21" fmla="*/ 1793875 w 2143125"/>
                    <a:gd name="connsiteY21" fmla="*/ 558800 h 1406525"/>
                    <a:gd name="connsiteX22" fmla="*/ 1781175 w 2143125"/>
                    <a:gd name="connsiteY22" fmla="*/ 590550 h 1406525"/>
                    <a:gd name="connsiteX23" fmla="*/ 1748574 w 2143125"/>
                    <a:gd name="connsiteY23" fmla="*/ 498555 h 1406525"/>
                    <a:gd name="connsiteX24" fmla="*/ 1749425 w 2143125"/>
                    <a:gd name="connsiteY24" fmla="*/ 647700 h 1406525"/>
                    <a:gd name="connsiteX25" fmla="*/ 1739900 w 2143125"/>
                    <a:gd name="connsiteY25" fmla="*/ 673100 h 1406525"/>
                    <a:gd name="connsiteX26" fmla="*/ 1730375 w 2143125"/>
                    <a:gd name="connsiteY26" fmla="*/ 682625 h 1406525"/>
                    <a:gd name="connsiteX27" fmla="*/ 1727200 w 2143125"/>
                    <a:gd name="connsiteY27" fmla="*/ 698500 h 1406525"/>
                    <a:gd name="connsiteX28" fmla="*/ 1717675 w 2143125"/>
                    <a:gd name="connsiteY28" fmla="*/ 727075 h 1406525"/>
                    <a:gd name="connsiteX29" fmla="*/ 1704975 w 2143125"/>
                    <a:gd name="connsiteY29" fmla="*/ 752475 h 1406525"/>
                    <a:gd name="connsiteX30" fmla="*/ 1701800 w 2143125"/>
                    <a:gd name="connsiteY30" fmla="*/ 762000 h 1406525"/>
                    <a:gd name="connsiteX31" fmla="*/ 1695450 w 2143125"/>
                    <a:gd name="connsiteY31" fmla="*/ 774700 h 1406525"/>
                    <a:gd name="connsiteX32" fmla="*/ 1695450 w 2143125"/>
                    <a:gd name="connsiteY32" fmla="*/ 787400 h 1406525"/>
                    <a:gd name="connsiteX33" fmla="*/ 1610659 w 2143125"/>
                    <a:gd name="connsiteY33" fmla="*/ 699201 h 1406525"/>
                    <a:gd name="connsiteX34" fmla="*/ 1641475 w 2143125"/>
                    <a:gd name="connsiteY34" fmla="*/ 885825 h 1406525"/>
                    <a:gd name="connsiteX35" fmla="*/ 1619250 w 2143125"/>
                    <a:gd name="connsiteY35" fmla="*/ 917575 h 1406525"/>
                    <a:gd name="connsiteX36" fmla="*/ 1577975 w 2143125"/>
                    <a:gd name="connsiteY36" fmla="*/ 949325 h 1406525"/>
                    <a:gd name="connsiteX37" fmla="*/ 1543050 w 2143125"/>
                    <a:gd name="connsiteY37" fmla="*/ 958850 h 1406525"/>
                    <a:gd name="connsiteX38" fmla="*/ 1501775 w 2143125"/>
                    <a:gd name="connsiteY38" fmla="*/ 958850 h 1406525"/>
                    <a:gd name="connsiteX39" fmla="*/ 1470025 w 2143125"/>
                    <a:gd name="connsiteY39" fmla="*/ 949325 h 1406525"/>
                    <a:gd name="connsiteX40" fmla="*/ 1447800 w 2143125"/>
                    <a:gd name="connsiteY40" fmla="*/ 904875 h 1406525"/>
                    <a:gd name="connsiteX41" fmla="*/ 1409700 w 2143125"/>
                    <a:gd name="connsiteY41" fmla="*/ 863600 h 1406525"/>
                    <a:gd name="connsiteX42" fmla="*/ 1377950 w 2143125"/>
                    <a:gd name="connsiteY42" fmla="*/ 777875 h 1406525"/>
                    <a:gd name="connsiteX43" fmla="*/ 1362075 w 2143125"/>
                    <a:gd name="connsiteY43" fmla="*/ 736600 h 1406525"/>
                    <a:gd name="connsiteX44" fmla="*/ 1333500 w 2143125"/>
                    <a:gd name="connsiteY44" fmla="*/ 666750 h 1406525"/>
                    <a:gd name="connsiteX45" fmla="*/ 1304925 w 2143125"/>
                    <a:gd name="connsiteY45" fmla="*/ 600075 h 1406525"/>
                    <a:gd name="connsiteX46" fmla="*/ 1260475 w 2143125"/>
                    <a:gd name="connsiteY46" fmla="*/ 517525 h 1406525"/>
                    <a:gd name="connsiteX47" fmla="*/ 1241425 w 2143125"/>
                    <a:gd name="connsiteY47" fmla="*/ 501650 h 1406525"/>
                    <a:gd name="connsiteX48" fmla="*/ 1212850 w 2143125"/>
                    <a:gd name="connsiteY48" fmla="*/ 492125 h 1406525"/>
                    <a:gd name="connsiteX49" fmla="*/ 1158875 w 2143125"/>
                    <a:gd name="connsiteY49" fmla="*/ 508000 h 1406525"/>
                    <a:gd name="connsiteX50" fmla="*/ 1133475 w 2143125"/>
                    <a:gd name="connsiteY50" fmla="*/ 546100 h 1406525"/>
                    <a:gd name="connsiteX51" fmla="*/ 1120775 w 2143125"/>
                    <a:gd name="connsiteY51" fmla="*/ 568325 h 1406525"/>
                    <a:gd name="connsiteX52" fmla="*/ 1111250 w 2143125"/>
                    <a:gd name="connsiteY52" fmla="*/ 600075 h 1406525"/>
                    <a:gd name="connsiteX53" fmla="*/ 1104900 w 2143125"/>
                    <a:gd name="connsiteY53" fmla="*/ 635000 h 1406525"/>
                    <a:gd name="connsiteX54" fmla="*/ 1095375 w 2143125"/>
                    <a:gd name="connsiteY54" fmla="*/ 660400 h 1406525"/>
                    <a:gd name="connsiteX55" fmla="*/ 1092200 w 2143125"/>
                    <a:gd name="connsiteY55" fmla="*/ 673100 h 1406525"/>
                    <a:gd name="connsiteX56" fmla="*/ 1089025 w 2143125"/>
                    <a:gd name="connsiteY56" fmla="*/ 682625 h 1406525"/>
                    <a:gd name="connsiteX57" fmla="*/ 1076325 w 2143125"/>
                    <a:gd name="connsiteY57" fmla="*/ 720725 h 1406525"/>
                    <a:gd name="connsiteX58" fmla="*/ 1035050 w 2143125"/>
                    <a:gd name="connsiteY58" fmla="*/ 822325 h 1406525"/>
                    <a:gd name="connsiteX59" fmla="*/ 996950 w 2143125"/>
                    <a:gd name="connsiteY59" fmla="*/ 933450 h 1406525"/>
                    <a:gd name="connsiteX60" fmla="*/ 965200 w 2143125"/>
                    <a:gd name="connsiteY60" fmla="*/ 974725 h 1406525"/>
                    <a:gd name="connsiteX61" fmla="*/ 930275 w 2143125"/>
                    <a:gd name="connsiteY61" fmla="*/ 1025525 h 1406525"/>
                    <a:gd name="connsiteX62" fmla="*/ 828675 w 2143125"/>
                    <a:gd name="connsiteY62" fmla="*/ 1031875 h 1406525"/>
                    <a:gd name="connsiteX63" fmla="*/ 742950 w 2143125"/>
                    <a:gd name="connsiteY63" fmla="*/ 968375 h 1406525"/>
                    <a:gd name="connsiteX64" fmla="*/ 692150 w 2143125"/>
                    <a:gd name="connsiteY64" fmla="*/ 895350 h 1406525"/>
                    <a:gd name="connsiteX65" fmla="*/ 647700 w 2143125"/>
                    <a:gd name="connsiteY65" fmla="*/ 844550 h 1406525"/>
                    <a:gd name="connsiteX66" fmla="*/ 596900 w 2143125"/>
                    <a:gd name="connsiteY66" fmla="*/ 790575 h 1406525"/>
                    <a:gd name="connsiteX67" fmla="*/ 523875 w 2143125"/>
                    <a:gd name="connsiteY67" fmla="*/ 711200 h 1406525"/>
                    <a:gd name="connsiteX68" fmla="*/ 473075 w 2143125"/>
                    <a:gd name="connsiteY68" fmla="*/ 695325 h 1406525"/>
                    <a:gd name="connsiteX69" fmla="*/ 434975 w 2143125"/>
                    <a:gd name="connsiteY69" fmla="*/ 717550 h 1406525"/>
                    <a:gd name="connsiteX70" fmla="*/ 431800 w 2143125"/>
                    <a:gd name="connsiteY70" fmla="*/ 755650 h 1406525"/>
                    <a:gd name="connsiteX71" fmla="*/ 425450 w 2143125"/>
                    <a:gd name="connsiteY71" fmla="*/ 793750 h 1406525"/>
                    <a:gd name="connsiteX72" fmla="*/ 425450 w 2143125"/>
                    <a:gd name="connsiteY72" fmla="*/ 831850 h 1406525"/>
                    <a:gd name="connsiteX73" fmla="*/ 425450 w 2143125"/>
                    <a:gd name="connsiteY73" fmla="*/ 876300 h 1406525"/>
                    <a:gd name="connsiteX74" fmla="*/ 422275 w 2143125"/>
                    <a:gd name="connsiteY74" fmla="*/ 904875 h 1406525"/>
                    <a:gd name="connsiteX75" fmla="*/ 412750 w 2143125"/>
                    <a:gd name="connsiteY75" fmla="*/ 968375 h 1406525"/>
                    <a:gd name="connsiteX76" fmla="*/ 396875 w 2143125"/>
                    <a:gd name="connsiteY76" fmla="*/ 1016000 h 1406525"/>
                    <a:gd name="connsiteX77" fmla="*/ 358775 w 2143125"/>
                    <a:gd name="connsiteY77" fmla="*/ 1031875 h 1406525"/>
                    <a:gd name="connsiteX78" fmla="*/ 301625 w 2143125"/>
                    <a:gd name="connsiteY78" fmla="*/ 1022350 h 1406525"/>
                    <a:gd name="connsiteX79" fmla="*/ 273050 w 2143125"/>
                    <a:gd name="connsiteY79" fmla="*/ 1006475 h 1406525"/>
                    <a:gd name="connsiteX80" fmla="*/ 222250 w 2143125"/>
                    <a:gd name="connsiteY80" fmla="*/ 984250 h 1406525"/>
                    <a:gd name="connsiteX81" fmla="*/ 187325 w 2143125"/>
                    <a:gd name="connsiteY81" fmla="*/ 962025 h 1406525"/>
                    <a:gd name="connsiteX82" fmla="*/ 152400 w 2143125"/>
                    <a:gd name="connsiteY82" fmla="*/ 936625 h 1406525"/>
                    <a:gd name="connsiteX83" fmla="*/ 104775 w 2143125"/>
                    <a:gd name="connsiteY83" fmla="*/ 885825 h 1406525"/>
                    <a:gd name="connsiteX84" fmla="*/ 57150 w 2143125"/>
                    <a:gd name="connsiteY84" fmla="*/ 822325 h 1406525"/>
                    <a:gd name="connsiteX85" fmla="*/ 0 w 2143125"/>
                    <a:gd name="connsiteY8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81200 w 2143125"/>
                    <a:gd name="connsiteY9" fmla="*/ 190500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908175 w 2143125"/>
                    <a:gd name="connsiteY13" fmla="*/ 330200 h 1406525"/>
                    <a:gd name="connsiteX14" fmla="*/ 1875575 w 2143125"/>
                    <a:gd name="connsiteY14" fmla="*/ 249629 h 1406525"/>
                    <a:gd name="connsiteX15" fmla="*/ 1860550 w 2143125"/>
                    <a:gd name="connsiteY15" fmla="*/ 415925 h 1406525"/>
                    <a:gd name="connsiteX16" fmla="*/ 1838325 w 2143125"/>
                    <a:gd name="connsiteY16" fmla="*/ 450850 h 1406525"/>
                    <a:gd name="connsiteX17" fmla="*/ 1828800 w 2143125"/>
                    <a:gd name="connsiteY17" fmla="*/ 476250 h 1406525"/>
                    <a:gd name="connsiteX18" fmla="*/ 1825625 w 2143125"/>
                    <a:gd name="connsiteY18" fmla="*/ 485775 h 1406525"/>
                    <a:gd name="connsiteX19" fmla="*/ 1819275 w 2143125"/>
                    <a:gd name="connsiteY19" fmla="*/ 495300 h 1406525"/>
                    <a:gd name="connsiteX20" fmla="*/ 1806575 w 2143125"/>
                    <a:gd name="connsiteY20" fmla="*/ 533400 h 1406525"/>
                    <a:gd name="connsiteX21" fmla="*/ 1793875 w 2143125"/>
                    <a:gd name="connsiteY21" fmla="*/ 558800 h 1406525"/>
                    <a:gd name="connsiteX22" fmla="*/ 1781175 w 2143125"/>
                    <a:gd name="connsiteY22" fmla="*/ 590550 h 1406525"/>
                    <a:gd name="connsiteX23" fmla="*/ 1748574 w 2143125"/>
                    <a:gd name="connsiteY23" fmla="*/ 498555 h 1406525"/>
                    <a:gd name="connsiteX24" fmla="*/ 1749425 w 2143125"/>
                    <a:gd name="connsiteY24" fmla="*/ 647700 h 1406525"/>
                    <a:gd name="connsiteX25" fmla="*/ 1739900 w 2143125"/>
                    <a:gd name="connsiteY25" fmla="*/ 673100 h 1406525"/>
                    <a:gd name="connsiteX26" fmla="*/ 1730375 w 2143125"/>
                    <a:gd name="connsiteY26" fmla="*/ 682625 h 1406525"/>
                    <a:gd name="connsiteX27" fmla="*/ 1727200 w 2143125"/>
                    <a:gd name="connsiteY27" fmla="*/ 698500 h 1406525"/>
                    <a:gd name="connsiteX28" fmla="*/ 1717675 w 2143125"/>
                    <a:gd name="connsiteY28" fmla="*/ 727075 h 1406525"/>
                    <a:gd name="connsiteX29" fmla="*/ 1704975 w 2143125"/>
                    <a:gd name="connsiteY29" fmla="*/ 752475 h 1406525"/>
                    <a:gd name="connsiteX30" fmla="*/ 1701800 w 2143125"/>
                    <a:gd name="connsiteY30" fmla="*/ 762000 h 1406525"/>
                    <a:gd name="connsiteX31" fmla="*/ 1695450 w 2143125"/>
                    <a:gd name="connsiteY31" fmla="*/ 774700 h 1406525"/>
                    <a:gd name="connsiteX32" fmla="*/ 1695450 w 2143125"/>
                    <a:gd name="connsiteY32" fmla="*/ 787400 h 1406525"/>
                    <a:gd name="connsiteX33" fmla="*/ 1610659 w 2143125"/>
                    <a:gd name="connsiteY33" fmla="*/ 699201 h 1406525"/>
                    <a:gd name="connsiteX34" fmla="*/ 1641475 w 2143125"/>
                    <a:gd name="connsiteY34" fmla="*/ 885825 h 1406525"/>
                    <a:gd name="connsiteX35" fmla="*/ 1619250 w 2143125"/>
                    <a:gd name="connsiteY35" fmla="*/ 917575 h 1406525"/>
                    <a:gd name="connsiteX36" fmla="*/ 1577975 w 2143125"/>
                    <a:gd name="connsiteY36" fmla="*/ 949325 h 1406525"/>
                    <a:gd name="connsiteX37" fmla="*/ 1543050 w 2143125"/>
                    <a:gd name="connsiteY37" fmla="*/ 958850 h 1406525"/>
                    <a:gd name="connsiteX38" fmla="*/ 1501775 w 2143125"/>
                    <a:gd name="connsiteY38" fmla="*/ 958850 h 1406525"/>
                    <a:gd name="connsiteX39" fmla="*/ 1470025 w 2143125"/>
                    <a:gd name="connsiteY39" fmla="*/ 949325 h 1406525"/>
                    <a:gd name="connsiteX40" fmla="*/ 1447800 w 2143125"/>
                    <a:gd name="connsiteY40" fmla="*/ 904875 h 1406525"/>
                    <a:gd name="connsiteX41" fmla="*/ 1409700 w 2143125"/>
                    <a:gd name="connsiteY41" fmla="*/ 863600 h 1406525"/>
                    <a:gd name="connsiteX42" fmla="*/ 1377950 w 2143125"/>
                    <a:gd name="connsiteY42" fmla="*/ 777875 h 1406525"/>
                    <a:gd name="connsiteX43" fmla="*/ 1362075 w 2143125"/>
                    <a:gd name="connsiteY43" fmla="*/ 736600 h 1406525"/>
                    <a:gd name="connsiteX44" fmla="*/ 1333500 w 2143125"/>
                    <a:gd name="connsiteY44" fmla="*/ 666750 h 1406525"/>
                    <a:gd name="connsiteX45" fmla="*/ 1304925 w 2143125"/>
                    <a:gd name="connsiteY45" fmla="*/ 600075 h 1406525"/>
                    <a:gd name="connsiteX46" fmla="*/ 1260475 w 2143125"/>
                    <a:gd name="connsiteY46" fmla="*/ 517525 h 1406525"/>
                    <a:gd name="connsiteX47" fmla="*/ 1241425 w 2143125"/>
                    <a:gd name="connsiteY47" fmla="*/ 501650 h 1406525"/>
                    <a:gd name="connsiteX48" fmla="*/ 1212850 w 2143125"/>
                    <a:gd name="connsiteY48" fmla="*/ 492125 h 1406525"/>
                    <a:gd name="connsiteX49" fmla="*/ 1158875 w 2143125"/>
                    <a:gd name="connsiteY49" fmla="*/ 508000 h 1406525"/>
                    <a:gd name="connsiteX50" fmla="*/ 1133475 w 2143125"/>
                    <a:gd name="connsiteY50" fmla="*/ 546100 h 1406525"/>
                    <a:gd name="connsiteX51" fmla="*/ 1120775 w 2143125"/>
                    <a:gd name="connsiteY51" fmla="*/ 568325 h 1406525"/>
                    <a:gd name="connsiteX52" fmla="*/ 1111250 w 2143125"/>
                    <a:gd name="connsiteY52" fmla="*/ 600075 h 1406525"/>
                    <a:gd name="connsiteX53" fmla="*/ 1104900 w 2143125"/>
                    <a:gd name="connsiteY53" fmla="*/ 635000 h 1406525"/>
                    <a:gd name="connsiteX54" fmla="*/ 1095375 w 2143125"/>
                    <a:gd name="connsiteY54" fmla="*/ 660400 h 1406525"/>
                    <a:gd name="connsiteX55" fmla="*/ 1092200 w 2143125"/>
                    <a:gd name="connsiteY55" fmla="*/ 673100 h 1406525"/>
                    <a:gd name="connsiteX56" fmla="*/ 1089025 w 2143125"/>
                    <a:gd name="connsiteY56" fmla="*/ 682625 h 1406525"/>
                    <a:gd name="connsiteX57" fmla="*/ 1076325 w 2143125"/>
                    <a:gd name="connsiteY57" fmla="*/ 720725 h 1406525"/>
                    <a:gd name="connsiteX58" fmla="*/ 1035050 w 2143125"/>
                    <a:gd name="connsiteY58" fmla="*/ 822325 h 1406525"/>
                    <a:gd name="connsiteX59" fmla="*/ 996950 w 2143125"/>
                    <a:gd name="connsiteY59" fmla="*/ 933450 h 1406525"/>
                    <a:gd name="connsiteX60" fmla="*/ 965200 w 2143125"/>
                    <a:gd name="connsiteY60" fmla="*/ 974725 h 1406525"/>
                    <a:gd name="connsiteX61" fmla="*/ 930275 w 2143125"/>
                    <a:gd name="connsiteY61" fmla="*/ 1025525 h 1406525"/>
                    <a:gd name="connsiteX62" fmla="*/ 828675 w 2143125"/>
                    <a:gd name="connsiteY62" fmla="*/ 1031875 h 1406525"/>
                    <a:gd name="connsiteX63" fmla="*/ 742950 w 2143125"/>
                    <a:gd name="connsiteY63" fmla="*/ 968375 h 1406525"/>
                    <a:gd name="connsiteX64" fmla="*/ 692150 w 2143125"/>
                    <a:gd name="connsiteY64" fmla="*/ 895350 h 1406525"/>
                    <a:gd name="connsiteX65" fmla="*/ 647700 w 2143125"/>
                    <a:gd name="connsiteY65" fmla="*/ 844550 h 1406525"/>
                    <a:gd name="connsiteX66" fmla="*/ 596900 w 2143125"/>
                    <a:gd name="connsiteY66" fmla="*/ 790575 h 1406525"/>
                    <a:gd name="connsiteX67" fmla="*/ 523875 w 2143125"/>
                    <a:gd name="connsiteY67" fmla="*/ 711200 h 1406525"/>
                    <a:gd name="connsiteX68" fmla="*/ 473075 w 2143125"/>
                    <a:gd name="connsiteY68" fmla="*/ 695325 h 1406525"/>
                    <a:gd name="connsiteX69" fmla="*/ 434975 w 2143125"/>
                    <a:gd name="connsiteY69" fmla="*/ 717550 h 1406525"/>
                    <a:gd name="connsiteX70" fmla="*/ 431800 w 2143125"/>
                    <a:gd name="connsiteY70" fmla="*/ 755650 h 1406525"/>
                    <a:gd name="connsiteX71" fmla="*/ 425450 w 2143125"/>
                    <a:gd name="connsiteY71" fmla="*/ 793750 h 1406525"/>
                    <a:gd name="connsiteX72" fmla="*/ 425450 w 2143125"/>
                    <a:gd name="connsiteY72" fmla="*/ 831850 h 1406525"/>
                    <a:gd name="connsiteX73" fmla="*/ 425450 w 2143125"/>
                    <a:gd name="connsiteY73" fmla="*/ 876300 h 1406525"/>
                    <a:gd name="connsiteX74" fmla="*/ 422275 w 2143125"/>
                    <a:gd name="connsiteY74" fmla="*/ 904875 h 1406525"/>
                    <a:gd name="connsiteX75" fmla="*/ 412750 w 2143125"/>
                    <a:gd name="connsiteY75" fmla="*/ 968375 h 1406525"/>
                    <a:gd name="connsiteX76" fmla="*/ 396875 w 2143125"/>
                    <a:gd name="connsiteY76" fmla="*/ 1016000 h 1406525"/>
                    <a:gd name="connsiteX77" fmla="*/ 358775 w 2143125"/>
                    <a:gd name="connsiteY77" fmla="*/ 1031875 h 1406525"/>
                    <a:gd name="connsiteX78" fmla="*/ 301625 w 2143125"/>
                    <a:gd name="connsiteY78" fmla="*/ 1022350 h 1406525"/>
                    <a:gd name="connsiteX79" fmla="*/ 273050 w 2143125"/>
                    <a:gd name="connsiteY79" fmla="*/ 1006475 h 1406525"/>
                    <a:gd name="connsiteX80" fmla="*/ 222250 w 2143125"/>
                    <a:gd name="connsiteY80" fmla="*/ 984250 h 1406525"/>
                    <a:gd name="connsiteX81" fmla="*/ 187325 w 2143125"/>
                    <a:gd name="connsiteY81" fmla="*/ 962025 h 1406525"/>
                    <a:gd name="connsiteX82" fmla="*/ 152400 w 2143125"/>
                    <a:gd name="connsiteY82" fmla="*/ 936625 h 1406525"/>
                    <a:gd name="connsiteX83" fmla="*/ 104775 w 2143125"/>
                    <a:gd name="connsiteY83" fmla="*/ 885825 h 1406525"/>
                    <a:gd name="connsiteX84" fmla="*/ 57150 w 2143125"/>
                    <a:gd name="connsiteY84" fmla="*/ 822325 h 1406525"/>
                    <a:gd name="connsiteX85" fmla="*/ 0 w 2143125"/>
                    <a:gd name="connsiteY8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81200 w 2143125"/>
                    <a:gd name="connsiteY9" fmla="*/ 190500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908175 w 2143125"/>
                    <a:gd name="connsiteY13" fmla="*/ 330200 h 1406525"/>
                    <a:gd name="connsiteX14" fmla="*/ 1875575 w 2143125"/>
                    <a:gd name="connsiteY14" fmla="*/ 249629 h 1406525"/>
                    <a:gd name="connsiteX15" fmla="*/ 1860550 w 2143125"/>
                    <a:gd name="connsiteY15" fmla="*/ 415925 h 1406525"/>
                    <a:gd name="connsiteX16" fmla="*/ 1838325 w 2143125"/>
                    <a:gd name="connsiteY16" fmla="*/ 450850 h 1406525"/>
                    <a:gd name="connsiteX17" fmla="*/ 1828800 w 2143125"/>
                    <a:gd name="connsiteY17" fmla="*/ 476250 h 1406525"/>
                    <a:gd name="connsiteX18" fmla="*/ 1825625 w 2143125"/>
                    <a:gd name="connsiteY18" fmla="*/ 485775 h 1406525"/>
                    <a:gd name="connsiteX19" fmla="*/ 1819275 w 2143125"/>
                    <a:gd name="connsiteY19" fmla="*/ 495300 h 1406525"/>
                    <a:gd name="connsiteX20" fmla="*/ 1798212 w 2143125"/>
                    <a:gd name="connsiteY20" fmla="*/ 417904 h 1406525"/>
                    <a:gd name="connsiteX21" fmla="*/ 1793875 w 2143125"/>
                    <a:gd name="connsiteY21" fmla="*/ 558800 h 1406525"/>
                    <a:gd name="connsiteX22" fmla="*/ 1781175 w 2143125"/>
                    <a:gd name="connsiteY22" fmla="*/ 590550 h 1406525"/>
                    <a:gd name="connsiteX23" fmla="*/ 1748574 w 2143125"/>
                    <a:gd name="connsiteY23" fmla="*/ 498555 h 1406525"/>
                    <a:gd name="connsiteX24" fmla="*/ 1749425 w 2143125"/>
                    <a:gd name="connsiteY24" fmla="*/ 647700 h 1406525"/>
                    <a:gd name="connsiteX25" fmla="*/ 1739900 w 2143125"/>
                    <a:gd name="connsiteY25" fmla="*/ 673100 h 1406525"/>
                    <a:gd name="connsiteX26" fmla="*/ 1730375 w 2143125"/>
                    <a:gd name="connsiteY26" fmla="*/ 682625 h 1406525"/>
                    <a:gd name="connsiteX27" fmla="*/ 1727200 w 2143125"/>
                    <a:gd name="connsiteY27" fmla="*/ 698500 h 1406525"/>
                    <a:gd name="connsiteX28" fmla="*/ 1717675 w 2143125"/>
                    <a:gd name="connsiteY28" fmla="*/ 727075 h 1406525"/>
                    <a:gd name="connsiteX29" fmla="*/ 1704975 w 2143125"/>
                    <a:gd name="connsiteY29" fmla="*/ 752475 h 1406525"/>
                    <a:gd name="connsiteX30" fmla="*/ 1701800 w 2143125"/>
                    <a:gd name="connsiteY30" fmla="*/ 762000 h 1406525"/>
                    <a:gd name="connsiteX31" fmla="*/ 1695450 w 2143125"/>
                    <a:gd name="connsiteY31" fmla="*/ 774700 h 1406525"/>
                    <a:gd name="connsiteX32" fmla="*/ 1695450 w 2143125"/>
                    <a:gd name="connsiteY32" fmla="*/ 787400 h 1406525"/>
                    <a:gd name="connsiteX33" fmla="*/ 1610659 w 2143125"/>
                    <a:gd name="connsiteY33" fmla="*/ 699201 h 1406525"/>
                    <a:gd name="connsiteX34" fmla="*/ 1641475 w 2143125"/>
                    <a:gd name="connsiteY34" fmla="*/ 885825 h 1406525"/>
                    <a:gd name="connsiteX35" fmla="*/ 1619250 w 2143125"/>
                    <a:gd name="connsiteY35" fmla="*/ 917575 h 1406525"/>
                    <a:gd name="connsiteX36" fmla="*/ 1577975 w 2143125"/>
                    <a:gd name="connsiteY36" fmla="*/ 949325 h 1406525"/>
                    <a:gd name="connsiteX37" fmla="*/ 1543050 w 2143125"/>
                    <a:gd name="connsiteY37" fmla="*/ 958850 h 1406525"/>
                    <a:gd name="connsiteX38" fmla="*/ 1501775 w 2143125"/>
                    <a:gd name="connsiteY38" fmla="*/ 958850 h 1406525"/>
                    <a:gd name="connsiteX39" fmla="*/ 1470025 w 2143125"/>
                    <a:gd name="connsiteY39" fmla="*/ 949325 h 1406525"/>
                    <a:gd name="connsiteX40" fmla="*/ 1447800 w 2143125"/>
                    <a:gd name="connsiteY40" fmla="*/ 904875 h 1406525"/>
                    <a:gd name="connsiteX41" fmla="*/ 1409700 w 2143125"/>
                    <a:gd name="connsiteY41" fmla="*/ 863600 h 1406525"/>
                    <a:gd name="connsiteX42" fmla="*/ 1377950 w 2143125"/>
                    <a:gd name="connsiteY42" fmla="*/ 777875 h 1406525"/>
                    <a:gd name="connsiteX43" fmla="*/ 1362075 w 2143125"/>
                    <a:gd name="connsiteY43" fmla="*/ 736600 h 1406525"/>
                    <a:gd name="connsiteX44" fmla="*/ 1333500 w 2143125"/>
                    <a:gd name="connsiteY44" fmla="*/ 666750 h 1406525"/>
                    <a:gd name="connsiteX45" fmla="*/ 1304925 w 2143125"/>
                    <a:gd name="connsiteY45" fmla="*/ 600075 h 1406525"/>
                    <a:gd name="connsiteX46" fmla="*/ 1260475 w 2143125"/>
                    <a:gd name="connsiteY46" fmla="*/ 517525 h 1406525"/>
                    <a:gd name="connsiteX47" fmla="*/ 1241425 w 2143125"/>
                    <a:gd name="connsiteY47" fmla="*/ 501650 h 1406525"/>
                    <a:gd name="connsiteX48" fmla="*/ 1212850 w 2143125"/>
                    <a:gd name="connsiteY48" fmla="*/ 492125 h 1406525"/>
                    <a:gd name="connsiteX49" fmla="*/ 1158875 w 2143125"/>
                    <a:gd name="connsiteY49" fmla="*/ 508000 h 1406525"/>
                    <a:gd name="connsiteX50" fmla="*/ 1133475 w 2143125"/>
                    <a:gd name="connsiteY50" fmla="*/ 546100 h 1406525"/>
                    <a:gd name="connsiteX51" fmla="*/ 1120775 w 2143125"/>
                    <a:gd name="connsiteY51" fmla="*/ 568325 h 1406525"/>
                    <a:gd name="connsiteX52" fmla="*/ 1111250 w 2143125"/>
                    <a:gd name="connsiteY52" fmla="*/ 600075 h 1406525"/>
                    <a:gd name="connsiteX53" fmla="*/ 1104900 w 2143125"/>
                    <a:gd name="connsiteY53" fmla="*/ 635000 h 1406525"/>
                    <a:gd name="connsiteX54" fmla="*/ 1095375 w 2143125"/>
                    <a:gd name="connsiteY54" fmla="*/ 660400 h 1406525"/>
                    <a:gd name="connsiteX55" fmla="*/ 1092200 w 2143125"/>
                    <a:gd name="connsiteY55" fmla="*/ 673100 h 1406525"/>
                    <a:gd name="connsiteX56" fmla="*/ 1089025 w 2143125"/>
                    <a:gd name="connsiteY56" fmla="*/ 682625 h 1406525"/>
                    <a:gd name="connsiteX57" fmla="*/ 1076325 w 2143125"/>
                    <a:gd name="connsiteY57" fmla="*/ 720725 h 1406525"/>
                    <a:gd name="connsiteX58" fmla="*/ 1035050 w 2143125"/>
                    <a:gd name="connsiteY58" fmla="*/ 822325 h 1406525"/>
                    <a:gd name="connsiteX59" fmla="*/ 996950 w 2143125"/>
                    <a:gd name="connsiteY59" fmla="*/ 933450 h 1406525"/>
                    <a:gd name="connsiteX60" fmla="*/ 965200 w 2143125"/>
                    <a:gd name="connsiteY60" fmla="*/ 974725 h 1406525"/>
                    <a:gd name="connsiteX61" fmla="*/ 930275 w 2143125"/>
                    <a:gd name="connsiteY61" fmla="*/ 1025525 h 1406525"/>
                    <a:gd name="connsiteX62" fmla="*/ 828675 w 2143125"/>
                    <a:gd name="connsiteY62" fmla="*/ 1031875 h 1406525"/>
                    <a:gd name="connsiteX63" fmla="*/ 742950 w 2143125"/>
                    <a:gd name="connsiteY63" fmla="*/ 968375 h 1406525"/>
                    <a:gd name="connsiteX64" fmla="*/ 692150 w 2143125"/>
                    <a:gd name="connsiteY64" fmla="*/ 895350 h 1406525"/>
                    <a:gd name="connsiteX65" fmla="*/ 647700 w 2143125"/>
                    <a:gd name="connsiteY65" fmla="*/ 844550 h 1406525"/>
                    <a:gd name="connsiteX66" fmla="*/ 596900 w 2143125"/>
                    <a:gd name="connsiteY66" fmla="*/ 790575 h 1406525"/>
                    <a:gd name="connsiteX67" fmla="*/ 523875 w 2143125"/>
                    <a:gd name="connsiteY67" fmla="*/ 711200 h 1406525"/>
                    <a:gd name="connsiteX68" fmla="*/ 473075 w 2143125"/>
                    <a:gd name="connsiteY68" fmla="*/ 695325 h 1406525"/>
                    <a:gd name="connsiteX69" fmla="*/ 434975 w 2143125"/>
                    <a:gd name="connsiteY69" fmla="*/ 717550 h 1406525"/>
                    <a:gd name="connsiteX70" fmla="*/ 431800 w 2143125"/>
                    <a:gd name="connsiteY70" fmla="*/ 755650 h 1406525"/>
                    <a:gd name="connsiteX71" fmla="*/ 425450 w 2143125"/>
                    <a:gd name="connsiteY71" fmla="*/ 793750 h 1406525"/>
                    <a:gd name="connsiteX72" fmla="*/ 425450 w 2143125"/>
                    <a:gd name="connsiteY72" fmla="*/ 831850 h 1406525"/>
                    <a:gd name="connsiteX73" fmla="*/ 425450 w 2143125"/>
                    <a:gd name="connsiteY73" fmla="*/ 876300 h 1406525"/>
                    <a:gd name="connsiteX74" fmla="*/ 422275 w 2143125"/>
                    <a:gd name="connsiteY74" fmla="*/ 904875 h 1406525"/>
                    <a:gd name="connsiteX75" fmla="*/ 412750 w 2143125"/>
                    <a:gd name="connsiteY75" fmla="*/ 968375 h 1406525"/>
                    <a:gd name="connsiteX76" fmla="*/ 396875 w 2143125"/>
                    <a:gd name="connsiteY76" fmla="*/ 1016000 h 1406525"/>
                    <a:gd name="connsiteX77" fmla="*/ 358775 w 2143125"/>
                    <a:gd name="connsiteY77" fmla="*/ 1031875 h 1406525"/>
                    <a:gd name="connsiteX78" fmla="*/ 301625 w 2143125"/>
                    <a:gd name="connsiteY78" fmla="*/ 1022350 h 1406525"/>
                    <a:gd name="connsiteX79" fmla="*/ 273050 w 2143125"/>
                    <a:gd name="connsiteY79" fmla="*/ 1006475 h 1406525"/>
                    <a:gd name="connsiteX80" fmla="*/ 222250 w 2143125"/>
                    <a:gd name="connsiteY80" fmla="*/ 984250 h 1406525"/>
                    <a:gd name="connsiteX81" fmla="*/ 187325 w 2143125"/>
                    <a:gd name="connsiteY81" fmla="*/ 962025 h 1406525"/>
                    <a:gd name="connsiteX82" fmla="*/ 152400 w 2143125"/>
                    <a:gd name="connsiteY82" fmla="*/ 936625 h 1406525"/>
                    <a:gd name="connsiteX83" fmla="*/ 104775 w 2143125"/>
                    <a:gd name="connsiteY83" fmla="*/ 885825 h 1406525"/>
                    <a:gd name="connsiteX84" fmla="*/ 57150 w 2143125"/>
                    <a:gd name="connsiteY84" fmla="*/ 822325 h 1406525"/>
                    <a:gd name="connsiteX85" fmla="*/ 0 w 2143125"/>
                    <a:gd name="connsiteY8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81200 w 2143125"/>
                    <a:gd name="connsiteY9" fmla="*/ 190500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908175 w 2143125"/>
                    <a:gd name="connsiteY13" fmla="*/ 330200 h 1406525"/>
                    <a:gd name="connsiteX14" fmla="*/ 1875575 w 2143125"/>
                    <a:gd name="connsiteY14" fmla="*/ 249629 h 1406525"/>
                    <a:gd name="connsiteX15" fmla="*/ 1860550 w 2143125"/>
                    <a:gd name="connsiteY15" fmla="*/ 415925 h 1406525"/>
                    <a:gd name="connsiteX16" fmla="*/ 1838325 w 2143125"/>
                    <a:gd name="connsiteY16" fmla="*/ 450850 h 1406525"/>
                    <a:gd name="connsiteX17" fmla="*/ 1828800 w 2143125"/>
                    <a:gd name="connsiteY17" fmla="*/ 476250 h 1406525"/>
                    <a:gd name="connsiteX18" fmla="*/ 1825625 w 2143125"/>
                    <a:gd name="connsiteY18" fmla="*/ 485775 h 1406525"/>
                    <a:gd name="connsiteX19" fmla="*/ 1819275 w 2143125"/>
                    <a:gd name="connsiteY19" fmla="*/ 495300 h 1406525"/>
                    <a:gd name="connsiteX20" fmla="*/ 1798212 w 2143125"/>
                    <a:gd name="connsiteY20" fmla="*/ 417904 h 1406525"/>
                    <a:gd name="connsiteX21" fmla="*/ 1793875 w 2143125"/>
                    <a:gd name="connsiteY21" fmla="*/ 558800 h 1406525"/>
                    <a:gd name="connsiteX22" fmla="*/ 1781175 w 2143125"/>
                    <a:gd name="connsiteY22" fmla="*/ 590550 h 1406525"/>
                    <a:gd name="connsiteX23" fmla="*/ 1748574 w 2143125"/>
                    <a:gd name="connsiteY23" fmla="*/ 498555 h 1406525"/>
                    <a:gd name="connsiteX24" fmla="*/ 1749425 w 2143125"/>
                    <a:gd name="connsiteY24" fmla="*/ 647700 h 1406525"/>
                    <a:gd name="connsiteX25" fmla="*/ 1739900 w 2143125"/>
                    <a:gd name="connsiteY25" fmla="*/ 673100 h 1406525"/>
                    <a:gd name="connsiteX26" fmla="*/ 1730375 w 2143125"/>
                    <a:gd name="connsiteY26" fmla="*/ 682625 h 1406525"/>
                    <a:gd name="connsiteX27" fmla="*/ 1727200 w 2143125"/>
                    <a:gd name="connsiteY27" fmla="*/ 698500 h 1406525"/>
                    <a:gd name="connsiteX28" fmla="*/ 1671679 w 2143125"/>
                    <a:gd name="connsiteY28" fmla="*/ 628077 h 1406525"/>
                    <a:gd name="connsiteX29" fmla="*/ 1704975 w 2143125"/>
                    <a:gd name="connsiteY29" fmla="*/ 752475 h 1406525"/>
                    <a:gd name="connsiteX30" fmla="*/ 1701800 w 2143125"/>
                    <a:gd name="connsiteY30" fmla="*/ 762000 h 1406525"/>
                    <a:gd name="connsiteX31" fmla="*/ 1695450 w 2143125"/>
                    <a:gd name="connsiteY31" fmla="*/ 774700 h 1406525"/>
                    <a:gd name="connsiteX32" fmla="*/ 1695450 w 2143125"/>
                    <a:gd name="connsiteY32" fmla="*/ 787400 h 1406525"/>
                    <a:gd name="connsiteX33" fmla="*/ 1610659 w 2143125"/>
                    <a:gd name="connsiteY33" fmla="*/ 699201 h 1406525"/>
                    <a:gd name="connsiteX34" fmla="*/ 1641475 w 2143125"/>
                    <a:gd name="connsiteY34" fmla="*/ 885825 h 1406525"/>
                    <a:gd name="connsiteX35" fmla="*/ 1619250 w 2143125"/>
                    <a:gd name="connsiteY35" fmla="*/ 917575 h 1406525"/>
                    <a:gd name="connsiteX36" fmla="*/ 1577975 w 2143125"/>
                    <a:gd name="connsiteY36" fmla="*/ 949325 h 1406525"/>
                    <a:gd name="connsiteX37" fmla="*/ 1543050 w 2143125"/>
                    <a:gd name="connsiteY37" fmla="*/ 958850 h 1406525"/>
                    <a:gd name="connsiteX38" fmla="*/ 1501775 w 2143125"/>
                    <a:gd name="connsiteY38" fmla="*/ 958850 h 1406525"/>
                    <a:gd name="connsiteX39" fmla="*/ 1470025 w 2143125"/>
                    <a:gd name="connsiteY39" fmla="*/ 949325 h 1406525"/>
                    <a:gd name="connsiteX40" fmla="*/ 1447800 w 2143125"/>
                    <a:gd name="connsiteY40" fmla="*/ 904875 h 1406525"/>
                    <a:gd name="connsiteX41" fmla="*/ 1409700 w 2143125"/>
                    <a:gd name="connsiteY41" fmla="*/ 863600 h 1406525"/>
                    <a:gd name="connsiteX42" fmla="*/ 1377950 w 2143125"/>
                    <a:gd name="connsiteY42" fmla="*/ 777875 h 1406525"/>
                    <a:gd name="connsiteX43" fmla="*/ 1362075 w 2143125"/>
                    <a:gd name="connsiteY43" fmla="*/ 736600 h 1406525"/>
                    <a:gd name="connsiteX44" fmla="*/ 1333500 w 2143125"/>
                    <a:gd name="connsiteY44" fmla="*/ 666750 h 1406525"/>
                    <a:gd name="connsiteX45" fmla="*/ 1304925 w 2143125"/>
                    <a:gd name="connsiteY45" fmla="*/ 600075 h 1406525"/>
                    <a:gd name="connsiteX46" fmla="*/ 1260475 w 2143125"/>
                    <a:gd name="connsiteY46" fmla="*/ 517525 h 1406525"/>
                    <a:gd name="connsiteX47" fmla="*/ 1241425 w 2143125"/>
                    <a:gd name="connsiteY47" fmla="*/ 501650 h 1406525"/>
                    <a:gd name="connsiteX48" fmla="*/ 1212850 w 2143125"/>
                    <a:gd name="connsiteY48" fmla="*/ 492125 h 1406525"/>
                    <a:gd name="connsiteX49" fmla="*/ 1158875 w 2143125"/>
                    <a:gd name="connsiteY49" fmla="*/ 508000 h 1406525"/>
                    <a:gd name="connsiteX50" fmla="*/ 1133475 w 2143125"/>
                    <a:gd name="connsiteY50" fmla="*/ 546100 h 1406525"/>
                    <a:gd name="connsiteX51" fmla="*/ 1120775 w 2143125"/>
                    <a:gd name="connsiteY51" fmla="*/ 568325 h 1406525"/>
                    <a:gd name="connsiteX52" fmla="*/ 1111250 w 2143125"/>
                    <a:gd name="connsiteY52" fmla="*/ 600075 h 1406525"/>
                    <a:gd name="connsiteX53" fmla="*/ 1104900 w 2143125"/>
                    <a:gd name="connsiteY53" fmla="*/ 635000 h 1406525"/>
                    <a:gd name="connsiteX54" fmla="*/ 1095375 w 2143125"/>
                    <a:gd name="connsiteY54" fmla="*/ 660400 h 1406525"/>
                    <a:gd name="connsiteX55" fmla="*/ 1092200 w 2143125"/>
                    <a:gd name="connsiteY55" fmla="*/ 673100 h 1406525"/>
                    <a:gd name="connsiteX56" fmla="*/ 1089025 w 2143125"/>
                    <a:gd name="connsiteY56" fmla="*/ 682625 h 1406525"/>
                    <a:gd name="connsiteX57" fmla="*/ 1076325 w 2143125"/>
                    <a:gd name="connsiteY57" fmla="*/ 720725 h 1406525"/>
                    <a:gd name="connsiteX58" fmla="*/ 1035050 w 2143125"/>
                    <a:gd name="connsiteY58" fmla="*/ 822325 h 1406525"/>
                    <a:gd name="connsiteX59" fmla="*/ 996950 w 2143125"/>
                    <a:gd name="connsiteY59" fmla="*/ 933450 h 1406525"/>
                    <a:gd name="connsiteX60" fmla="*/ 965200 w 2143125"/>
                    <a:gd name="connsiteY60" fmla="*/ 974725 h 1406525"/>
                    <a:gd name="connsiteX61" fmla="*/ 930275 w 2143125"/>
                    <a:gd name="connsiteY61" fmla="*/ 1025525 h 1406525"/>
                    <a:gd name="connsiteX62" fmla="*/ 828675 w 2143125"/>
                    <a:gd name="connsiteY62" fmla="*/ 1031875 h 1406525"/>
                    <a:gd name="connsiteX63" fmla="*/ 742950 w 2143125"/>
                    <a:gd name="connsiteY63" fmla="*/ 968375 h 1406525"/>
                    <a:gd name="connsiteX64" fmla="*/ 692150 w 2143125"/>
                    <a:gd name="connsiteY64" fmla="*/ 895350 h 1406525"/>
                    <a:gd name="connsiteX65" fmla="*/ 647700 w 2143125"/>
                    <a:gd name="connsiteY65" fmla="*/ 844550 h 1406525"/>
                    <a:gd name="connsiteX66" fmla="*/ 596900 w 2143125"/>
                    <a:gd name="connsiteY66" fmla="*/ 790575 h 1406525"/>
                    <a:gd name="connsiteX67" fmla="*/ 523875 w 2143125"/>
                    <a:gd name="connsiteY67" fmla="*/ 711200 h 1406525"/>
                    <a:gd name="connsiteX68" fmla="*/ 473075 w 2143125"/>
                    <a:gd name="connsiteY68" fmla="*/ 695325 h 1406525"/>
                    <a:gd name="connsiteX69" fmla="*/ 434975 w 2143125"/>
                    <a:gd name="connsiteY69" fmla="*/ 717550 h 1406525"/>
                    <a:gd name="connsiteX70" fmla="*/ 431800 w 2143125"/>
                    <a:gd name="connsiteY70" fmla="*/ 755650 h 1406525"/>
                    <a:gd name="connsiteX71" fmla="*/ 425450 w 2143125"/>
                    <a:gd name="connsiteY71" fmla="*/ 793750 h 1406525"/>
                    <a:gd name="connsiteX72" fmla="*/ 425450 w 2143125"/>
                    <a:gd name="connsiteY72" fmla="*/ 831850 h 1406525"/>
                    <a:gd name="connsiteX73" fmla="*/ 425450 w 2143125"/>
                    <a:gd name="connsiteY73" fmla="*/ 876300 h 1406525"/>
                    <a:gd name="connsiteX74" fmla="*/ 422275 w 2143125"/>
                    <a:gd name="connsiteY74" fmla="*/ 904875 h 1406525"/>
                    <a:gd name="connsiteX75" fmla="*/ 412750 w 2143125"/>
                    <a:gd name="connsiteY75" fmla="*/ 968375 h 1406525"/>
                    <a:gd name="connsiteX76" fmla="*/ 396875 w 2143125"/>
                    <a:gd name="connsiteY76" fmla="*/ 1016000 h 1406525"/>
                    <a:gd name="connsiteX77" fmla="*/ 358775 w 2143125"/>
                    <a:gd name="connsiteY77" fmla="*/ 1031875 h 1406525"/>
                    <a:gd name="connsiteX78" fmla="*/ 301625 w 2143125"/>
                    <a:gd name="connsiteY78" fmla="*/ 1022350 h 1406525"/>
                    <a:gd name="connsiteX79" fmla="*/ 273050 w 2143125"/>
                    <a:gd name="connsiteY79" fmla="*/ 1006475 h 1406525"/>
                    <a:gd name="connsiteX80" fmla="*/ 222250 w 2143125"/>
                    <a:gd name="connsiteY80" fmla="*/ 984250 h 1406525"/>
                    <a:gd name="connsiteX81" fmla="*/ 187325 w 2143125"/>
                    <a:gd name="connsiteY81" fmla="*/ 962025 h 1406525"/>
                    <a:gd name="connsiteX82" fmla="*/ 152400 w 2143125"/>
                    <a:gd name="connsiteY82" fmla="*/ 936625 h 1406525"/>
                    <a:gd name="connsiteX83" fmla="*/ 104775 w 2143125"/>
                    <a:gd name="connsiteY83" fmla="*/ 885825 h 1406525"/>
                    <a:gd name="connsiteX84" fmla="*/ 57150 w 2143125"/>
                    <a:gd name="connsiteY84" fmla="*/ 822325 h 1406525"/>
                    <a:gd name="connsiteX85" fmla="*/ 0 w 2143125"/>
                    <a:gd name="connsiteY8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47748 w 2143125"/>
                    <a:gd name="connsiteY9" fmla="*/ 124503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908175 w 2143125"/>
                    <a:gd name="connsiteY13" fmla="*/ 330200 h 1406525"/>
                    <a:gd name="connsiteX14" fmla="*/ 1875575 w 2143125"/>
                    <a:gd name="connsiteY14" fmla="*/ 249629 h 1406525"/>
                    <a:gd name="connsiteX15" fmla="*/ 1860550 w 2143125"/>
                    <a:gd name="connsiteY15" fmla="*/ 415925 h 1406525"/>
                    <a:gd name="connsiteX16" fmla="*/ 1838325 w 2143125"/>
                    <a:gd name="connsiteY16" fmla="*/ 450850 h 1406525"/>
                    <a:gd name="connsiteX17" fmla="*/ 1828800 w 2143125"/>
                    <a:gd name="connsiteY17" fmla="*/ 476250 h 1406525"/>
                    <a:gd name="connsiteX18" fmla="*/ 1825625 w 2143125"/>
                    <a:gd name="connsiteY18" fmla="*/ 485775 h 1406525"/>
                    <a:gd name="connsiteX19" fmla="*/ 1819275 w 2143125"/>
                    <a:gd name="connsiteY19" fmla="*/ 495300 h 1406525"/>
                    <a:gd name="connsiteX20" fmla="*/ 1798212 w 2143125"/>
                    <a:gd name="connsiteY20" fmla="*/ 417904 h 1406525"/>
                    <a:gd name="connsiteX21" fmla="*/ 1793875 w 2143125"/>
                    <a:gd name="connsiteY21" fmla="*/ 558800 h 1406525"/>
                    <a:gd name="connsiteX22" fmla="*/ 1781175 w 2143125"/>
                    <a:gd name="connsiteY22" fmla="*/ 590550 h 1406525"/>
                    <a:gd name="connsiteX23" fmla="*/ 1748574 w 2143125"/>
                    <a:gd name="connsiteY23" fmla="*/ 498555 h 1406525"/>
                    <a:gd name="connsiteX24" fmla="*/ 1749425 w 2143125"/>
                    <a:gd name="connsiteY24" fmla="*/ 647700 h 1406525"/>
                    <a:gd name="connsiteX25" fmla="*/ 1739900 w 2143125"/>
                    <a:gd name="connsiteY25" fmla="*/ 673100 h 1406525"/>
                    <a:gd name="connsiteX26" fmla="*/ 1730375 w 2143125"/>
                    <a:gd name="connsiteY26" fmla="*/ 682625 h 1406525"/>
                    <a:gd name="connsiteX27" fmla="*/ 1727200 w 2143125"/>
                    <a:gd name="connsiteY27" fmla="*/ 698500 h 1406525"/>
                    <a:gd name="connsiteX28" fmla="*/ 1671679 w 2143125"/>
                    <a:gd name="connsiteY28" fmla="*/ 628077 h 1406525"/>
                    <a:gd name="connsiteX29" fmla="*/ 1704975 w 2143125"/>
                    <a:gd name="connsiteY29" fmla="*/ 752475 h 1406525"/>
                    <a:gd name="connsiteX30" fmla="*/ 1701800 w 2143125"/>
                    <a:gd name="connsiteY30" fmla="*/ 762000 h 1406525"/>
                    <a:gd name="connsiteX31" fmla="*/ 1695450 w 2143125"/>
                    <a:gd name="connsiteY31" fmla="*/ 774700 h 1406525"/>
                    <a:gd name="connsiteX32" fmla="*/ 1695450 w 2143125"/>
                    <a:gd name="connsiteY32" fmla="*/ 787400 h 1406525"/>
                    <a:gd name="connsiteX33" fmla="*/ 1610659 w 2143125"/>
                    <a:gd name="connsiteY33" fmla="*/ 699201 h 1406525"/>
                    <a:gd name="connsiteX34" fmla="*/ 1641475 w 2143125"/>
                    <a:gd name="connsiteY34" fmla="*/ 885825 h 1406525"/>
                    <a:gd name="connsiteX35" fmla="*/ 1619250 w 2143125"/>
                    <a:gd name="connsiteY35" fmla="*/ 917575 h 1406525"/>
                    <a:gd name="connsiteX36" fmla="*/ 1577975 w 2143125"/>
                    <a:gd name="connsiteY36" fmla="*/ 949325 h 1406525"/>
                    <a:gd name="connsiteX37" fmla="*/ 1543050 w 2143125"/>
                    <a:gd name="connsiteY37" fmla="*/ 958850 h 1406525"/>
                    <a:gd name="connsiteX38" fmla="*/ 1501775 w 2143125"/>
                    <a:gd name="connsiteY38" fmla="*/ 958850 h 1406525"/>
                    <a:gd name="connsiteX39" fmla="*/ 1470025 w 2143125"/>
                    <a:gd name="connsiteY39" fmla="*/ 949325 h 1406525"/>
                    <a:gd name="connsiteX40" fmla="*/ 1447800 w 2143125"/>
                    <a:gd name="connsiteY40" fmla="*/ 904875 h 1406525"/>
                    <a:gd name="connsiteX41" fmla="*/ 1409700 w 2143125"/>
                    <a:gd name="connsiteY41" fmla="*/ 863600 h 1406525"/>
                    <a:gd name="connsiteX42" fmla="*/ 1377950 w 2143125"/>
                    <a:gd name="connsiteY42" fmla="*/ 777875 h 1406525"/>
                    <a:gd name="connsiteX43" fmla="*/ 1362075 w 2143125"/>
                    <a:gd name="connsiteY43" fmla="*/ 736600 h 1406525"/>
                    <a:gd name="connsiteX44" fmla="*/ 1333500 w 2143125"/>
                    <a:gd name="connsiteY44" fmla="*/ 666750 h 1406525"/>
                    <a:gd name="connsiteX45" fmla="*/ 1304925 w 2143125"/>
                    <a:gd name="connsiteY45" fmla="*/ 600075 h 1406525"/>
                    <a:gd name="connsiteX46" fmla="*/ 1260475 w 2143125"/>
                    <a:gd name="connsiteY46" fmla="*/ 517525 h 1406525"/>
                    <a:gd name="connsiteX47" fmla="*/ 1241425 w 2143125"/>
                    <a:gd name="connsiteY47" fmla="*/ 501650 h 1406525"/>
                    <a:gd name="connsiteX48" fmla="*/ 1212850 w 2143125"/>
                    <a:gd name="connsiteY48" fmla="*/ 492125 h 1406525"/>
                    <a:gd name="connsiteX49" fmla="*/ 1158875 w 2143125"/>
                    <a:gd name="connsiteY49" fmla="*/ 508000 h 1406525"/>
                    <a:gd name="connsiteX50" fmla="*/ 1133475 w 2143125"/>
                    <a:gd name="connsiteY50" fmla="*/ 546100 h 1406525"/>
                    <a:gd name="connsiteX51" fmla="*/ 1120775 w 2143125"/>
                    <a:gd name="connsiteY51" fmla="*/ 568325 h 1406525"/>
                    <a:gd name="connsiteX52" fmla="*/ 1111250 w 2143125"/>
                    <a:gd name="connsiteY52" fmla="*/ 600075 h 1406525"/>
                    <a:gd name="connsiteX53" fmla="*/ 1104900 w 2143125"/>
                    <a:gd name="connsiteY53" fmla="*/ 635000 h 1406525"/>
                    <a:gd name="connsiteX54" fmla="*/ 1095375 w 2143125"/>
                    <a:gd name="connsiteY54" fmla="*/ 660400 h 1406525"/>
                    <a:gd name="connsiteX55" fmla="*/ 1092200 w 2143125"/>
                    <a:gd name="connsiteY55" fmla="*/ 673100 h 1406525"/>
                    <a:gd name="connsiteX56" fmla="*/ 1089025 w 2143125"/>
                    <a:gd name="connsiteY56" fmla="*/ 682625 h 1406525"/>
                    <a:gd name="connsiteX57" fmla="*/ 1076325 w 2143125"/>
                    <a:gd name="connsiteY57" fmla="*/ 720725 h 1406525"/>
                    <a:gd name="connsiteX58" fmla="*/ 1035050 w 2143125"/>
                    <a:gd name="connsiteY58" fmla="*/ 822325 h 1406525"/>
                    <a:gd name="connsiteX59" fmla="*/ 996950 w 2143125"/>
                    <a:gd name="connsiteY59" fmla="*/ 933450 h 1406525"/>
                    <a:gd name="connsiteX60" fmla="*/ 965200 w 2143125"/>
                    <a:gd name="connsiteY60" fmla="*/ 974725 h 1406525"/>
                    <a:gd name="connsiteX61" fmla="*/ 930275 w 2143125"/>
                    <a:gd name="connsiteY61" fmla="*/ 1025525 h 1406525"/>
                    <a:gd name="connsiteX62" fmla="*/ 828675 w 2143125"/>
                    <a:gd name="connsiteY62" fmla="*/ 1031875 h 1406525"/>
                    <a:gd name="connsiteX63" fmla="*/ 742950 w 2143125"/>
                    <a:gd name="connsiteY63" fmla="*/ 968375 h 1406525"/>
                    <a:gd name="connsiteX64" fmla="*/ 692150 w 2143125"/>
                    <a:gd name="connsiteY64" fmla="*/ 895350 h 1406525"/>
                    <a:gd name="connsiteX65" fmla="*/ 647700 w 2143125"/>
                    <a:gd name="connsiteY65" fmla="*/ 844550 h 1406525"/>
                    <a:gd name="connsiteX66" fmla="*/ 596900 w 2143125"/>
                    <a:gd name="connsiteY66" fmla="*/ 790575 h 1406525"/>
                    <a:gd name="connsiteX67" fmla="*/ 523875 w 2143125"/>
                    <a:gd name="connsiteY67" fmla="*/ 711200 h 1406525"/>
                    <a:gd name="connsiteX68" fmla="*/ 473075 w 2143125"/>
                    <a:gd name="connsiteY68" fmla="*/ 695325 h 1406525"/>
                    <a:gd name="connsiteX69" fmla="*/ 434975 w 2143125"/>
                    <a:gd name="connsiteY69" fmla="*/ 717550 h 1406525"/>
                    <a:gd name="connsiteX70" fmla="*/ 431800 w 2143125"/>
                    <a:gd name="connsiteY70" fmla="*/ 755650 h 1406525"/>
                    <a:gd name="connsiteX71" fmla="*/ 425450 w 2143125"/>
                    <a:gd name="connsiteY71" fmla="*/ 793750 h 1406525"/>
                    <a:gd name="connsiteX72" fmla="*/ 425450 w 2143125"/>
                    <a:gd name="connsiteY72" fmla="*/ 831850 h 1406525"/>
                    <a:gd name="connsiteX73" fmla="*/ 425450 w 2143125"/>
                    <a:gd name="connsiteY73" fmla="*/ 876300 h 1406525"/>
                    <a:gd name="connsiteX74" fmla="*/ 422275 w 2143125"/>
                    <a:gd name="connsiteY74" fmla="*/ 904875 h 1406525"/>
                    <a:gd name="connsiteX75" fmla="*/ 412750 w 2143125"/>
                    <a:gd name="connsiteY75" fmla="*/ 968375 h 1406525"/>
                    <a:gd name="connsiteX76" fmla="*/ 396875 w 2143125"/>
                    <a:gd name="connsiteY76" fmla="*/ 1016000 h 1406525"/>
                    <a:gd name="connsiteX77" fmla="*/ 358775 w 2143125"/>
                    <a:gd name="connsiteY77" fmla="*/ 1031875 h 1406525"/>
                    <a:gd name="connsiteX78" fmla="*/ 301625 w 2143125"/>
                    <a:gd name="connsiteY78" fmla="*/ 1022350 h 1406525"/>
                    <a:gd name="connsiteX79" fmla="*/ 273050 w 2143125"/>
                    <a:gd name="connsiteY79" fmla="*/ 1006475 h 1406525"/>
                    <a:gd name="connsiteX80" fmla="*/ 222250 w 2143125"/>
                    <a:gd name="connsiteY80" fmla="*/ 984250 h 1406525"/>
                    <a:gd name="connsiteX81" fmla="*/ 187325 w 2143125"/>
                    <a:gd name="connsiteY81" fmla="*/ 962025 h 1406525"/>
                    <a:gd name="connsiteX82" fmla="*/ 152400 w 2143125"/>
                    <a:gd name="connsiteY82" fmla="*/ 936625 h 1406525"/>
                    <a:gd name="connsiteX83" fmla="*/ 104775 w 2143125"/>
                    <a:gd name="connsiteY83" fmla="*/ 885825 h 1406525"/>
                    <a:gd name="connsiteX84" fmla="*/ 57150 w 2143125"/>
                    <a:gd name="connsiteY84" fmla="*/ 822325 h 1406525"/>
                    <a:gd name="connsiteX85" fmla="*/ 0 w 2143125"/>
                    <a:gd name="connsiteY8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47748 w 2143125"/>
                    <a:gd name="connsiteY9" fmla="*/ 124503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908175 w 2143125"/>
                    <a:gd name="connsiteY13" fmla="*/ 330200 h 1406525"/>
                    <a:gd name="connsiteX14" fmla="*/ 1875575 w 2143125"/>
                    <a:gd name="connsiteY14" fmla="*/ 249629 h 1406525"/>
                    <a:gd name="connsiteX15" fmla="*/ 1860550 w 2143125"/>
                    <a:gd name="connsiteY15" fmla="*/ 415925 h 1406525"/>
                    <a:gd name="connsiteX16" fmla="*/ 1838325 w 2143125"/>
                    <a:gd name="connsiteY16" fmla="*/ 450850 h 1406525"/>
                    <a:gd name="connsiteX17" fmla="*/ 1825625 w 2143125"/>
                    <a:gd name="connsiteY17" fmla="*/ 485775 h 1406525"/>
                    <a:gd name="connsiteX18" fmla="*/ 1819275 w 2143125"/>
                    <a:gd name="connsiteY18" fmla="*/ 495300 h 1406525"/>
                    <a:gd name="connsiteX19" fmla="*/ 1798212 w 2143125"/>
                    <a:gd name="connsiteY19" fmla="*/ 417904 h 1406525"/>
                    <a:gd name="connsiteX20" fmla="*/ 1793875 w 2143125"/>
                    <a:gd name="connsiteY20" fmla="*/ 558800 h 1406525"/>
                    <a:gd name="connsiteX21" fmla="*/ 1781175 w 2143125"/>
                    <a:gd name="connsiteY21" fmla="*/ 590550 h 1406525"/>
                    <a:gd name="connsiteX22" fmla="*/ 1748574 w 2143125"/>
                    <a:gd name="connsiteY22" fmla="*/ 498555 h 1406525"/>
                    <a:gd name="connsiteX23" fmla="*/ 1749425 w 2143125"/>
                    <a:gd name="connsiteY23" fmla="*/ 647700 h 1406525"/>
                    <a:gd name="connsiteX24" fmla="*/ 1739900 w 2143125"/>
                    <a:gd name="connsiteY24" fmla="*/ 673100 h 1406525"/>
                    <a:gd name="connsiteX25" fmla="*/ 1730375 w 2143125"/>
                    <a:gd name="connsiteY25" fmla="*/ 682625 h 1406525"/>
                    <a:gd name="connsiteX26" fmla="*/ 1727200 w 2143125"/>
                    <a:gd name="connsiteY26" fmla="*/ 698500 h 1406525"/>
                    <a:gd name="connsiteX27" fmla="*/ 1671679 w 2143125"/>
                    <a:gd name="connsiteY27" fmla="*/ 628077 h 1406525"/>
                    <a:gd name="connsiteX28" fmla="*/ 1704975 w 2143125"/>
                    <a:gd name="connsiteY28" fmla="*/ 752475 h 1406525"/>
                    <a:gd name="connsiteX29" fmla="*/ 1701800 w 2143125"/>
                    <a:gd name="connsiteY29" fmla="*/ 762000 h 1406525"/>
                    <a:gd name="connsiteX30" fmla="*/ 1695450 w 2143125"/>
                    <a:gd name="connsiteY30" fmla="*/ 774700 h 1406525"/>
                    <a:gd name="connsiteX31" fmla="*/ 1695450 w 2143125"/>
                    <a:gd name="connsiteY31" fmla="*/ 787400 h 1406525"/>
                    <a:gd name="connsiteX32" fmla="*/ 1610659 w 2143125"/>
                    <a:gd name="connsiteY32" fmla="*/ 699201 h 1406525"/>
                    <a:gd name="connsiteX33" fmla="*/ 1641475 w 2143125"/>
                    <a:gd name="connsiteY33" fmla="*/ 885825 h 1406525"/>
                    <a:gd name="connsiteX34" fmla="*/ 1619250 w 2143125"/>
                    <a:gd name="connsiteY34" fmla="*/ 917575 h 1406525"/>
                    <a:gd name="connsiteX35" fmla="*/ 1577975 w 2143125"/>
                    <a:gd name="connsiteY35" fmla="*/ 949325 h 1406525"/>
                    <a:gd name="connsiteX36" fmla="*/ 1543050 w 2143125"/>
                    <a:gd name="connsiteY36" fmla="*/ 958850 h 1406525"/>
                    <a:gd name="connsiteX37" fmla="*/ 1501775 w 2143125"/>
                    <a:gd name="connsiteY37" fmla="*/ 958850 h 1406525"/>
                    <a:gd name="connsiteX38" fmla="*/ 1470025 w 2143125"/>
                    <a:gd name="connsiteY38" fmla="*/ 949325 h 1406525"/>
                    <a:gd name="connsiteX39" fmla="*/ 1447800 w 2143125"/>
                    <a:gd name="connsiteY39" fmla="*/ 904875 h 1406525"/>
                    <a:gd name="connsiteX40" fmla="*/ 1409700 w 2143125"/>
                    <a:gd name="connsiteY40" fmla="*/ 863600 h 1406525"/>
                    <a:gd name="connsiteX41" fmla="*/ 1377950 w 2143125"/>
                    <a:gd name="connsiteY41" fmla="*/ 777875 h 1406525"/>
                    <a:gd name="connsiteX42" fmla="*/ 1362075 w 2143125"/>
                    <a:gd name="connsiteY42" fmla="*/ 736600 h 1406525"/>
                    <a:gd name="connsiteX43" fmla="*/ 1333500 w 2143125"/>
                    <a:gd name="connsiteY43" fmla="*/ 666750 h 1406525"/>
                    <a:gd name="connsiteX44" fmla="*/ 1304925 w 2143125"/>
                    <a:gd name="connsiteY44" fmla="*/ 600075 h 1406525"/>
                    <a:gd name="connsiteX45" fmla="*/ 1260475 w 2143125"/>
                    <a:gd name="connsiteY45" fmla="*/ 517525 h 1406525"/>
                    <a:gd name="connsiteX46" fmla="*/ 1241425 w 2143125"/>
                    <a:gd name="connsiteY46" fmla="*/ 501650 h 1406525"/>
                    <a:gd name="connsiteX47" fmla="*/ 1212850 w 2143125"/>
                    <a:gd name="connsiteY47" fmla="*/ 492125 h 1406525"/>
                    <a:gd name="connsiteX48" fmla="*/ 1158875 w 2143125"/>
                    <a:gd name="connsiteY48" fmla="*/ 508000 h 1406525"/>
                    <a:gd name="connsiteX49" fmla="*/ 1133475 w 2143125"/>
                    <a:gd name="connsiteY49" fmla="*/ 546100 h 1406525"/>
                    <a:gd name="connsiteX50" fmla="*/ 1120775 w 2143125"/>
                    <a:gd name="connsiteY50" fmla="*/ 568325 h 1406525"/>
                    <a:gd name="connsiteX51" fmla="*/ 1111250 w 2143125"/>
                    <a:gd name="connsiteY51" fmla="*/ 600075 h 1406525"/>
                    <a:gd name="connsiteX52" fmla="*/ 1104900 w 2143125"/>
                    <a:gd name="connsiteY52" fmla="*/ 635000 h 1406525"/>
                    <a:gd name="connsiteX53" fmla="*/ 1095375 w 2143125"/>
                    <a:gd name="connsiteY53" fmla="*/ 660400 h 1406525"/>
                    <a:gd name="connsiteX54" fmla="*/ 1092200 w 2143125"/>
                    <a:gd name="connsiteY54" fmla="*/ 673100 h 1406525"/>
                    <a:gd name="connsiteX55" fmla="*/ 1089025 w 2143125"/>
                    <a:gd name="connsiteY55" fmla="*/ 682625 h 1406525"/>
                    <a:gd name="connsiteX56" fmla="*/ 1076325 w 2143125"/>
                    <a:gd name="connsiteY56" fmla="*/ 720725 h 1406525"/>
                    <a:gd name="connsiteX57" fmla="*/ 1035050 w 2143125"/>
                    <a:gd name="connsiteY57" fmla="*/ 822325 h 1406525"/>
                    <a:gd name="connsiteX58" fmla="*/ 996950 w 2143125"/>
                    <a:gd name="connsiteY58" fmla="*/ 933450 h 1406525"/>
                    <a:gd name="connsiteX59" fmla="*/ 965200 w 2143125"/>
                    <a:gd name="connsiteY59" fmla="*/ 974725 h 1406525"/>
                    <a:gd name="connsiteX60" fmla="*/ 930275 w 2143125"/>
                    <a:gd name="connsiteY60" fmla="*/ 1025525 h 1406525"/>
                    <a:gd name="connsiteX61" fmla="*/ 828675 w 2143125"/>
                    <a:gd name="connsiteY61" fmla="*/ 1031875 h 1406525"/>
                    <a:gd name="connsiteX62" fmla="*/ 742950 w 2143125"/>
                    <a:gd name="connsiteY62" fmla="*/ 968375 h 1406525"/>
                    <a:gd name="connsiteX63" fmla="*/ 692150 w 2143125"/>
                    <a:gd name="connsiteY63" fmla="*/ 895350 h 1406525"/>
                    <a:gd name="connsiteX64" fmla="*/ 647700 w 2143125"/>
                    <a:gd name="connsiteY64" fmla="*/ 844550 h 1406525"/>
                    <a:gd name="connsiteX65" fmla="*/ 596900 w 2143125"/>
                    <a:gd name="connsiteY65" fmla="*/ 790575 h 1406525"/>
                    <a:gd name="connsiteX66" fmla="*/ 523875 w 2143125"/>
                    <a:gd name="connsiteY66" fmla="*/ 711200 h 1406525"/>
                    <a:gd name="connsiteX67" fmla="*/ 473075 w 2143125"/>
                    <a:gd name="connsiteY67" fmla="*/ 695325 h 1406525"/>
                    <a:gd name="connsiteX68" fmla="*/ 434975 w 2143125"/>
                    <a:gd name="connsiteY68" fmla="*/ 717550 h 1406525"/>
                    <a:gd name="connsiteX69" fmla="*/ 431800 w 2143125"/>
                    <a:gd name="connsiteY69" fmla="*/ 755650 h 1406525"/>
                    <a:gd name="connsiteX70" fmla="*/ 425450 w 2143125"/>
                    <a:gd name="connsiteY70" fmla="*/ 793750 h 1406525"/>
                    <a:gd name="connsiteX71" fmla="*/ 425450 w 2143125"/>
                    <a:gd name="connsiteY71" fmla="*/ 831850 h 1406525"/>
                    <a:gd name="connsiteX72" fmla="*/ 425450 w 2143125"/>
                    <a:gd name="connsiteY72" fmla="*/ 876300 h 1406525"/>
                    <a:gd name="connsiteX73" fmla="*/ 422275 w 2143125"/>
                    <a:gd name="connsiteY73" fmla="*/ 904875 h 1406525"/>
                    <a:gd name="connsiteX74" fmla="*/ 412750 w 2143125"/>
                    <a:gd name="connsiteY74" fmla="*/ 968375 h 1406525"/>
                    <a:gd name="connsiteX75" fmla="*/ 396875 w 2143125"/>
                    <a:gd name="connsiteY75" fmla="*/ 1016000 h 1406525"/>
                    <a:gd name="connsiteX76" fmla="*/ 358775 w 2143125"/>
                    <a:gd name="connsiteY76" fmla="*/ 1031875 h 1406525"/>
                    <a:gd name="connsiteX77" fmla="*/ 301625 w 2143125"/>
                    <a:gd name="connsiteY77" fmla="*/ 1022350 h 1406525"/>
                    <a:gd name="connsiteX78" fmla="*/ 273050 w 2143125"/>
                    <a:gd name="connsiteY78" fmla="*/ 1006475 h 1406525"/>
                    <a:gd name="connsiteX79" fmla="*/ 222250 w 2143125"/>
                    <a:gd name="connsiteY79" fmla="*/ 984250 h 1406525"/>
                    <a:gd name="connsiteX80" fmla="*/ 187325 w 2143125"/>
                    <a:gd name="connsiteY80" fmla="*/ 962025 h 1406525"/>
                    <a:gd name="connsiteX81" fmla="*/ 152400 w 2143125"/>
                    <a:gd name="connsiteY81" fmla="*/ 936625 h 1406525"/>
                    <a:gd name="connsiteX82" fmla="*/ 104775 w 2143125"/>
                    <a:gd name="connsiteY82" fmla="*/ 885825 h 1406525"/>
                    <a:gd name="connsiteX83" fmla="*/ 57150 w 2143125"/>
                    <a:gd name="connsiteY83" fmla="*/ 822325 h 1406525"/>
                    <a:gd name="connsiteX84" fmla="*/ 0 w 2143125"/>
                    <a:gd name="connsiteY84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47748 w 2143125"/>
                    <a:gd name="connsiteY9" fmla="*/ 124503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908175 w 2143125"/>
                    <a:gd name="connsiteY13" fmla="*/ 330200 h 1406525"/>
                    <a:gd name="connsiteX14" fmla="*/ 1875575 w 2143125"/>
                    <a:gd name="connsiteY14" fmla="*/ 249629 h 1406525"/>
                    <a:gd name="connsiteX15" fmla="*/ 1860550 w 2143125"/>
                    <a:gd name="connsiteY15" fmla="*/ 415925 h 1406525"/>
                    <a:gd name="connsiteX16" fmla="*/ 1838325 w 2143125"/>
                    <a:gd name="connsiteY16" fmla="*/ 450850 h 1406525"/>
                    <a:gd name="connsiteX17" fmla="*/ 1825625 w 2143125"/>
                    <a:gd name="connsiteY17" fmla="*/ 485775 h 1406525"/>
                    <a:gd name="connsiteX18" fmla="*/ 1798212 w 2143125"/>
                    <a:gd name="connsiteY18" fmla="*/ 417904 h 1406525"/>
                    <a:gd name="connsiteX19" fmla="*/ 1793875 w 2143125"/>
                    <a:gd name="connsiteY19" fmla="*/ 558800 h 1406525"/>
                    <a:gd name="connsiteX20" fmla="*/ 1781175 w 2143125"/>
                    <a:gd name="connsiteY20" fmla="*/ 590550 h 1406525"/>
                    <a:gd name="connsiteX21" fmla="*/ 1748574 w 2143125"/>
                    <a:gd name="connsiteY21" fmla="*/ 498555 h 1406525"/>
                    <a:gd name="connsiteX22" fmla="*/ 1749425 w 2143125"/>
                    <a:gd name="connsiteY22" fmla="*/ 647700 h 1406525"/>
                    <a:gd name="connsiteX23" fmla="*/ 1739900 w 2143125"/>
                    <a:gd name="connsiteY23" fmla="*/ 673100 h 1406525"/>
                    <a:gd name="connsiteX24" fmla="*/ 1730375 w 2143125"/>
                    <a:gd name="connsiteY24" fmla="*/ 682625 h 1406525"/>
                    <a:gd name="connsiteX25" fmla="*/ 1727200 w 2143125"/>
                    <a:gd name="connsiteY25" fmla="*/ 698500 h 1406525"/>
                    <a:gd name="connsiteX26" fmla="*/ 1671679 w 2143125"/>
                    <a:gd name="connsiteY26" fmla="*/ 628077 h 1406525"/>
                    <a:gd name="connsiteX27" fmla="*/ 1704975 w 2143125"/>
                    <a:gd name="connsiteY27" fmla="*/ 752475 h 1406525"/>
                    <a:gd name="connsiteX28" fmla="*/ 1701800 w 2143125"/>
                    <a:gd name="connsiteY28" fmla="*/ 762000 h 1406525"/>
                    <a:gd name="connsiteX29" fmla="*/ 1695450 w 2143125"/>
                    <a:gd name="connsiteY29" fmla="*/ 774700 h 1406525"/>
                    <a:gd name="connsiteX30" fmla="*/ 1695450 w 2143125"/>
                    <a:gd name="connsiteY30" fmla="*/ 787400 h 1406525"/>
                    <a:gd name="connsiteX31" fmla="*/ 1610659 w 2143125"/>
                    <a:gd name="connsiteY31" fmla="*/ 699201 h 1406525"/>
                    <a:gd name="connsiteX32" fmla="*/ 1641475 w 2143125"/>
                    <a:gd name="connsiteY32" fmla="*/ 885825 h 1406525"/>
                    <a:gd name="connsiteX33" fmla="*/ 1619250 w 2143125"/>
                    <a:gd name="connsiteY33" fmla="*/ 917575 h 1406525"/>
                    <a:gd name="connsiteX34" fmla="*/ 1577975 w 2143125"/>
                    <a:gd name="connsiteY34" fmla="*/ 949325 h 1406525"/>
                    <a:gd name="connsiteX35" fmla="*/ 1543050 w 2143125"/>
                    <a:gd name="connsiteY35" fmla="*/ 958850 h 1406525"/>
                    <a:gd name="connsiteX36" fmla="*/ 1501775 w 2143125"/>
                    <a:gd name="connsiteY36" fmla="*/ 958850 h 1406525"/>
                    <a:gd name="connsiteX37" fmla="*/ 1470025 w 2143125"/>
                    <a:gd name="connsiteY37" fmla="*/ 949325 h 1406525"/>
                    <a:gd name="connsiteX38" fmla="*/ 1447800 w 2143125"/>
                    <a:gd name="connsiteY38" fmla="*/ 904875 h 1406525"/>
                    <a:gd name="connsiteX39" fmla="*/ 1409700 w 2143125"/>
                    <a:gd name="connsiteY39" fmla="*/ 863600 h 1406525"/>
                    <a:gd name="connsiteX40" fmla="*/ 1377950 w 2143125"/>
                    <a:gd name="connsiteY40" fmla="*/ 777875 h 1406525"/>
                    <a:gd name="connsiteX41" fmla="*/ 1362075 w 2143125"/>
                    <a:gd name="connsiteY41" fmla="*/ 736600 h 1406525"/>
                    <a:gd name="connsiteX42" fmla="*/ 1333500 w 2143125"/>
                    <a:gd name="connsiteY42" fmla="*/ 666750 h 1406525"/>
                    <a:gd name="connsiteX43" fmla="*/ 1304925 w 2143125"/>
                    <a:gd name="connsiteY43" fmla="*/ 600075 h 1406525"/>
                    <a:gd name="connsiteX44" fmla="*/ 1260475 w 2143125"/>
                    <a:gd name="connsiteY44" fmla="*/ 517525 h 1406525"/>
                    <a:gd name="connsiteX45" fmla="*/ 1241425 w 2143125"/>
                    <a:gd name="connsiteY45" fmla="*/ 501650 h 1406525"/>
                    <a:gd name="connsiteX46" fmla="*/ 1212850 w 2143125"/>
                    <a:gd name="connsiteY46" fmla="*/ 492125 h 1406525"/>
                    <a:gd name="connsiteX47" fmla="*/ 1158875 w 2143125"/>
                    <a:gd name="connsiteY47" fmla="*/ 508000 h 1406525"/>
                    <a:gd name="connsiteX48" fmla="*/ 1133475 w 2143125"/>
                    <a:gd name="connsiteY48" fmla="*/ 546100 h 1406525"/>
                    <a:gd name="connsiteX49" fmla="*/ 1120775 w 2143125"/>
                    <a:gd name="connsiteY49" fmla="*/ 568325 h 1406525"/>
                    <a:gd name="connsiteX50" fmla="*/ 1111250 w 2143125"/>
                    <a:gd name="connsiteY50" fmla="*/ 600075 h 1406525"/>
                    <a:gd name="connsiteX51" fmla="*/ 1104900 w 2143125"/>
                    <a:gd name="connsiteY51" fmla="*/ 635000 h 1406525"/>
                    <a:gd name="connsiteX52" fmla="*/ 1095375 w 2143125"/>
                    <a:gd name="connsiteY52" fmla="*/ 660400 h 1406525"/>
                    <a:gd name="connsiteX53" fmla="*/ 1092200 w 2143125"/>
                    <a:gd name="connsiteY53" fmla="*/ 673100 h 1406525"/>
                    <a:gd name="connsiteX54" fmla="*/ 1089025 w 2143125"/>
                    <a:gd name="connsiteY54" fmla="*/ 682625 h 1406525"/>
                    <a:gd name="connsiteX55" fmla="*/ 1076325 w 2143125"/>
                    <a:gd name="connsiteY55" fmla="*/ 720725 h 1406525"/>
                    <a:gd name="connsiteX56" fmla="*/ 1035050 w 2143125"/>
                    <a:gd name="connsiteY56" fmla="*/ 822325 h 1406525"/>
                    <a:gd name="connsiteX57" fmla="*/ 996950 w 2143125"/>
                    <a:gd name="connsiteY57" fmla="*/ 933450 h 1406525"/>
                    <a:gd name="connsiteX58" fmla="*/ 965200 w 2143125"/>
                    <a:gd name="connsiteY58" fmla="*/ 974725 h 1406525"/>
                    <a:gd name="connsiteX59" fmla="*/ 930275 w 2143125"/>
                    <a:gd name="connsiteY59" fmla="*/ 1025525 h 1406525"/>
                    <a:gd name="connsiteX60" fmla="*/ 828675 w 2143125"/>
                    <a:gd name="connsiteY60" fmla="*/ 1031875 h 1406525"/>
                    <a:gd name="connsiteX61" fmla="*/ 742950 w 2143125"/>
                    <a:gd name="connsiteY61" fmla="*/ 968375 h 1406525"/>
                    <a:gd name="connsiteX62" fmla="*/ 692150 w 2143125"/>
                    <a:gd name="connsiteY62" fmla="*/ 895350 h 1406525"/>
                    <a:gd name="connsiteX63" fmla="*/ 647700 w 2143125"/>
                    <a:gd name="connsiteY63" fmla="*/ 844550 h 1406525"/>
                    <a:gd name="connsiteX64" fmla="*/ 596900 w 2143125"/>
                    <a:gd name="connsiteY64" fmla="*/ 790575 h 1406525"/>
                    <a:gd name="connsiteX65" fmla="*/ 523875 w 2143125"/>
                    <a:gd name="connsiteY65" fmla="*/ 711200 h 1406525"/>
                    <a:gd name="connsiteX66" fmla="*/ 473075 w 2143125"/>
                    <a:gd name="connsiteY66" fmla="*/ 695325 h 1406525"/>
                    <a:gd name="connsiteX67" fmla="*/ 434975 w 2143125"/>
                    <a:gd name="connsiteY67" fmla="*/ 717550 h 1406525"/>
                    <a:gd name="connsiteX68" fmla="*/ 431800 w 2143125"/>
                    <a:gd name="connsiteY68" fmla="*/ 755650 h 1406525"/>
                    <a:gd name="connsiteX69" fmla="*/ 425450 w 2143125"/>
                    <a:gd name="connsiteY69" fmla="*/ 793750 h 1406525"/>
                    <a:gd name="connsiteX70" fmla="*/ 425450 w 2143125"/>
                    <a:gd name="connsiteY70" fmla="*/ 831850 h 1406525"/>
                    <a:gd name="connsiteX71" fmla="*/ 425450 w 2143125"/>
                    <a:gd name="connsiteY71" fmla="*/ 876300 h 1406525"/>
                    <a:gd name="connsiteX72" fmla="*/ 422275 w 2143125"/>
                    <a:gd name="connsiteY72" fmla="*/ 904875 h 1406525"/>
                    <a:gd name="connsiteX73" fmla="*/ 412750 w 2143125"/>
                    <a:gd name="connsiteY73" fmla="*/ 968375 h 1406525"/>
                    <a:gd name="connsiteX74" fmla="*/ 396875 w 2143125"/>
                    <a:gd name="connsiteY74" fmla="*/ 1016000 h 1406525"/>
                    <a:gd name="connsiteX75" fmla="*/ 358775 w 2143125"/>
                    <a:gd name="connsiteY75" fmla="*/ 1031875 h 1406525"/>
                    <a:gd name="connsiteX76" fmla="*/ 301625 w 2143125"/>
                    <a:gd name="connsiteY76" fmla="*/ 1022350 h 1406525"/>
                    <a:gd name="connsiteX77" fmla="*/ 273050 w 2143125"/>
                    <a:gd name="connsiteY77" fmla="*/ 1006475 h 1406525"/>
                    <a:gd name="connsiteX78" fmla="*/ 222250 w 2143125"/>
                    <a:gd name="connsiteY78" fmla="*/ 984250 h 1406525"/>
                    <a:gd name="connsiteX79" fmla="*/ 187325 w 2143125"/>
                    <a:gd name="connsiteY79" fmla="*/ 962025 h 1406525"/>
                    <a:gd name="connsiteX80" fmla="*/ 152400 w 2143125"/>
                    <a:gd name="connsiteY80" fmla="*/ 936625 h 1406525"/>
                    <a:gd name="connsiteX81" fmla="*/ 104775 w 2143125"/>
                    <a:gd name="connsiteY81" fmla="*/ 885825 h 1406525"/>
                    <a:gd name="connsiteX82" fmla="*/ 57150 w 2143125"/>
                    <a:gd name="connsiteY82" fmla="*/ 822325 h 1406525"/>
                    <a:gd name="connsiteX83" fmla="*/ 0 w 2143125"/>
                    <a:gd name="connsiteY83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47748 w 2143125"/>
                    <a:gd name="connsiteY9" fmla="*/ 124503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908175 w 2143125"/>
                    <a:gd name="connsiteY13" fmla="*/ 330200 h 1406525"/>
                    <a:gd name="connsiteX14" fmla="*/ 1875575 w 2143125"/>
                    <a:gd name="connsiteY14" fmla="*/ 249629 h 1406525"/>
                    <a:gd name="connsiteX15" fmla="*/ 1860550 w 2143125"/>
                    <a:gd name="connsiteY15" fmla="*/ 415925 h 1406525"/>
                    <a:gd name="connsiteX16" fmla="*/ 1838325 w 2143125"/>
                    <a:gd name="connsiteY16" fmla="*/ 450850 h 1406525"/>
                    <a:gd name="connsiteX17" fmla="*/ 1798212 w 2143125"/>
                    <a:gd name="connsiteY17" fmla="*/ 417904 h 1406525"/>
                    <a:gd name="connsiteX18" fmla="*/ 1793875 w 2143125"/>
                    <a:gd name="connsiteY18" fmla="*/ 558800 h 1406525"/>
                    <a:gd name="connsiteX19" fmla="*/ 1781175 w 2143125"/>
                    <a:gd name="connsiteY19" fmla="*/ 590550 h 1406525"/>
                    <a:gd name="connsiteX20" fmla="*/ 1748574 w 2143125"/>
                    <a:gd name="connsiteY20" fmla="*/ 498555 h 1406525"/>
                    <a:gd name="connsiteX21" fmla="*/ 1749425 w 2143125"/>
                    <a:gd name="connsiteY21" fmla="*/ 647700 h 1406525"/>
                    <a:gd name="connsiteX22" fmla="*/ 1739900 w 2143125"/>
                    <a:gd name="connsiteY22" fmla="*/ 673100 h 1406525"/>
                    <a:gd name="connsiteX23" fmla="*/ 1730375 w 2143125"/>
                    <a:gd name="connsiteY23" fmla="*/ 682625 h 1406525"/>
                    <a:gd name="connsiteX24" fmla="*/ 1727200 w 2143125"/>
                    <a:gd name="connsiteY24" fmla="*/ 698500 h 1406525"/>
                    <a:gd name="connsiteX25" fmla="*/ 1671679 w 2143125"/>
                    <a:gd name="connsiteY25" fmla="*/ 628077 h 1406525"/>
                    <a:gd name="connsiteX26" fmla="*/ 1704975 w 2143125"/>
                    <a:gd name="connsiteY26" fmla="*/ 752475 h 1406525"/>
                    <a:gd name="connsiteX27" fmla="*/ 1701800 w 2143125"/>
                    <a:gd name="connsiteY27" fmla="*/ 762000 h 1406525"/>
                    <a:gd name="connsiteX28" fmla="*/ 1695450 w 2143125"/>
                    <a:gd name="connsiteY28" fmla="*/ 774700 h 1406525"/>
                    <a:gd name="connsiteX29" fmla="*/ 1695450 w 2143125"/>
                    <a:gd name="connsiteY29" fmla="*/ 787400 h 1406525"/>
                    <a:gd name="connsiteX30" fmla="*/ 1610659 w 2143125"/>
                    <a:gd name="connsiteY30" fmla="*/ 699201 h 1406525"/>
                    <a:gd name="connsiteX31" fmla="*/ 1641475 w 2143125"/>
                    <a:gd name="connsiteY31" fmla="*/ 885825 h 1406525"/>
                    <a:gd name="connsiteX32" fmla="*/ 1619250 w 2143125"/>
                    <a:gd name="connsiteY32" fmla="*/ 917575 h 1406525"/>
                    <a:gd name="connsiteX33" fmla="*/ 1577975 w 2143125"/>
                    <a:gd name="connsiteY33" fmla="*/ 949325 h 1406525"/>
                    <a:gd name="connsiteX34" fmla="*/ 1543050 w 2143125"/>
                    <a:gd name="connsiteY34" fmla="*/ 958850 h 1406525"/>
                    <a:gd name="connsiteX35" fmla="*/ 1501775 w 2143125"/>
                    <a:gd name="connsiteY35" fmla="*/ 958850 h 1406525"/>
                    <a:gd name="connsiteX36" fmla="*/ 1470025 w 2143125"/>
                    <a:gd name="connsiteY36" fmla="*/ 949325 h 1406525"/>
                    <a:gd name="connsiteX37" fmla="*/ 1447800 w 2143125"/>
                    <a:gd name="connsiteY37" fmla="*/ 904875 h 1406525"/>
                    <a:gd name="connsiteX38" fmla="*/ 1409700 w 2143125"/>
                    <a:gd name="connsiteY38" fmla="*/ 863600 h 1406525"/>
                    <a:gd name="connsiteX39" fmla="*/ 1377950 w 2143125"/>
                    <a:gd name="connsiteY39" fmla="*/ 777875 h 1406525"/>
                    <a:gd name="connsiteX40" fmla="*/ 1362075 w 2143125"/>
                    <a:gd name="connsiteY40" fmla="*/ 736600 h 1406525"/>
                    <a:gd name="connsiteX41" fmla="*/ 1333500 w 2143125"/>
                    <a:gd name="connsiteY41" fmla="*/ 666750 h 1406525"/>
                    <a:gd name="connsiteX42" fmla="*/ 1304925 w 2143125"/>
                    <a:gd name="connsiteY42" fmla="*/ 600075 h 1406525"/>
                    <a:gd name="connsiteX43" fmla="*/ 1260475 w 2143125"/>
                    <a:gd name="connsiteY43" fmla="*/ 517525 h 1406525"/>
                    <a:gd name="connsiteX44" fmla="*/ 1241425 w 2143125"/>
                    <a:gd name="connsiteY44" fmla="*/ 501650 h 1406525"/>
                    <a:gd name="connsiteX45" fmla="*/ 1212850 w 2143125"/>
                    <a:gd name="connsiteY45" fmla="*/ 492125 h 1406525"/>
                    <a:gd name="connsiteX46" fmla="*/ 1158875 w 2143125"/>
                    <a:gd name="connsiteY46" fmla="*/ 508000 h 1406525"/>
                    <a:gd name="connsiteX47" fmla="*/ 1133475 w 2143125"/>
                    <a:gd name="connsiteY47" fmla="*/ 546100 h 1406525"/>
                    <a:gd name="connsiteX48" fmla="*/ 1120775 w 2143125"/>
                    <a:gd name="connsiteY48" fmla="*/ 568325 h 1406525"/>
                    <a:gd name="connsiteX49" fmla="*/ 1111250 w 2143125"/>
                    <a:gd name="connsiteY49" fmla="*/ 600075 h 1406525"/>
                    <a:gd name="connsiteX50" fmla="*/ 1104900 w 2143125"/>
                    <a:gd name="connsiteY50" fmla="*/ 635000 h 1406525"/>
                    <a:gd name="connsiteX51" fmla="*/ 1095375 w 2143125"/>
                    <a:gd name="connsiteY51" fmla="*/ 660400 h 1406525"/>
                    <a:gd name="connsiteX52" fmla="*/ 1092200 w 2143125"/>
                    <a:gd name="connsiteY52" fmla="*/ 673100 h 1406525"/>
                    <a:gd name="connsiteX53" fmla="*/ 1089025 w 2143125"/>
                    <a:gd name="connsiteY53" fmla="*/ 682625 h 1406525"/>
                    <a:gd name="connsiteX54" fmla="*/ 1076325 w 2143125"/>
                    <a:gd name="connsiteY54" fmla="*/ 720725 h 1406525"/>
                    <a:gd name="connsiteX55" fmla="*/ 1035050 w 2143125"/>
                    <a:gd name="connsiteY55" fmla="*/ 822325 h 1406525"/>
                    <a:gd name="connsiteX56" fmla="*/ 996950 w 2143125"/>
                    <a:gd name="connsiteY56" fmla="*/ 933450 h 1406525"/>
                    <a:gd name="connsiteX57" fmla="*/ 965200 w 2143125"/>
                    <a:gd name="connsiteY57" fmla="*/ 974725 h 1406525"/>
                    <a:gd name="connsiteX58" fmla="*/ 930275 w 2143125"/>
                    <a:gd name="connsiteY58" fmla="*/ 1025525 h 1406525"/>
                    <a:gd name="connsiteX59" fmla="*/ 828675 w 2143125"/>
                    <a:gd name="connsiteY59" fmla="*/ 1031875 h 1406525"/>
                    <a:gd name="connsiteX60" fmla="*/ 742950 w 2143125"/>
                    <a:gd name="connsiteY60" fmla="*/ 968375 h 1406525"/>
                    <a:gd name="connsiteX61" fmla="*/ 692150 w 2143125"/>
                    <a:gd name="connsiteY61" fmla="*/ 895350 h 1406525"/>
                    <a:gd name="connsiteX62" fmla="*/ 647700 w 2143125"/>
                    <a:gd name="connsiteY62" fmla="*/ 844550 h 1406525"/>
                    <a:gd name="connsiteX63" fmla="*/ 596900 w 2143125"/>
                    <a:gd name="connsiteY63" fmla="*/ 790575 h 1406525"/>
                    <a:gd name="connsiteX64" fmla="*/ 523875 w 2143125"/>
                    <a:gd name="connsiteY64" fmla="*/ 711200 h 1406525"/>
                    <a:gd name="connsiteX65" fmla="*/ 473075 w 2143125"/>
                    <a:gd name="connsiteY65" fmla="*/ 695325 h 1406525"/>
                    <a:gd name="connsiteX66" fmla="*/ 434975 w 2143125"/>
                    <a:gd name="connsiteY66" fmla="*/ 717550 h 1406525"/>
                    <a:gd name="connsiteX67" fmla="*/ 431800 w 2143125"/>
                    <a:gd name="connsiteY67" fmla="*/ 755650 h 1406525"/>
                    <a:gd name="connsiteX68" fmla="*/ 425450 w 2143125"/>
                    <a:gd name="connsiteY68" fmla="*/ 793750 h 1406525"/>
                    <a:gd name="connsiteX69" fmla="*/ 425450 w 2143125"/>
                    <a:gd name="connsiteY69" fmla="*/ 831850 h 1406525"/>
                    <a:gd name="connsiteX70" fmla="*/ 425450 w 2143125"/>
                    <a:gd name="connsiteY70" fmla="*/ 876300 h 1406525"/>
                    <a:gd name="connsiteX71" fmla="*/ 422275 w 2143125"/>
                    <a:gd name="connsiteY71" fmla="*/ 904875 h 1406525"/>
                    <a:gd name="connsiteX72" fmla="*/ 412750 w 2143125"/>
                    <a:gd name="connsiteY72" fmla="*/ 968375 h 1406525"/>
                    <a:gd name="connsiteX73" fmla="*/ 396875 w 2143125"/>
                    <a:gd name="connsiteY73" fmla="*/ 1016000 h 1406525"/>
                    <a:gd name="connsiteX74" fmla="*/ 358775 w 2143125"/>
                    <a:gd name="connsiteY74" fmla="*/ 1031875 h 1406525"/>
                    <a:gd name="connsiteX75" fmla="*/ 301625 w 2143125"/>
                    <a:gd name="connsiteY75" fmla="*/ 1022350 h 1406525"/>
                    <a:gd name="connsiteX76" fmla="*/ 273050 w 2143125"/>
                    <a:gd name="connsiteY76" fmla="*/ 1006475 h 1406525"/>
                    <a:gd name="connsiteX77" fmla="*/ 222250 w 2143125"/>
                    <a:gd name="connsiteY77" fmla="*/ 984250 h 1406525"/>
                    <a:gd name="connsiteX78" fmla="*/ 187325 w 2143125"/>
                    <a:gd name="connsiteY78" fmla="*/ 962025 h 1406525"/>
                    <a:gd name="connsiteX79" fmla="*/ 152400 w 2143125"/>
                    <a:gd name="connsiteY79" fmla="*/ 936625 h 1406525"/>
                    <a:gd name="connsiteX80" fmla="*/ 104775 w 2143125"/>
                    <a:gd name="connsiteY80" fmla="*/ 885825 h 1406525"/>
                    <a:gd name="connsiteX81" fmla="*/ 57150 w 2143125"/>
                    <a:gd name="connsiteY81" fmla="*/ 822325 h 1406525"/>
                    <a:gd name="connsiteX82" fmla="*/ 0 w 2143125"/>
                    <a:gd name="connsiteY82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47748 w 2143125"/>
                    <a:gd name="connsiteY9" fmla="*/ 124503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908175 w 2143125"/>
                    <a:gd name="connsiteY13" fmla="*/ 330200 h 1406525"/>
                    <a:gd name="connsiteX14" fmla="*/ 1875575 w 2143125"/>
                    <a:gd name="connsiteY14" fmla="*/ 249629 h 1406525"/>
                    <a:gd name="connsiteX15" fmla="*/ 1860550 w 2143125"/>
                    <a:gd name="connsiteY15" fmla="*/ 415925 h 1406525"/>
                    <a:gd name="connsiteX16" fmla="*/ 1798212 w 2143125"/>
                    <a:gd name="connsiteY16" fmla="*/ 417904 h 1406525"/>
                    <a:gd name="connsiteX17" fmla="*/ 1793875 w 2143125"/>
                    <a:gd name="connsiteY17" fmla="*/ 558800 h 1406525"/>
                    <a:gd name="connsiteX18" fmla="*/ 1781175 w 2143125"/>
                    <a:gd name="connsiteY18" fmla="*/ 590550 h 1406525"/>
                    <a:gd name="connsiteX19" fmla="*/ 1748574 w 2143125"/>
                    <a:gd name="connsiteY19" fmla="*/ 498555 h 1406525"/>
                    <a:gd name="connsiteX20" fmla="*/ 1749425 w 2143125"/>
                    <a:gd name="connsiteY20" fmla="*/ 647700 h 1406525"/>
                    <a:gd name="connsiteX21" fmla="*/ 1739900 w 2143125"/>
                    <a:gd name="connsiteY21" fmla="*/ 673100 h 1406525"/>
                    <a:gd name="connsiteX22" fmla="*/ 1730375 w 2143125"/>
                    <a:gd name="connsiteY22" fmla="*/ 682625 h 1406525"/>
                    <a:gd name="connsiteX23" fmla="*/ 1727200 w 2143125"/>
                    <a:gd name="connsiteY23" fmla="*/ 698500 h 1406525"/>
                    <a:gd name="connsiteX24" fmla="*/ 1671679 w 2143125"/>
                    <a:gd name="connsiteY24" fmla="*/ 628077 h 1406525"/>
                    <a:gd name="connsiteX25" fmla="*/ 1704975 w 2143125"/>
                    <a:gd name="connsiteY25" fmla="*/ 752475 h 1406525"/>
                    <a:gd name="connsiteX26" fmla="*/ 1701800 w 2143125"/>
                    <a:gd name="connsiteY26" fmla="*/ 762000 h 1406525"/>
                    <a:gd name="connsiteX27" fmla="*/ 1695450 w 2143125"/>
                    <a:gd name="connsiteY27" fmla="*/ 774700 h 1406525"/>
                    <a:gd name="connsiteX28" fmla="*/ 1695450 w 2143125"/>
                    <a:gd name="connsiteY28" fmla="*/ 787400 h 1406525"/>
                    <a:gd name="connsiteX29" fmla="*/ 1610659 w 2143125"/>
                    <a:gd name="connsiteY29" fmla="*/ 699201 h 1406525"/>
                    <a:gd name="connsiteX30" fmla="*/ 1641475 w 2143125"/>
                    <a:gd name="connsiteY30" fmla="*/ 885825 h 1406525"/>
                    <a:gd name="connsiteX31" fmla="*/ 1619250 w 2143125"/>
                    <a:gd name="connsiteY31" fmla="*/ 917575 h 1406525"/>
                    <a:gd name="connsiteX32" fmla="*/ 1577975 w 2143125"/>
                    <a:gd name="connsiteY32" fmla="*/ 949325 h 1406525"/>
                    <a:gd name="connsiteX33" fmla="*/ 1543050 w 2143125"/>
                    <a:gd name="connsiteY33" fmla="*/ 958850 h 1406525"/>
                    <a:gd name="connsiteX34" fmla="*/ 1501775 w 2143125"/>
                    <a:gd name="connsiteY34" fmla="*/ 958850 h 1406525"/>
                    <a:gd name="connsiteX35" fmla="*/ 1470025 w 2143125"/>
                    <a:gd name="connsiteY35" fmla="*/ 949325 h 1406525"/>
                    <a:gd name="connsiteX36" fmla="*/ 1447800 w 2143125"/>
                    <a:gd name="connsiteY36" fmla="*/ 904875 h 1406525"/>
                    <a:gd name="connsiteX37" fmla="*/ 1409700 w 2143125"/>
                    <a:gd name="connsiteY37" fmla="*/ 863600 h 1406525"/>
                    <a:gd name="connsiteX38" fmla="*/ 1377950 w 2143125"/>
                    <a:gd name="connsiteY38" fmla="*/ 777875 h 1406525"/>
                    <a:gd name="connsiteX39" fmla="*/ 1362075 w 2143125"/>
                    <a:gd name="connsiteY39" fmla="*/ 736600 h 1406525"/>
                    <a:gd name="connsiteX40" fmla="*/ 1333500 w 2143125"/>
                    <a:gd name="connsiteY40" fmla="*/ 666750 h 1406525"/>
                    <a:gd name="connsiteX41" fmla="*/ 1304925 w 2143125"/>
                    <a:gd name="connsiteY41" fmla="*/ 600075 h 1406525"/>
                    <a:gd name="connsiteX42" fmla="*/ 1260475 w 2143125"/>
                    <a:gd name="connsiteY42" fmla="*/ 517525 h 1406525"/>
                    <a:gd name="connsiteX43" fmla="*/ 1241425 w 2143125"/>
                    <a:gd name="connsiteY43" fmla="*/ 501650 h 1406525"/>
                    <a:gd name="connsiteX44" fmla="*/ 1212850 w 2143125"/>
                    <a:gd name="connsiteY44" fmla="*/ 492125 h 1406525"/>
                    <a:gd name="connsiteX45" fmla="*/ 1158875 w 2143125"/>
                    <a:gd name="connsiteY45" fmla="*/ 508000 h 1406525"/>
                    <a:gd name="connsiteX46" fmla="*/ 1133475 w 2143125"/>
                    <a:gd name="connsiteY46" fmla="*/ 546100 h 1406525"/>
                    <a:gd name="connsiteX47" fmla="*/ 1120775 w 2143125"/>
                    <a:gd name="connsiteY47" fmla="*/ 568325 h 1406525"/>
                    <a:gd name="connsiteX48" fmla="*/ 1111250 w 2143125"/>
                    <a:gd name="connsiteY48" fmla="*/ 600075 h 1406525"/>
                    <a:gd name="connsiteX49" fmla="*/ 1104900 w 2143125"/>
                    <a:gd name="connsiteY49" fmla="*/ 635000 h 1406525"/>
                    <a:gd name="connsiteX50" fmla="*/ 1095375 w 2143125"/>
                    <a:gd name="connsiteY50" fmla="*/ 660400 h 1406525"/>
                    <a:gd name="connsiteX51" fmla="*/ 1092200 w 2143125"/>
                    <a:gd name="connsiteY51" fmla="*/ 673100 h 1406525"/>
                    <a:gd name="connsiteX52" fmla="*/ 1089025 w 2143125"/>
                    <a:gd name="connsiteY52" fmla="*/ 682625 h 1406525"/>
                    <a:gd name="connsiteX53" fmla="*/ 1076325 w 2143125"/>
                    <a:gd name="connsiteY53" fmla="*/ 720725 h 1406525"/>
                    <a:gd name="connsiteX54" fmla="*/ 1035050 w 2143125"/>
                    <a:gd name="connsiteY54" fmla="*/ 822325 h 1406525"/>
                    <a:gd name="connsiteX55" fmla="*/ 996950 w 2143125"/>
                    <a:gd name="connsiteY55" fmla="*/ 933450 h 1406525"/>
                    <a:gd name="connsiteX56" fmla="*/ 965200 w 2143125"/>
                    <a:gd name="connsiteY56" fmla="*/ 974725 h 1406525"/>
                    <a:gd name="connsiteX57" fmla="*/ 930275 w 2143125"/>
                    <a:gd name="connsiteY57" fmla="*/ 1025525 h 1406525"/>
                    <a:gd name="connsiteX58" fmla="*/ 828675 w 2143125"/>
                    <a:gd name="connsiteY58" fmla="*/ 1031875 h 1406525"/>
                    <a:gd name="connsiteX59" fmla="*/ 742950 w 2143125"/>
                    <a:gd name="connsiteY59" fmla="*/ 968375 h 1406525"/>
                    <a:gd name="connsiteX60" fmla="*/ 692150 w 2143125"/>
                    <a:gd name="connsiteY60" fmla="*/ 895350 h 1406525"/>
                    <a:gd name="connsiteX61" fmla="*/ 647700 w 2143125"/>
                    <a:gd name="connsiteY61" fmla="*/ 844550 h 1406525"/>
                    <a:gd name="connsiteX62" fmla="*/ 596900 w 2143125"/>
                    <a:gd name="connsiteY62" fmla="*/ 790575 h 1406525"/>
                    <a:gd name="connsiteX63" fmla="*/ 523875 w 2143125"/>
                    <a:gd name="connsiteY63" fmla="*/ 711200 h 1406525"/>
                    <a:gd name="connsiteX64" fmla="*/ 473075 w 2143125"/>
                    <a:gd name="connsiteY64" fmla="*/ 695325 h 1406525"/>
                    <a:gd name="connsiteX65" fmla="*/ 434975 w 2143125"/>
                    <a:gd name="connsiteY65" fmla="*/ 717550 h 1406525"/>
                    <a:gd name="connsiteX66" fmla="*/ 431800 w 2143125"/>
                    <a:gd name="connsiteY66" fmla="*/ 755650 h 1406525"/>
                    <a:gd name="connsiteX67" fmla="*/ 425450 w 2143125"/>
                    <a:gd name="connsiteY67" fmla="*/ 793750 h 1406525"/>
                    <a:gd name="connsiteX68" fmla="*/ 425450 w 2143125"/>
                    <a:gd name="connsiteY68" fmla="*/ 831850 h 1406525"/>
                    <a:gd name="connsiteX69" fmla="*/ 425450 w 2143125"/>
                    <a:gd name="connsiteY69" fmla="*/ 876300 h 1406525"/>
                    <a:gd name="connsiteX70" fmla="*/ 422275 w 2143125"/>
                    <a:gd name="connsiteY70" fmla="*/ 904875 h 1406525"/>
                    <a:gd name="connsiteX71" fmla="*/ 412750 w 2143125"/>
                    <a:gd name="connsiteY71" fmla="*/ 968375 h 1406525"/>
                    <a:gd name="connsiteX72" fmla="*/ 396875 w 2143125"/>
                    <a:gd name="connsiteY72" fmla="*/ 1016000 h 1406525"/>
                    <a:gd name="connsiteX73" fmla="*/ 358775 w 2143125"/>
                    <a:gd name="connsiteY73" fmla="*/ 1031875 h 1406525"/>
                    <a:gd name="connsiteX74" fmla="*/ 301625 w 2143125"/>
                    <a:gd name="connsiteY74" fmla="*/ 1022350 h 1406525"/>
                    <a:gd name="connsiteX75" fmla="*/ 273050 w 2143125"/>
                    <a:gd name="connsiteY75" fmla="*/ 1006475 h 1406525"/>
                    <a:gd name="connsiteX76" fmla="*/ 222250 w 2143125"/>
                    <a:gd name="connsiteY76" fmla="*/ 984250 h 1406525"/>
                    <a:gd name="connsiteX77" fmla="*/ 187325 w 2143125"/>
                    <a:gd name="connsiteY77" fmla="*/ 962025 h 1406525"/>
                    <a:gd name="connsiteX78" fmla="*/ 152400 w 2143125"/>
                    <a:gd name="connsiteY78" fmla="*/ 936625 h 1406525"/>
                    <a:gd name="connsiteX79" fmla="*/ 104775 w 2143125"/>
                    <a:gd name="connsiteY79" fmla="*/ 885825 h 1406525"/>
                    <a:gd name="connsiteX80" fmla="*/ 57150 w 2143125"/>
                    <a:gd name="connsiteY80" fmla="*/ 822325 h 1406525"/>
                    <a:gd name="connsiteX81" fmla="*/ 0 w 2143125"/>
                    <a:gd name="connsiteY81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47748 w 2143125"/>
                    <a:gd name="connsiteY9" fmla="*/ 124503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908175 w 2143125"/>
                    <a:gd name="connsiteY13" fmla="*/ 330200 h 1406525"/>
                    <a:gd name="connsiteX14" fmla="*/ 1875575 w 2143125"/>
                    <a:gd name="connsiteY14" fmla="*/ 249629 h 1406525"/>
                    <a:gd name="connsiteX15" fmla="*/ 1798212 w 2143125"/>
                    <a:gd name="connsiteY15" fmla="*/ 417904 h 1406525"/>
                    <a:gd name="connsiteX16" fmla="*/ 1793875 w 2143125"/>
                    <a:gd name="connsiteY16" fmla="*/ 558800 h 1406525"/>
                    <a:gd name="connsiteX17" fmla="*/ 1781175 w 2143125"/>
                    <a:gd name="connsiteY17" fmla="*/ 590550 h 1406525"/>
                    <a:gd name="connsiteX18" fmla="*/ 1748574 w 2143125"/>
                    <a:gd name="connsiteY18" fmla="*/ 498555 h 1406525"/>
                    <a:gd name="connsiteX19" fmla="*/ 1749425 w 2143125"/>
                    <a:gd name="connsiteY19" fmla="*/ 647700 h 1406525"/>
                    <a:gd name="connsiteX20" fmla="*/ 1739900 w 2143125"/>
                    <a:gd name="connsiteY20" fmla="*/ 673100 h 1406525"/>
                    <a:gd name="connsiteX21" fmla="*/ 1730375 w 2143125"/>
                    <a:gd name="connsiteY21" fmla="*/ 682625 h 1406525"/>
                    <a:gd name="connsiteX22" fmla="*/ 1727200 w 2143125"/>
                    <a:gd name="connsiteY22" fmla="*/ 698500 h 1406525"/>
                    <a:gd name="connsiteX23" fmla="*/ 1671679 w 2143125"/>
                    <a:gd name="connsiteY23" fmla="*/ 628077 h 1406525"/>
                    <a:gd name="connsiteX24" fmla="*/ 1704975 w 2143125"/>
                    <a:gd name="connsiteY24" fmla="*/ 752475 h 1406525"/>
                    <a:gd name="connsiteX25" fmla="*/ 1701800 w 2143125"/>
                    <a:gd name="connsiteY25" fmla="*/ 762000 h 1406525"/>
                    <a:gd name="connsiteX26" fmla="*/ 1695450 w 2143125"/>
                    <a:gd name="connsiteY26" fmla="*/ 774700 h 1406525"/>
                    <a:gd name="connsiteX27" fmla="*/ 1695450 w 2143125"/>
                    <a:gd name="connsiteY27" fmla="*/ 787400 h 1406525"/>
                    <a:gd name="connsiteX28" fmla="*/ 1610659 w 2143125"/>
                    <a:gd name="connsiteY28" fmla="*/ 699201 h 1406525"/>
                    <a:gd name="connsiteX29" fmla="*/ 1641475 w 2143125"/>
                    <a:gd name="connsiteY29" fmla="*/ 885825 h 1406525"/>
                    <a:gd name="connsiteX30" fmla="*/ 1619250 w 2143125"/>
                    <a:gd name="connsiteY30" fmla="*/ 917575 h 1406525"/>
                    <a:gd name="connsiteX31" fmla="*/ 1577975 w 2143125"/>
                    <a:gd name="connsiteY31" fmla="*/ 949325 h 1406525"/>
                    <a:gd name="connsiteX32" fmla="*/ 1543050 w 2143125"/>
                    <a:gd name="connsiteY32" fmla="*/ 958850 h 1406525"/>
                    <a:gd name="connsiteX33" fmla="*/ 1501775 w 2143125"/>
                    <a:gd name="connsiteY33" fmla="*/ 958850 h 1406525"/>
                    <a:gd name="connsiteX34" fmla="*/ 1470025 w 2143125"/>
                    <a:gd name="connsiteY34" fmla="*/ 949325 h 1406525"/>
                    <a:gd name="connsiteX35" fmla="*/ 1447800 w 2143125"/>
                    <a:gd name="connsiteY35" fmla="*/ 904875 h 1406525"/>
                    <a:gd name="connsiteX36" fmla="*/ 1409700 w 2143125"/>
                    <a:gd name="connsiteY36" fmla="*/ 863600 h 1406525"/>
                    <a:gd name="connsiteX37" fmla="*/ 1377950 w 2143125"/>
                    <a:gd name="connsiteY37" fmla="*/ 777875 h 1406525"/>
                    <a:gd name="connsiteX38" fmla="*/ 1362075 w 2143125"/>
                    <a:gd name="connsiteY38" fmla="*/ 736600 h 1406525"/>
                    <a:gd name="connsiteX39" fmla="*/ 1333500 w 2143125"/>
                    <a:gd name="connsiteY39" fmla="*/ 666750 h 1406525"/>
                    <a:gd name="connsiteX40" fmla="*/ 1304925 w 2143125"/>
                    <a:gd name="connsiteY40" fmla="*/ 600075 h 1406525"/>
                    <a:gd name="connsiteX41" fmla="*/ 1260475 w 2143125"/>
                    <a:gd name="connsiteY41" fmla="*/ 517525 h 1406525"/>
                    <a:gd name="connsiteX42" fmla="*/ 1241425 w 2143125"/>
                    <a:gd name="connsiteY42" fmla="*/ 501650 h 1406525"/>
                    <a:gd name="connsiteX43" fmla="*/ 1212850 w 2143125"/>
                    <a:gd name="connsiteY43" fmla="*/ 492125 h 1406525"/>
                    <a:gd name="connsiteX44" fmla="*/ 1158875 w 2143125"/>
                    <a:gd name="connsiteY44" fmla="*/ 508000 h 1406525"/>
                    <a:gd name="connsiteX45" fmla="*/ 1133475 w 2143125"/>
                    <a:gd name="connsiteY45" fmla="*/ 546100 h 1406525"/>
                    <a:gd name="connsiteX46" fmla="*/ 1120775 w 2143125"/>
                    <a:gd name="connsiteY46" fmla="*/ 568325 h 1406525"/>
                    <a:gd name="connsiteX47" fmla="*/ 1111250 w 2143125"/>
                    <a:gd name="connsiteY47" fmla="*/ 600075 h 1406525"/>
                    <a:gd name="connsiteX48" fmla="*/ 1104900 w 2143125"/>
                    <a:gd name="connsiteY48" fmla="*/ 635000 h 1406525"/>
                    <a:gd name="connsiteX49" fmla="*/ 1095375 w 2143125"/>
                    <a:gd name="connsiteY49" fmla="*/ 660400 h 1406525"/>
                    <a:gd name="connsiteX50" fmla="*/ 1092200 w 2143125"/>
                    <a:gd name="connsiteY50" fmla="*/ 673100 h 1406525"/>
                    <a:gd name="connsiteX51" fmla="*/ 1089025 w 2143125"/>
                    <a:gd name="connsiteY51" fmla="*/ 682625 h 1406525"/>
                    <a:gd name="connsiteX52" fmla="*/ 1076325 w 2143125"/>
                    <a:gd name="connsiteY52" fmla="*/ 720725 h 1406525"/>
                    <a:gd name="connsiteX53" fmla="*/ 1035050 w 2143125"/>
                    <a:gd name="connsiteY53" fmla="*/ 822325 h 1406525"/>
                    <a:gd name="connsiteX54" fmla="*/ 996950 w 2143125"/>
                    <a:gd name="connsiteY54" fmla="*/ 933450 h 1406525"/>
                    <a:gd name="connsiteX55" fmla="*/ 965200 w 2143125"/>
                    <a:gd name="connsiteY55" fmla="*/ 974725 h 1406525"/>
                    <a:gd name="connsiteX56" fmla="*/ 930275 w 2143125"/>
                    <a:gd name="connsiteY56" fmla="*/ 1025525 h 1406525"/>
                    <a:gd name="connsiteX57" fmla="*/ 828675 w 2143125"/>
                    <a:gd name="connsiteY57" fmla="*/ 1031875 h 1406525"/>
                    <a:gd name="connsiteX58" fmla="*/ 742950 w 2143125"/>
                    <a:gd name="connsiteY58" fmla="*/ 968375 h 1406525"/>
                    <a:gd name="connsiteX59" fmla="*/ 692150 w 2143125"/>
                    <a:gd name="connsiteY59" fmla="*/ 895350 h 1406525"/>
                    <a:gd name="connsiteX60" fmla="*/ 647700 w 2143125"/>
                    <a:gd name="connsiteY60" fmla="*/ 844550 h 1406525"/>
                    <a:gd name="connsiteX61" fmla="*/ 596900 w 2143125"/>
                    <a:gd name="connsiteY61" fmla="*/ 790575 h 1406525"/>
                    <a:gd name="connsiteX62" fmla="*/ 523875 w 2143125"/>
                    <a:gd name="connsiteY62" fmla="*/ 711200 h 1406525"/>
                    <a:gd name="connsiteX63" fmla="*/ 473075 w 2143125"/>
                    <a:gd name="connsiteY63" fmla="*/ 695325 h 1406525"/>
                    <a:gd name="connsiteX64" fmla="*/ 434975 w 2143125"/>
                    <a:gd name="connsiteY64" fmla="*/ 717550 h 1406525"/>
                    <a:gd name="connsiteX65" fmla="*/ 431800 w 2143125"/>
                    <a:gd name="connsiteY65" fmla="*/ 755650 h 1406525"/>
                    <a:gd name="connsiteX66" fmla="*/ 425450 w 2143125"/>
                    <a:gd name="connsiteY66" fmla="*/ 793750 h 1406525"/>
                    <a:gd name="connsiteX67" fmla="*/ 425450 w 2143125"/>
                    <a:gd name="connsiteY67" fmla="*/ 831850 h 1406525"/>
                    <a:gd name="connsiteX68" fmla="*/ 425450 w 2143125"/>
                    <a:gd name="connsiteY68" fmla="*/ 876300 h 1406525"/>
                    <a:gd name="connsiteX69" fmla="*/ 422275 w 2143125"/>
                    <a:gd name="connsiteY69" fmla="*/ 904875 h 1406525"/>
                    <a:gd name="connsiteX70" fmla="*/ 412750 w 2143125"/>
                    <a:gd name="connsiteY70" fmla="*/ 968375 h 1406525"/>
                    <a:gd name="connsiteX71" fmla="*/ 396875 w 2143125"/>
                    <a:gd name="connsiteY71" fmla="*/ 1016000 h 1406525"/>
                    <a:gd name="connsiteX72" fmla="*/ 358775 w 2143125"/>
                    <a:gd name="connsiteY72" fmla="*/ 1031875 h 1406525"/>
                    <a:gd name="connsiteX73" fmla="*/ 301625 w 2143125"/>
                    <a:gd name="connsiteY73" fmla="*/ 1022350 h 1406525"/>
                    <a:gd name="connsiteX74" fmla="*/ 273050 w 2143125"/>
                    <a:gd name="connsiteY74" fmla="*/ 1006475 h 1406525"/>
                    <a:gd name="connsiteX75" fmla="*/ 222250 w 2143125"/>
                    <a:gd name="connsiteY75" fmla="*/ 984250 h 1406525"/>
                    <a:gd name="connsiteX76" fmla="*/ 187325 w 2143125"/>
                    <a:gd name="connsiteY76" fmla="*/ 962025 h 1406525"/>
                    <a:gd name="connsiteX77" fmla="*/ 152400 w 2143125"/>
                    <a:gd name="connsiteY77" fmla="*/ 936625 h 1406525"/>
                    <a:gd name="connsiteX78" fmla="*/ 104775 w 2143125"/>
                    <a:gd name="connsiteY78" fmla="*/ 885825 h 1406525"/>
                    <a:gd name="connsiteX79" fmla="*/ 57150 w 2143125"/>
                    <a:gd name="connsiteY79" fmla="*/ 822325 h 1406525"/>
                    <a:gd name="connsiteX80" fmla="*/ 0 w 2143125"/>
                    <a:gd name="connsiteY80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47748 w 2143125"/>
                    <a:gd name="connsiteY9" fmla="*/ 124503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917700 w 2143125"/>
                    <a:gd name="connsiteY12" fmla="*/ 295275 h 1406525"/>
                    <a:gd name="connsiteX13" fmla="*/ 1875575 w 2143125"/>
                    <a:gd name="connsiteY13" fmla="*/ 249629 h 1406525"/>
                    <a:gd name="connsiteX14" fmla="*/ 1798212 w 2143125"/>
                    <a:gd name="connsiteY14" fmla="*/ 417904 h 1406525"/>
                    <a:gd name="connsiteX15" fmla="*/ 1793875 w 2143125"/>
                    <a:gd name="connsiteY15" fmla="*/ 558800 h 1406525"/>
                    <a:gd name="connsiteX16" fmla="*/ 1781175 w 2143125"/>
                    <a:gd name="connsiteY16" fmla="*/ 590550 h 1406525"/>
                    <a:gd name="connsiteX17" fmla="*/ 1748574 w 2143125"/>
                    <a:gd name="connsiteY17" fmla="*/ 498555 h 1406525"/>
                    <a:gd name="connsiteX18" fmla="*/ 1749425 w 2143125"/>
                    <a:gd name="connsiteY18" fmla="*/ 647700 h 1406525"/>
                    <a:gd name="connsiteX19" fmla="*/ 1739900 w 2143125"/>
                    <a:gd name="connsiteY19" fmla="*/ 673100 h 1406525"/>
                    <a:gd name="connsiteX20" fmla="*/ 1730375 w 2143125"/>
                    <a:gd name="connsiteY20" fmla="*/ 682625 h 1406525"/>
                    <a:gd name="connsiteX21" fmla="*/ 1727200 w 2143125"/>
                    <a:gd name="connsiteY21" fmla="*/ 698500 h 1406525"/>
                    <a:gd name="connsiteX22" fmla="*/ 1671679 w 2143125"/>
                    <a:gd name="connsiteY22" fmla="*/ 628077 h 1406525"/>
                    <a:gd name="connsiteX23" fmla="*/ 1704975 w 2143125"/>
                    <a:gd name="connsiteY23" fmla="*/ 752475 h 1406525"/>
                    <a:gd name="connsiteX24" fmla="*/ 1701800 w 2143125"/>
                    <a:gd name="connsiteY24" fmla="*/ 762000 h 1406525"/>
                    <a:gd name="connsiteX25" fmla="*/ 1695450 w 2143125"/>
                    <a:gd name="connsiteY25" fmla="*/ 774700 h 1406525"/>
                    <a:gd name="connsiteX26" fmla="*/ 1695450 w 2143125"/>
                    <a:gd name="connsiteY26" fmla="*/ 787400 h 1406525"/>
                    <a:gd name="connsiteX27" fmla="*/ 1610659 w 2143125"/>
                    <a:gd name="connsiteY27" fmla="*/ 699201 h 1406525"/>
                    <a:gd name="connsiteX28" fmla="*/ 1641475 w 2143125"/>
                    <a:gd name="connsiteY28" fmla="*/ 885825 h 1406525"/>
                    <a:gd name="connsiteX29" fmla="*/ 1619250 w 2143125"/>
                    <a:gd name="connsiteY29" fmla="*/ 917575 h 1406525"/>
                    <a:gd name="connsiteX30" fmla="*/ 1577975 w 2143125"/>
                    <a:gd name="connsiteY30" fmla="*/ 949325 h 1406525"/>
                    <a:gd name="connsiteX31" fmla="*/ 1543050 w 2143125"/>
                    <a:gd name="connsiteY31" fmla="*/ 958850 h 1406525"/>
                    <a:gd name="connsiteX32" fmla="*/ 1501775 w 2143125"/>
                    <a:gd name="connsiteY32" fmla="*/ 958850 h 1406525"/>
                    <a:gd name="connsiteX33" fmla="*/ 1470025 w 2143125"/>
                    <a:gd name="connsiteY33" fmla="*/ 949325 h 1406525"/>
                    <a:gd name="connsiteX34" fmla="*/ 1447800 w 2143125"/>
                    <a:gd name="connsiteY34" fmla="*/ 904875 h 1406525"/>
                    <a:gd name="connsiteX35" fmla="*/ 1409700 w 2143125"/>
                    <a:gd name="connsiteY35" fmla="*/ 863600 h 1406525"/>
                    <a:gd name="connsiteX36" fmla="*/ 1377950 w 2143125"/>
                    <a:gd name="connsiteY36" fmla="*/ 777875 h 1406525"/>
                    <a:gd name="connsiteX37" fmla="*/ 1362075 w 2143125"/>
                    <a:gd name="connsiteY37" fmla="*/ 736600 h 1406525"/>
                    <a:gd name="connsiteX38" fmla="*/ 1333500 w 2143125"/>
                    <a:gd name="connsiteY38" fmla="*/ 666750 h 1406525"/>
                    <a:gd name="connsiteX39" fmla="*/ 1304925 w 2143125"/>
                    <a:gd name="connsiteY39" fmla="*/ 600075 h 1406525"/>
                    <a:gd name="connsiteX40" fmla="*/ 1260475 w 2143125"/>
                    <a:gd name="connsiteY40" fmla="*/ 517525 h 1406525"/>
                    <a:gd name="connsiteX41" fmla="*/ 1241425 w 2143125"/>
                    <a:gd name="connsiteY41" fmla="*/ 501650 h 1406525"/>
                    <a:gd name="connsiteX42" fmla="*/ 1212850 w 2143125"/>
                    <a:gd name="connsiteY42" fmla="*/ 492125 h 1406525"/>
                    <a:gd name="connsiteX43" fmla="*/ 1158875 w 2143125"/>
                    <a:gd name="connsiteY43" fmla="*/ 508000 h 1406525"/>
                    <a:gd name="connsiteX44" fmla="*/ 1133475 w 2143125"/>
                    <a:gd name="connsiteY44" fmla="*/ 546100 h 1406525"/>
                    <a:gd name="connsiteX45" fmla="*/ 1120775 w 2143125"/>
                    <a:gd name="connsiteY45" fmla="*/ 568325 h 1406525"/>
                    <a:gd name="connsiteX46" fmla="*/ 1111250 w 2143125"/>
                    <a:gd name="connsiteY46" fmla="*/ 600075 h 1406525"/>
                    <a:gd name="connsiteX47" fmla="*/ 1104900 w 2143125"/>
                    <a:gd name="connsiteY47" fmla="*/ 635000 h 1406525"/>
                    <a:gd name="connsiteX48" fmla="*/ 1095375 w 2143125"/>
                    <a:gd name="connsiteY48" fmla="*/ 660400 h 1406525"/>
                    <a:gd name="connsiteX49" fmla="*/ 1092200 w 2143125"/>
                    <a:gd name="connsiteY49" fmla="*/ 673100 h 1406525"/>
                    <a:gd name="connsiteX50" fmla="*/ 1089025 w 2143125"/>
                    <a:gd name="connsiteY50" fmla="*/ 682625 h 1406525"/>
                    <a:gd name="connsiteX51" fmla="*/ 1076325 w 2143125"/>
                    <a:gd name="connsiteY51" fmla="*/ 720725 h 1406525"/>
                    <a:gd name="connsiteX52" fmla="*/ 1035050 w 2143125"/>
                    <a:gd name="connsiteY52" fmla="*/ 822325 h 1406525"/>
                    <a:gd name="connsiteX53" fmla="*/ 996950 w 2143125"/>
                    <a:gd name="connsiteY53" fmla="*/ 933450 h 1406525"/>
                    <a:gd name="connsiteX54" fmla="*/ 965200 w 2143125"/>
                    <a:gd name="connsiteY54" fmla="*/ 974725 h 1406525"/>
                    <a:gd name="connsiteX55" fmla="*/ 930275 w 2143125"/>
                    <a:gd name="connsiteY55" fmla="*/ 1025525 h 1406525"/>
                    <a:gd name="connsiteX56" fmla="*/ 828675 w 2143125"/>
                    <a:gd name="connsiteY56" fmla="*/ 1031875 h 1406525"/>
                    <a:gd name="connsiteX57" fmla="*/ 742950 w 2143125"/>
                    <a:gd name="connsiteY57" fmla="*/ 968375 h 1406525"/>
                    <a:gd name="connsiteX58" fmla="*/ 692150 w 2143125"/>
                    <a:gd name="connsiteY58" fmla="*/ 895350 h 1406525"/>
                    <a:gd name="connsiteX59" fmla="*/ 647700 w 2143125"/>
                    <a:gd name="connsiteY59" fmla="*/ 844550 h 1406525"/>
                    <a:gd name="connsiteX60" fmla="*/ 596900 w 2143125"/>
                    <a:gd name="connsiteY60" fmla="*/ 790575 h 1406525"/>
                    <a:gd name="connsiteX61" fmla="*/ 523875 w 2143125"/>
                    <a:gd name="connsiteY61" fmla="*/ 711200 h 1406525"/>
                    <a:gd name="connsiteX62" fmla="*/ 473075 w 2143125"/>
                    <a:gd name="connsiteY62" fmla="*/ 695325 h 1406525"/>
                    <a:gd name="connsiteX63" fmla="*/ 434975 w 2143125"/>
                    <a:gd name="connsiteY63" fmla="*/ 717550 h 1406525"/>
                    <a:gd name="connsiteX64" fmla="*/ 431800 w 2143125"/>
                    <a:gd name="connsiteY64" fmla="*/ 755650 h 1406525"/>
                    <a:gd name="connsiteX65" fmla="*/ 425450 w 2143125"/>
                    <a:gd name="connsiteY65" fmla="*/ 793750 h 1406525"/>
                    <a:gd name="connsiteX66" fmla="*/ 425450 w 2143125"/>
                    <a:gd name="connsiteY66" fmla="*/ 831850 h 1406525"/>
                    <a:gd name="connsiteX67" fmla="*/ 425450 w 2143125"/>
                    <a:gd name="connsiteY67" fmla="*/ 876300 h 1406525"/>
                    <a:gd name="connsiteX68" fmla="*/ 422275 w 2143125"/>
                    <a:gd name="connsiteY68" fmla="*/ 904875 h 1406525"/>
                    <a:gd name="connsiteX69" fmla="*/ 412750 w 2143125"/>
                    <a:gd name="connsiteY69" fmla="*/ 968375 h 1406525"/>
                    <a:gd name="connsiteX70" fmla="*/ 396875 w 2143125"/>
                    <a:gd name="connsiteY70" fmla="*/ 1016000 h 1406525"/>
                    <a:gd name="connsiteX71" fmla="*/ 358775 w 2143125"/>
                    <a:gd name="connsiteY71" fmla="*/ 1031875 h 1406525"/>
                    <a:gd name="connsiteX72" fmla="*/ 301625 w 2143125"/>
                    <a:gd name="connsiteY72" fmla="*/ 1022350 h 1406525"/>
                    <a:gd name="connsiteX73" fmla="*/ 273050 w 2143125"/>
                    <a:gd name="connsiteY73" fmla="*/ 1006475 h 1406525"/>
                    <a:gd name="connsiteX74" fmla="*/ 222250 w 2143125"/>
                    <a:gd name="connsiteY74" fmla="*/ 984250 h 1406525"/>
                    <a:gd name="connsiteX75" fmla="*/ 187325 w 2143125"/>
                    <a:gd name="connsiteY75" fmla="*/ 962025 h 1406525"/>
                    <a:gd name="connsiteX76" fmla="*/ 152400 w 2143125"/>
                    <a:gd name="connsiteY76" fmla="*/ 936625 h 1406525"/>
                    <a:gd name="connsiteX77" fmla="*/ 104775 w 2143125"/>
                    <a:gd name="connsiteY77" fmla="*/ 885825 h 1406525"/>
                    <a:gd name="connsiteX78" fmla="*/ 57150 w 2143125"/>
                    <a:gd name="connsiteY78" fmla="*/ 822325 h 1406525"/>
                    <a:gd name="connsiteX79" fmla="*/ 0 w 2143125"/>
                    <a:gd name="connsiteY79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47748 w 2143125"/>
                    <a:gd name="connsiteY9" fmla="*/ 124503 h 1406525"/>
                    <a:gd name="connsiteX10" fmla="*/ 1946275 w 2143125"/>
                    <a:gd name="connsiteY10" fmla="*/ 241300 h 1406525"/>
                    <a:gd name="connsiteX11" fmla="*/ 1927225 w 2143125"/>
                    <a:gd name="connsiteY11" fmla="*/ 273050 h 1406525"/>
                    <a:gd name="connsiteX12" fmla="*/ 1875575 w 2143125"/>
                    <a:gd name="connsiteY12" fmla="*/ 249629 h 1406525"/>
                    <a:gd name="connsiteX13" fmla="*/ 1798212 w 2143125"/>
                    <a:gd name="connsiteY13" fmla="*/ 417904 h 1406525"/>
                    <a:gd name="connsiteX14" fmla="*/ 1793875 w 2143125"/>
                    <a:gd name="connsiteY14" fmla="*/ 558800 h 1406525"/>
                    <a:gd name="connsiteX15" fmla="*/ 1781175 w 2143125"/>
                    <a:gd name="connsiteY15" fmla="*/ 590550 h 1406525"/>
                    <a:gd name="connsiteX16" fmla="*/ 1748574 w 2143125"/>
                    <a:gd name="connsiteY16" fmla="*/ 498555 h 1406525"/>
                    <a:gd name="connsiteX17" fmla="*/ 1749425 w 2143125"/>
                    <a:gd name="connsiteY17" fmla="*/ 647700 h 1406525"/>
                    <a:gd name="connsiteX18" fmla="*/ 1739900 w 2143125"/>
                    <a:gd name="connsiteY18" fmla="*/ 673100 h 1406525"/>
                    <a:gd name="connsiteX19" fmla="*/ 1730375 w 2143125"/>
                    <a:gd name="connsiteY19" fmla="*/ 682625 h 1406525"/>
                    <a:gd name="connsiteX20" fmla="*/ 1727200 w 2143125"/>
                    <a:gd name="connsiteY20" fmla="*/ 698500 h 1406525"/>
                    <a:gd name="connsiteX21" fmla="*/ 1671679 w 2143125"/>
                    <a:gd name="connsiteY21" fmla="*/ 628077 h 1406525"/>
                    <a:gd name="connsiteX22" fmla="*/ 1704975 w 2143125"/>
                    <a:gd name="connsiteY22" fmla="*/ 752475 h 1406525"/>
                    <a:gd name="connsiteX23" fmla="*/ 1701800 w 2143125"/>
                    <a:gd name="connsiteY23" fmla="*/ 762000 h 1406525"/>
                    <a:gd name="connsiteX24" fmla="*/ 1695450 w 2143125"/>
                    <a:gd name="connsiteY24" fmla="*/ 774700 h 1406525"/>
                    <a:gd name="connsiteX25" fmla="*/ 1695450 w 2143125"/>
                    <a:gd name="connsiteY25" fmla="*/ 787400 h 1406525"/>
                    <a:gd name="connsiteX26" fmla="*/ 1610659 w 2143125"/>
                    <a:gd name="connsiteY26" fmla="*/ 699201 h 1406525"/>
                    <a:gd name="connsiteX27" fmla="*/ 1641475 w 2143125"/>
                    <a:gd name="connsiteY27" fmla="*/ 885825 h 1406525"/>
                    <a:gd name="connsiteX28" fmla="*/ 1619250 w 2143125"/>
                    <a:gd name="connsiteY28" fmla="*/ 917575 h 1406525"/>
                    <a:gd name="connsiteX29" fmla="*/ 1577975 w 2143125"/>
                    <a:gd name="connsiteY29" fmla="*/ 949325 h 1406525"/>
                    <a:gd name="connsiteX30" fmla="*/ 1543050 w 2143125"/>
                    <a:gd name="connsiteY30" fmla="*/ 958850 h 1406525"/>
                    <a:gd name="connsiteX31" fmla="*/ 1501775 w 2143125"/>
                    <a:gd name="connsiteY31" fmla="*/ 958850 h 1406525"/>
                    <a:gd name="connsiteX32" fmla="*/ 1470025 w 2143125"/>
                    <a:gd name="connsiteY32" fmla="*/ 949325 h 1406525"/>
                    <a:gd name="connsiteX33" fmla="*/ 1447800 w 2143125"/>
                    <a:gd name="connsiteY33" fmla="*/ 904875 h 1406525"/>
                    <a:gd name="connsiteX34" fmla="*/ 1409700 w 2143125"/>
                    <a:gd name="connsiteY34" fmla="*/ 863600 h 1406525"/>
                    <a:gd name="connsiteX35" fmla="*/ 1377950 w 2143125"/>
                    <a:gd name="connsiteY35" fmla="*/ 777875 h 1406525"/>
                    <a:gd name="connsiteX36" fmla="*/ 1362075 w 2143125"/>
                    <a:gd name="connsiteY36" fmla="*/ 736600 h 1406525"/>
                    <a:gd name="connsiteX37" fmla="*/ 1333500 w 2143125"/>
                    <a:gd name="connsiteY37" fmla="*/ 666750 h 1406525"/>
                    <a:gd name="connsiteX38" fmla="*/ 1304925 w 2143125"/>
                    <a:gd name="connsiteY38" fmla="*/ 600075 h 1406525"/>
                    <a:gd name="connsiteX39" fmla="*/ 1260475 w 2143125"/>
                    <a:gd name="connsiteY39" fmla="*/ 517525 h 1406525"/>
                    <a:gd name="connsiteX40" fmla="*/ 1241425 w 2143125"/>
                    <a:gd name="connsiteY40" fmla="*/ 501650 h 1406525"/>
                    <a:gd name="connsiteX41" fmla="*/ 1212850 w 2143125"/>
                    <a:gd name="connsiteY41" fmla="*/ 492125 h 1406525"/>
                    <a:gd name="connsiteX42" fmla="*/ 1158875 w 2143125"/>
                    <a:gd name="connsiteY42" fmla="*/ 508000 h 1406525"/>
                    <a:gd name="connsiteX43" fmla="*/ 1133475 w 2143125"/>
                    <a:gd name="connsiteY43" fmla="*/ 546100 h 1406525"/>
                    <a:gd name="connsiteX44" fmla="*/ 1120775 w 2143125"/>
                    <a:gd name="connsiteY44" fmla="*/ 568325 h 1406525"/>
                    <a:gd name="connsiteX45" fmla="*/ 1111250 w 2143125"/>
                    <a:gd name="connsiteY45" fmla="*/ 600075 h 1406525"/>
                    <a:gd name="connsiteX46" fmla="*/ 1104900 w 2143125"/>
                    <a:gd name="connsiteY46" fmla="*/ 635000 h 1406525"/>
                    <a:gd name="connsiteX47" fmla="*/ 1095375 w 2143125"/>
                    <a:gd name="connsiteY47" fmla="*/ 660400 h 1406525"/>
                    <a:gd name="connsiteX48" fmla="*/ 1092200 w 2143125"/>
                    <a:gd name="connsiteY48" fmla="*/ 673100 h 1406525"/>
                    <a:gd name="connsiteX49" fmla="*/ 1089025 w 2143125"/>
                    <a:gd name="connsiteY49" fmla="*/ 682625 h 1406525"/>
                    <a:gd name="connsiteX50" fmla="*/ 1076325 w 2143125"/>
                    <a:gd name="connsiteY50" fmla="*/ 720725 h 1406525"/>
                    <a:gd name="connsiteX51" fmla="*/ 1035050 w 2143125"/>
                    <a:gd name="connsiteY51" fmla="*/ 822325 h 1406525"/>
                    <a:gd name="connsiteX52" fmla="*/ 996950 w 2143125"/>
                    <a:gd name="connsiteY52" fmla="*/ 933450 h 1406525"/>
                    <a:gd name="connsiteX53" fmla="*/ 965200 w 2143125"/>
                    <a:gd name="connsiteY53" fmla="*/ 974725 h 1406525"/>
                    <a:gd name="connsiteX54" fmla="*/ 930275 w 2143125"/>
                    <a:gd name="connsiteY54" fmla="*/ 1025525 h 1406525"/>
                    <a:gd name="connsiteX55" fmla="*/ 828675 w 2143125"/>
                    <a:gd name="connsiteY55" fmla="*/ 1031875 h 1406525"/>
                    <a:gd name="connsiteX56" fmla="*/ 742950 w 2143125"/>
                    <a:gd name="connsiteY56" fmla="*/ 968375 h 1406525"/>
                    <a:gd name="connsiteX57" fmla="*/ 692150 w 2143125"/>
                    <a:gd name="connsiteY57" fmla="*/ 895350 h 1406525"/>
                    <a:gd name="connsiteX58" fmla="*/ 647700 w 2143125"/>
                    <a:gd name="connsiteY58" fmla="*/ 844550 h 1406525"/>
                    <a:gd name="connsiteX59" fmla="*/ 596900 w 2143125"/>
                    <a:gd name="connsiteY59" fmla="*/ 790575 h 1406525"/>
                    <a:gd name="connsiteX60" fmla="*/ 523875 w 2143125"/>
                    <a:gd name="connsiteY60" fmla="*/ 711200 h 1406525"/>
                    <a:gd name="connsiteX61" fmla="*/ 473075 w 2143125"/>
                    <a:gd name="connsiteY61" fmla="*/ 695325 h 1406525"/>
                    <a:gd name="connsiteX62" fmla="*/ 434975 w 2143125"/>
                    <a:gd name="connsiteY62" fmla="*/ 717550 h 1406525"/>
                    <a:gd name="connsiteX63" fmla="*/ 431800 w 2143125"/>
                    <a:gd name="connsiteY63" fmla="*/ 755650 h 1406525"/>
                    <a:gd name="connsiteX64" fmla="*/ 425450 w 2143125"/>
                    <a:gd name="connsiteY64" fmla="*/ 793750 h 1406525"/>
                    <a:gd name="connsiteX65" fmla="*/ 425450 w 2143125"/>
                    <a:gd name="connsiteY65" fmla="*/ 831850 h 1406525"/>
                    <a:gd name="connsiteX66" fmla="*/ 425450 w 2143125"/>
                    <a:gd name="connsiteY66" fmla="*/ 876300 h 1406525"/>
                    <a:gd name="connsiteX67" fmla="*/ 422275 w 2143125"/>
                    <a:gd name="connsiteY67" fmla="*/ 904875 h 1406525"/>
                    <a:gd name="connsiteX68" fmla="*/ 412750 w 2143125"/>
                    <a:gd name="connsiteY68" fmla="*/ 968375 h 1406525"/>
                    <a:gd name="connsiteX69" fmla="*/ 396875 w 2143125"/>
                    <a:gd name="connsiteY69" fmla="*/ 1016000 h 1406525"/>
                    <a:gd name="connsiteX70" fmla="*/ 358775 w 2143125"/>
                    <a:gd name="connsiteY70" fmla="*/ 1031875 h 1406525"/>
                    <a:gd name="connsiteX71" fmla="*/ 301625 w 2143125"/>
                    <a:gd name="connsiteY71" fmla="*/ 1022350 h 1406525"/>
                    <a:gd name="connsiteX72" fmla="*/ 273050 w 2143125"/>
                    <a:gd name="connsiteY72" fmla="*/ 1006475 h 1406525"/>
                    <a:gd name="connsiteX73" fmla="*/ 222250 w 2143125"/>
                    <a:gd name="connsiteY73" fmla="*/ 984250 h 1406525"/>
                    <a:gd name="connsiteX74" fmla="*/ 187325 w 2143125"/>
                    <a:gd name="connsiteY74" fmla="*/ 962025 h 1406525"/>
                    <a:gd name="connsiteX75" fmla="*/ 152400 w 2143125"/>
                    <a:gd name="connsiteY75" fmla="*/ 936625 h 1406525"/>
                    <a:gd name="connsiteX76" fmla="*/ 104775 w 2143125"/>
                    <a:gd name="connsiteY76" fmla="*/ 885825 h 1406525"/>
                    <a:gd name="connsiteX77" fmla="*/ 57150 w 2143125"/>
                    <a:gd name="connsiteY77" fmla="*/ 822325 h 1406525"/>
                    <a:gd name="connsiteX78" fmla="*/ 0 w 2143125"/>
                    <a:gd name="connsiteY78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47748 w 2143125"/>
                    <a:gd name="connsiteY9" fmla="*/ 124503 h 1406525"/>
                    <a:gd name="connsiteX10" fmla="*/ 1946275 w 2143125"/>
                    <a:gd name="connsiteY10" fmla="*/ 241300 h 1406525"/>
                    <a:gd name="connsiteX11" fmla="*/ 1875575 w 2143125"/>
                    <a:gd name="connsiteY11" fmla="*/ 249629 h 1406525"/>
                    <a:gd name="connsiteX12" fmla="*/ 1798212 w 2143125"/>
                    <a:gd name="connsiteY12" fmla="*/ 417904 h 1406525"/>
                    <a:gd name="connsiteX13" fmla="*/ 1793875 w 2143125"/>
                    <a:gd name="connsiteY13" fmla="*/ 558800 h 1406525"/>
                    <a:gd name="connsiteX14" fmla="*/ 1781175 w 2143125"/>
                    <a:gd name="connsiteY14" fmla="*/ 590550 h 1406525"/>
                    <a:gd name="connsiteX15" fmla="*/ 1748574 w 2143125"/>
                    <a:gd name="connsiteY15" fmla="*/ 498555 h 1406525"/>
                    <a:gd name="connsiteX16" fmla="*/ 1749425 w 2143125"/>
                    <a:gd name="connsiteY16" fmla="*/ 647700 h 1406525"/>
                    <a:gd name="connsiteX17" fmla="*/ 1739900 w 2143125"/>
                    <a:gd name="connsiteY17" fmla="*/ 673100 h 1406525"/>
                    <a:gd name="connsiteX18" fmla="*/ 1730375 w 2143125"/>
                    <a:gd name="connsiteY18" fmla="*/ 682625 h 1406525"/>
                    <a:gd name="connsiteX19" fmla="*/ 1727200 w 2143125"/>
                    <a:gd name="connsiteY19" fmla="*/ 698500 h 1406525"/>
                    <a:gd name="connsiteX20" fmla="*/ 1671679 w 2143125"/>
                    <a:gd name="connsiteY20" fmla="*/ 628077 h 1406525"/>
                    <a:gd name="connsiteX21" fmla="*/ 1704975 w 2143125"/>
                    <a:gd name="connsiteY21" fmla="*/ 752475 h 1406525"/>
                    <a:gd name="connsiteX22" fmla="*/ 1701800 w 2143125"/>
                    <a:gd name="connsiteY22" fmla="*/ 762000 h 1406525"/>
                    <a:gd name="connsiteX23" fmla="*/ 1695450 w 2143125"/>
                    <a:gd name="connsiteY23" fmla="*/ 774700 h 1406525"/>
                    <a:gd name="connsiteX24" fmla="*/ 1695450 w 2143125"/>
                    <a:gd name="connsiteY24" fmla="*/ 787400 h 1406525"/>
                    <a:gd name="connsiteX25" fmla="*/ 1610659 w 2143125"/>
                    <a:gd name="connsiteY25" fmla="*/ 699201 h 1406525"/>
                    <a:gd name="connsiteX26" fmla="*/ 1641475 w 2143125"/>
                    <a:gd name="connsiteY26" fmla="*/ 885825 h 1406525"/>
                    <a:gd name="connsiteX27" fmla="*/ 1619250 w 2143125"/>
                    <a:gd name="connsiteY27" fmla="*/ 917575 h 1406525"/>
                    <a:gd name="connsiteX28" fmla="*/ 1577975 w 2143125"/>
                    <a:gd name="connsiteY28" fmla="*/ 949325 h 1406525"/>
                    <a:gd name="connsiteX29" fmla="*/ 1543050 w 2143125"/>
                    <a:gd name="connsiteY29" fmla="*/ 958850 h 1406525"/>
                    <a:gd name="connsiteX30" fmla="*/ 1501775 w 2143125"/>
                    <a:gd name="connsiteY30" fmla="*/ 958850 h 1406525"/>
                    <a:gd name="connsiteX31" fmla="*/ 1470025 w 2143125"/>
                    <a:gd name="connsiteY31" fmla="*/ 949325 h 1406525"/>
                    <a:gd name="connsiteX32" fmla="*/ 1447800 w 2143125"/>
                    <a:gd name="connsiteY32" fmla="*/ 904875 h 1406525"/>
                    <a:gd name="connsiteX33" fmla="*/ 1409700 w 2143125"/>
                    <a:gd name="connsiteY33" fmla="*/ 863600 h 1406525"/>
                    <a:gd name="connsiteX34" fmla="*/ 1377950 w 2143125"/>
                    <a:gd name="connsiteY34" fmla="*/ 777875 h 1406525"/>
                    <a:gd name="connsiteX35" fmla="*/ 1362075 w 2143125"/>
                    <a:gd name="connsiteY35" fmla="*/ 736600 h 1406525"/>
                    <a:gd name="connsiteX36" fmla="*/ 1333500 w 2143125"/>
                    <a:gd name="connsiteY36" fmla="*/ 666750 h 1406525"/>
                    <a:gd name="connsiteX37" fmla="*/ 1304925 w 2143125"/>
                    <a:gd name="connsiteY37" fmla="*/ 600075 h 1406525"/>
                    <a:gd name="connsiteX38" fmla="*/ 1260475 w 2143125"/>
                    <a:gd name="connsiteY38" fmla="*/ 517525 h 1406525"/>
                    <a:gd name="connsiteX39" fmla="*/ 1241425 w 2143125"/>
                    <a:gd name="connsiteY39" fmla="*/ 501650 h 1406525"/>
                    <a:gd name="connsiteX40" fmla="*/ 1212850 w 2143125"/>
                    <a:gd name="connsiteY40" fmla="*/ 492125 h 1406525"/>
                    <a:gd name="connsiteX41" fmla="*/ 1158875 w 2143125"/>
                    <a:gd name="connsiteY41" fmla="*/ 508000 h 1406525"/>
                    <a:gd name="connsiteX42" fmla="*/ 1133475 w 2143125"/>
                    <a:gd name="connsiteY42" fmla="*/ 546100 h 1406525"/>
                    <a:gd name="connsiteX43" fmla="*/ 1120775 w 2143125"/>
                    <a:gd name="connsiteY43" fmla="*/ 568325 h 1406525"/>
                    <a:gd name="connsiteX44" fmla="*/ 1111250 w 2143125"/>
                    <a:gd name="connsiteY44" fmla="*/ 600075 h 1406525"/>
                    <a:gd name="connsiteX45" fmla="*/ 1104900 w 2143125"/>
                    <a:gd name="connsiteY45" fmla="*/ 635000 h 1406525"/>
                    <a:gd name="connsiteX46" fmla="*/ 1095375 w 2143125"/>
                    <a:gd name="connsiteY46" fmla="*/ 660400 h 1406525"/>
                    <a:gd name="connsiteX47" fmla="*/ 1092200 w 2143125"/>
                    <a:gd name="connsiteY47" fmla="*/ 673100 h 1406525"/>
                    <a:gd name="connsiteX48" fmla="*/ 1089025 w 2143125"/>
                    <a:gd name="connsiteY48" fmla="*/ 682625 h 1406525"/>
                    <a:gd name="connsiteX49" fmla="*/ 1076325 w 2143125"/>
                    <a:gd name="connsiteY49" fmla="*/ 720725 h 1406525"/>
                    <a:gd name="connsiteX50" fmla="*/ 1035050 w 2143125"/>
                    <a:gd name="connsiteY50" fmla="*/ 822325 h 1406525"/>
                    <a:gd name="connsiteX51" fmla="*/ 996950 w 2143125"/>
                    <a:gd name="connsiteY51" fmla="*/ 933450 h 1406525"/>
                    <a:gd name="connsiteX52" fmla="*/ 965200 w 2143125"/>
                    <a:gd name="connsiteY52" fmla="*/ 974725 h 1406525"/>
                    <a:gd name="connsiteX53" fmla="*/ 930275 w 2143125"/>
                    <a:gd name="connsiteY53" fmla="*/ 1025525 h 1406525"/>
                    <a:gd name="connsiteX54" fmla="*/ 828675 w 2143125"/>
                    <a:gd name="connsiteY54" fmla="*/ 1031875 h 1406525"/>
                    <a:gd name="connsiteX55" fmla="*/ 742950 w 2143125"/>
                    <a:gd name="connsiteY55" fmla="*/ 968375 h 1406525"/>
                    <a:gd name="connsiteX56" fmla="*/ 692150 w 2143125"/>
                    <a:gd name="connsiteY56" fmla="*/ 895350 h 1406525"/>
                    <a:gd name="connsiteX57" fmla="*/ 647700 w 2143125"/>
                    <a:gd name="connsiteY57" fmla="*/ 844550 h 1406525"/>
                    <a:gd name="connsiteX58" fmla="*/ 596900 w 2143125"/>
                    <a:gd name="connsiteY58" fmla="*/ 790575 h 1406525"/>
                    <a:gd name="connsiteX59" fmla="*/ 523875 w 2143125"/>
                    <a:gd name="connsiteY59" fmla="*/ 711200 h 1406525"/>
                    <a:gd name="connsiteX60" fmla="*/ 473075 w 2143125"/>
                    <a:gd name="connsiteY60" fmla="*/ 695325 h 1406525"/>
                    <a:gd name="connsiteX61" fmla="*/ 434975 w 2143125"/>
                    <a:gd name="connsiteY61" fmla="*/ 717550 h 1406525"/>
                    <a:gd name="connsiteX62" fmla="*/ 431800 w 2143125"/>
                    <a:gd name="connsiteY62" fmla="*/ 755650 h 1406525"/>
                    <a:gd name="connsiteX63" fmla="*/ 425450 w 2143125"/>
                    <a:gd name="connsiteY63" fmla="*/ 793750 h 1406525"/>
                    <a:gd name="connsiteX64" fmla="*/ 425450 w 2143125"/>
                    <a:gd name="connsiteY64" fmla="*/ 831850 h 1406525"/>
                    <a:gd name="connsiteX65" fmla="*/ 425450 w 2143125"/>
                    <a:gd name="connsiteY65" fmla="*/ 876300 h 1406525"/>
                    <a:gd name="connsiteX66" fmla="*/ 422275 w 2143125"/>
                    <a:gd name="connsiteY66" fmla="*/ 904875 h 1406525"/>
                    <a:gd name="connsiteX67" fmla="*/ 412750 w 2143125"/>
                    <a:gd name="connsiteY67" fmla="*/ 968375 h 1406525"/>
                    <a:gd name="connsiteX68" fmla="*/ 396875 w 2143125"/>
                    <a:gd name="connsiteY68" fmla="*/ 1016000 h 1406525"/>
                    <a:gd name="connsiteX69" fmla="*/ 358775 w 2143125"/>
                    <a:gd name="connsiteY69" fmla="*/ 1031875 h 1406525"/>
                    <a:gd name="connsiteX70" fmla="*/ 301625 w 2143125"/>
                    <a:gd name="connsiteY70" fmla="*/ 1022350 h 1406525"/>
                    <a:gd name="connsiteX71" fmla="*/ 273050 w 2143125"/>
                    <a:gd name="connsiteY71" fmla="*/ 1006475 h 1406525"/>
                    <a:gd name="connsiteX72" fmla="*/ 222250 w 2143125"/>
                    <a:gd name="connsiteY72" fmla="*/ 984250 h 1406525"/>
                    <a:gd name="connsiteX73" fmla="*/ 187325 w 2143125"/>
                    <a:gd name="connsiteY73" fmla="*/ 962025 h 1406525"/>
                    <a:gd name="connsiteX74" fmla="*/ 152400 w 2143125"/>
                    <a:gd name="connsiteY74" fmla="*/ 936625 h 1406525"/>
                    <a:gd name="connsiteX75" fmla="*/ 104775 w 2143125"/>
                    <a:gd name="connsiteY75" fmla="*/ 885825 h 1406525"/>
                    <a:gd name="connsiteX76" fmla="*/ 57150 w 2143125"/>
                    <a:gd name="connsiteY76" fmla="*/ 822325 h 1406525"/>
                    <a:gd name="connsiteX77" fmla="*/ 0 w 2143125"/>
                    <a:gd name="connsiteY77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2000250 w 2143125"/>
                    <a:gd name="connsiteY8" fmla="*/ 152400 h 1406525"/>
                    <a:gd name="connsiteX9" fmla="*/ 1947748 w 2143125"/>
                    <a:gd name="connsiteY9" fmla="*/ 124503 h 1406525"/>
                    <a:gd name="connsiteX10" fmla="*/ 1875575 w 2143125"/>
                    <a:gd name="connsiteY10" fmla="*/ 249629 h 1406525"/>
                    <a:gd name="connsiteX11" fmla="*/ 1798212 w 2143125"/>
                    <a:gd name="connsiteY11" fmla="*/ 417904 h 1406525"/>
                    <a:gd name="connsiteX12" fmla="*/ 1793875 w 2143125"/>
                    <a:gd name="connsiteY12" fmla="*/ 558800 h 1406525"/>
                    <a:gd name="connsiteX13" fmla="*/ 1781175 w 2143125"/>
                    <a:gd name="connsiteY13" fmla="*/ 590550 h 1406525"/>
                    <a:gd name="connsiteX14" fmla="*/ 1748574 w 2143125"/>
                    <a:gd name="connsiteY14" fmla="*/ 498555 h 1406525"/>
                    <a:gd name="connsiteX15" fmla="*/ 1749425 w 2143125"/>
                    <a:gd name="connsiteY15" fmla="*/ 647700 h 1406525"/>
                    <a:gd name="connsiteX16" fmla="*/ 1739900 w 2143125"/>
                    <a:gd name="connsiteY16" fmla="*/ 673100 h 1406525"/>
                    <a:gd name="connsiteX17" fmla="*/ 1730375 w 2143125"/>
                    <a:gd name="connsiteY17" fmla="*/ 682625 h 1406525"/>
                    <a:gd name="connsiteX18" fmla="*/ 1727200 w 2143125"/>
                    <a:gd name="connsiteY18" fmla="*/ 698500 h 1406525"/>
                    <a:gd name="connsiteX19" fmla="*/ 1671679 w 2143125"/>
                    <a:gd name="connsiteY19" fmla="*/ 628077 h 1406525"/>
                    <a:gd name="connsiteX20" fmla="*/ 1704975 w 2143125"/>
                    <a:gd name="connsiteY20" fmla="*/ 752475 h 1406525"/>
                    <a:gd name="connsiteX21" fmla="*/ 1701800 w 2143125"/>
                    <a:gd name="connsiteY21" fmla="*/ 762000 h 1406525"/>
                    <a:gd name="connsiteX22" fmla="*/ 1695450 w 2143125"/>
                    <a:gd name="connsiteY22" fmla="*/ 774700 h 1406525"/>
                    <a:gd name="connsiteX23" fmla="*/ 1695450 w 2143125"/>
                    <a:gd name="connsiteY23" fmla="*/ 787400 h 1406525"/>
                    <a:gd name="connsiteX24" fmla="*/ 1610659 w 2143125"/>
                    <a:gd name="connsiteY24" fmla="*/ 699201 h 1406525"/>
                    <a:gd name="connsiteX25" fmla="*/ 1641475 w 2143125"/>
                    <a:gd name="connsiteY25" fmla="*/ 885825 h 1406525"/>
                    <a:gd name="connsiteX26" fmla="*/ 1619250 w 2143125"/>
                    <a:gd name="connsiteY26" fmla="*/ 917575 h 1406525"/>
                    <a:gd name="connsiteX27" fmla="*/ 1577975 w 2143125"/>
                    <a:gd name="connsiteY27" fmla="*/ 949325 h 1406525"/>
                    <a:gd name="connsiteX28" fmla="*/ 1543050 w 2143125"/>
                    <a:gd name="connsiteY28" fmla="*/ 958850 h 1406525"/>
                    <a:gd name="connsiteX29" fmla="*/ 1501775 w 2143125"/>
                    <a:gd name="connsiteY29" fmla="*/ 958850 h 1406525"/>
                    <a:gd name="connsiteX30" fmla="*/ 1470025 w 2143125"/>
                    <a:gd name="connsiteY30" fmla="*/ 949325 h 1406525"/>
                    <a:gd name="connsiteX31" fmla="*/ 1447800 w 2143125"/>
                    <a:gd name="connsiteY31" fmla="*/ 904875 h 1406525"/>
                    <a:gd name="connsiteX32" fmla="*/ 1409700 w 2143125"/>
                    <a:gd name="connsiteY32" fmla="*/ 863600 h 1406525"/>
                    <a:gd name="connsiteX33" fmla="*/ 1377950 w 2143125"/>
                    <a:gd name="connsiteY33" fmla="*/ 777875 h 1406525"/>
                    <a:gd name="connsiteX34" fmla="*/ 1362075 w 2143125"/>
                    <a:gd name="connsiteY34" fmla="*/ 736600 h 1406525"/>
                    <a:gd name="connsiteX35" fmla="*/ 1333500 w 2143125"/>
                    <a:gd name="connsiteY35" fmla="*/ 666750 h 1406525"/>
                    <a:gd name="connsiteX36" fmla="*/ 1304925 w 2143125"/>
                    <a:gd name="connsiteY36" fmla="*/ 600075 h 1406525"/>
                    <a:gd name="connsiteX37" fmla="*/ 1260475 w 2143125"/>
                    <a:gd name="connsiteY37" fmla="*/ 517525 h 1406525"/>
                    <a:gd name="connsiteX38" fmla="*/ 1241425 w 2143125"/>
                    <a:gd name="connsiteY38" fmla="*/ 501650 h 1406525"/>
                    <a:gd name="connsiteX39" fmla="*/ 1212850 w 2143125"/>
                    <a:gd name="connsiteY39" fmla="*/ 492125 h 1406525"/>
                    <a:gd name="connsiteX40" fmla="*/ 1158875 w 2143125"/>
                    <a:gd name="connsiteY40" fmla="*/ 508000 h 1406525"/>
                    <a:gd name="connsiteX41" fmla="*/ 1133475 w 2143125"/>
                    <a:gd name="connsiteY41" fmla="*/ 546100 h 1406525"/>
                    <a:gd name="connsiteX42" fmla="*/ 1120775 w 2143125"/>
                    <a:gd name="connsiteY42" fmla="*/ 568325 h 1406525"/>
                    <a:gd name="connsiteX43" fmla="*/ 1111250 w 2143125"/>
                    <a:gd name="connsiteY43" fmla="*/ 600075 h 1406525"/>
                    <a:gd name="connsiteX44" fmla="*/ 1104900 w 2143125"/>
                    <a:gd name="connsiteY44" fmla="*/ 635000 h 1406525"/>
                    <a:gd name="connsiteX45" fmla="*/ 1095375 w 2143125"/>
                    <a:gd name="connsiteY45" fmla="*/ 660400 h 1406525"/>
                    <a:gd name="connsiteX46" fmla="*/ 1092200 w 2143125"/>
                    <a:gd name="connsiteY46" fmla="*/ 673100 h 1406525"/>
                    <a:gd name="connsiteX47" fmla="*/ 1089025 w 2143125"/>
                    <a:gd name="connsiteY47" fmla="*/ 682625 h 1406525"/>
                    <a:gd name="connsiteX48" fmla="*/ 1076325 w 2143125"/>
                    <a:gd name="connsiteY48" fmla="*/ 720725 h 1406525"/>
                    <a:gd name="connsiteX49" fmla="*/ 1035050 w 2143125"/>
                    <a:gd name="connsiteY49" fmla="*/ 822325 h 1406525"/>
                    <a:gd name="connsiteX50" fmla="*/ 996950 w 2143125"/>
                    <a:gd name="connsiteY50" fmla="*/ 933450 h 1406525"/>
                    <a:gd name="connsiteX51" fmla="*/ 965200 w 2143125"/>
                    <a:gd name="connsiteY51" fmla="*/ 974725 h 1406525"/>
                    <a:gd name="connsiteX52" fmla="*/ 930275 w 2143125"/>
                    <a:gd name="connsiteY52" fmla="*/ 1025525 h 1406525"/>
                    <a:gd name="connsiteX53" fmla="*/ 828675 w 2143125"/>
                    <a:gd name="connsiteY53" fmla="*/ 1031875 h 1406525"/>
                    <a:gd name="connsiteX54" fmla="*/ 742950 w 2143125"/>
                    <a:gd name="connsiteY54" fmla="*/ 968375 h 1406525"/>
                    <a:gd name="connsiteX55" fmla="*/ 692150 w 2143125"/>
                    <a:gd name="connsiteY55" fmla="*/ 895350 h 1406525"/>
                    <a:gd name="connsiteX56" fmla="*/ 647700 w 2143125"/>
                    <a:gd name="connsiteY56" fmla="*/ 844550 h 1406525"/>
                    <a:gd name="connsiteX57" fmla="*/ 596900 w 2143125"/>
                    <a:gd name="connsiteY57" fmla="*/ 790575 h 1406525"/>
                    <a:gd name="connsiteX58" fmla="*/ 523875 w 2143125"/>
                    <a:gd name="connsiteY58" fmla="*/ 711200 h 1406525"/>
                    <a:gd name="connsiteX59" fmla="*/ 473075 w 2143125"/>
                    <a:gd name="connsiteY59" fmla="*/ 695325 h 1406525"/>
                    <a:gd name="connsiteX60" fmla="*/ 434975 w 2143125"/>
                    <a:gd name="connsiteY60" fmla="*/ 717550 h 1406525"/>
                    <a:gd name="connsiteX61" fmla="*/ 431800 w 2143125"/>
                    <a:gd name="connsiteY61" fmla="*/ 755650 h 1406525"/>
                    <a:gd name="connsiteX62" fmla="*/ 425450 w 2143125"/>
                    <a:gd name="connsiteY62" fmla="*/ 793750 h 1406525"/>
                    <a:gd name="connsiteX63" fmla="*/ 425450 w 2143125"/>
                    <a:gd name="connsiteY63" fmla="*/ 831850 h 1406525"/>
                    <a:gd name="connsiteX64" fmla="*/ 425450 w 2143125"/>
                    <a:gd name="connsiteY64" fmla="*/ 876300 h 1406525"/>
                    <a:gd name="connsiteX65" fmla="*/ 422275 w 2143125"/>
                    <a:gd name="connsiteY65" fmla="*/ 904875 h 1406525"/>
                    <a:gd name="connsiteX66" fmla="*/ 412750 w 2143125"/>
                    <a:gd name="connsiteY66" fmla="*/ 968375 h 1406525"/>
                    <a:gd name="connsiteX67" fmla="*/ 396875 w 2143125"/>
                    <a:gd name="connsiteY67" fmla="*/ 1016000 h 1406525"/>
                    <a:gd name="connsiteX68" fmla="*/ 358775 w 2143125"/>
                    <a:gd name="connsiteY68" fmla="*/ 1031875 h 1406525"/>
                    <a:gd name="connsiteX69" fmla="*/ 301625 w 2143125"/>
                    <a:gd name="connsiteY69" fmla="*/ 1022350 h 1406525"/>
                    <a:gd name="connsiteX70" fmla="*/ 273050 w 2143125"/>
                    <a:gd name="connsiteY70" fmla="*/ 1006475 h 1406525"/>
                    <a:gd name="connsiteX71" fmla="*/ 222250 w 2143125"/>
                    <a:gd name="connsiteY71" fmla="*/ 984250 h 1406525"/>
                    <a:gd name="connsiteX72" fmla="*/ 187325 w 2143125"/>
                    <a:gd name="connsiteY72" fmla="*/ 962025 h 1406525"/>
                    <a:gd name="connsiteX73" fmla="*/ 152400 w 2143125"/>
                    <a:gd name="connsiteY73" fmla="*/ 936625 h 1406525"/>
                    <a:gd name="connsiteX74" fmla="*/ 104775 w 2143125"/>
                    <a:gd name="connsiteY74" fmla="*/ 885825 h 1406525"/>
                    <a:gd name="connsiteX75" fmla="*/ 57150 w 2143125"/>
                    <a:gd name="connsiteY75" fmla="*/ 822325 h 1406525"/>
                    <a:gd name="connsiteX76" fmla="*/ 0 w 2143125"/>
                    <a:gd name="connsiteY76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2003425 w 2143125"/>
                    <a:gd name="connsiteY7" fmla="*/ 142875 h 1406525"/>
                    <a:gd name="connsiteX8" fmla="*/ 1947748 w 2143125"/>
                    <a:gd name="connsiteY8" fmla="*/ 124503 h 1406525"/>
                    <a:gd name="connsiteX9" fmla="*/ 1875575 w 2143125"/>
                    <a:gd name="connsiteY9" fmla="*/ 249629 h 1406525"/>
                    <a:gd name="connsiteX10" fmla="*/ 1798212 w 2143125"/>
                    <a:gd name="connsiteY10" fmla="*/ 417904 h 1406525"/>
                    <a:gd name="connsiteX11" fmla="*/ 1793875 w 2143125"/>
                    <a:gd name="connsiteY11" fmla="*/ 558800 h 1406525"/>
                    <a:gd name="connsiteX12" fmla="*/ 1781175 w 2143125"/>
                    <a:gd name="connsiteY12" fmla="*/ 590550 h 1406525"/>
                    <a:gd name="connsiteX13" fmla="*/ 1748574 w 2143125"/>
                    <a:gd name="connsiteY13" fmla="*/ 498555 h 1406525"/>
                    <a:gd name="connsiteX14" fmla="*/ 1749425 w 2143125"/>
                    <a:gd name="connsiteY14" fmla="*/ 647700 h 1406525"/>
                    <a:gd name="connsiteX15" fmla="*/ 1739900 w 2143125"/>
                    <a:gd name="connsiteY15" fmla="*/ 673100 h 1406525"/>
                    <a:gd name="connsiteX16" fmla="*/ 1730375 w 2143125"/>
                    <a:gd name="connsiteY16" fmla="*/ 682625 h 1406525"/>
                    <a:gd name="connsiteX17" fmla="*/ 1727200 w 2143125"/>
                    <a:gd name="connsiteY17" fmla="*/ 698500 h 1406525"/>
                    <a:gd name="connsiteX18" fmla="*/ 1671679 w 2143125"/>
                    <a:gd name="connsiteY18" fmla="*/ 628077 h 1406525"/>
                    <a:gd name="connsiteX19" fmla="*/ 1704975 w 2143125"/>
                    <a:gd name="connsiteY19" fmla="*/ 752475 h 1406525"/>
                    <a:gd name="connsiteX20" fmla="*/ 1701800 w 2143125"/>
                    <a:gd name="connsiteY20" fmla="*/ 762000 h 1406525"/>
                    <a:gd name="connsiteX21" fmla="*/ 1695450 w 2143125"/>
                    <a:gd name="connsiteY21" fmla="*/ 774700 h 1406525"/>
                    <a:gd name="connsiteX22" fmla="*/ 1695450 w 2143125"/>
                    <a:gd name="connsiteY22" fmla="*/ 787400 h 1406525"/>
                    <a:gd name="connsiteX23" fmla="*/ 1610659 w 2143125"/>
                    <a:gd name="connsiteY23" fmla="*/ 699201 h 1406525"/>
                    <a:gd name="connsiteX24" fmla="*/ 1641475 w 2143125"/>
                    <a:gd name="connsiteY24" fmla="*/ 885825 h 1406525"/>
                    <a:gd name="connsiteX25" fmla="*/ 1619250 w 2143125"/>
                    <a:gd name="connsiteY25" fmla="*/ 917575 h 1406525"/>
                    <a:gd name="connsiteX26" fmla="*/ 1577975 w 2143125"/>
                    <a:gd name="connsiteY26" fmla="*/ 949325 h 1406525"/>
                    <a:gd name="connsiteX27" fmla="*/ 1543050 w 2143125"/>
                    <a:gd name="connsiteY27" fmla="*/ 958850 h 1406525"/>
                    <a:gd name="connsiteX28" fmla="*/ 1501775 w 2143125"/>
                    <a:gd name="connsiteY28" fmla="*/ 958850 h 1406525"/>
                    <a:gd name="connsiteX29" fmla="*/ 1470025 w 2143125"/>
                    <a:gd name="connsiteY29" fmla="*/ 949325 h 1406525"/>
                    <a:gd name="connsiteX30" fmla="*/ 1447800 w 2143125"/>
                    <a:gd name="connsiteY30" fmla="*/ 904875 h 1406525"/>
                    <a:gd name="connsiteX31" fmla="*/ 1409700 w 2143125"/>
                    <a:gd name="connsiteY31" fmla="*/ 863600 h 1406525"/>
                    <a:gd name="connsiteX32" fmla="*/ 1377950 w 2143125"/>
                    <a:gd name="connsiteY32" fmla="*/ 777875 h 1406525"/>
                    <a:gd name="connsiteX33" fmla="*/ 1362075 w 2143125"/>
                    <a:gd name="connsiteY33" fmla="*/ 736600 h 1406525"/>
                    <a:gd name="connsiteX34" fmla="*/ 1333500 w 2143125"/>
                    <a:gd name="connsiteY34" fmla="*/ 666750 h 1406525"/>
                    <a:gd name="connsiteX35" fmla="*/ 1304925 w 2143125"/>
                    <a:gd name="connsiteY35" fmla="*/ 600075 h 1406525"/>
                    <a:gd name="connsiteX36" fmla="*/ 1260475 w 2143125"/>
                    <a:gd name="connsiteY36" fmla="*/ 517525 h 1406525"/>
                    <a:gd name="connsiteX37" fmla="*/ 1241425 w 2143125"/>
                    <a:gd name="connsiteY37" fmla="*/ 501650 h 1406525"/>
                    <a:gd name="connsiteX38" fmla="*/ 1212850 w 2143125"/>
                    <a:gd name="connsiteY38" fmla="*/ 492125 h 1406525"/>
                    <a:gd name="connsiteX39" fmla="*/ 1158875 w 2143125"/>
                    <a:gd name="connsiteY39" fmla="*/ 508000 h 1406525"/>
                    <a:gd name="connsiteX40" fmla="*/ 1133475 w 2143125"/>
                    <a:gd name="connsiteY40" fmla="*/ 546100 h 1406525"/>
                    <a:gd name="connsiteX41" fmla="*/ 1120775 w 2143125"/>
                    <a:gd name="connsiteY41" fmla="*/ 568325 h 1406525"/>
                    <a:gd name="connsiteX42" fmla="*/ 1111250 w 2143125"/>
                    <a:gd name="connsiteY42" fmla="*/ 600075 h 1406525"/>
                    <a:gd name="connsiteX43" fmla="*/ 1104900 w 2143125"/>
                    <a:gd name="connsiteY43" fmla="*/ 635000 h 1406525"/>
                    <a:gd name="connsiteX44" fmla="*/ 1095375 w 2143125"/>
                    <a:gd name="connsiteY44" fmla="*/ 660400 h 1406525"/>
                    <a:gd name="connsiteX45" fmla="*/ 1092200 w 2143125"/>
                    <a:gd name="connsiteY45" fmla="*/ 673100 h 1406525"/>
                    <a:gd name="connsiteX46" fmla="*/ 1089025 w 2143125"/>
                    <a:gd name="connsiteY46" fmla="*/ 682625 h 1406525"/>
                    <a:gd name="connsiteX47" fmla="*/ 1076325 w 2143125"/>
                    <a:gd name="connsiteY47" fmla="*/ 720725 h 1406525"/>
                    <a:gd name="connsiteX48" fmla="*/ 1035050 w 2143125"/>
                    <a:gd name="connsiteY48" fmla="*/ 822325 h 1406525"/>
                    <a:gd name="connsiteX49" fmla="*/ 996950 w 2143125"/>
                    <a:gd name="connsiteY49" fmla="*/ 933450 h 1406525"/>
                    <a:gd name="connsiteX50" fmla="*/ 965200 w 2143125"/>
                    <a:gd name="connsiteY50" fmla="*/ 974725 h 1406525"/>
                    <a:gd name="connsiteX51" fmla="*/ 930275 w 2143125"/>
                    <a:gd name="connsiteY51" fmla="*/ 1025525 h 1406525"/>
                    <a:gd name="connsiteX52" fmla="*/ 828675 w 2143125"/>
                    <a:gd name="connsiteY52" fmla="*/ 1031875 h 1406525"/>
                    <a:gd name="connsiteX53" fmla="*/ 742950 w 2143125"/>
                    <a:gd name="connsiteY53" fmla="*/ 968375 h 1406525"/>
                    <a:gd name="connsiteX54" fmla="*/ 692150 w 2143125"/>
                    <a:gd name="connsiteY54" fmla="*/ 895350 h 1406525"/>
                    <a:gd name="connsiteX55" fmla="*/ 647700 w 2143125"/>
                    <a:gd name="connsiteY55" fmla="*/ 844550 h 1406525"/>
                    <a:gd name="connsiteX56" fmla="*/ 596900 w 2143125"/>
                    <a:gd name="connsiteY56" fmla="*/ 790575 h 1406525"/>
                    <a:gd name="connsiteX57" fmla="*/ 523875 w 2143125"/>
                    <a:gd name="connsiteY57" fmla="*/ 711200 h 1406525"/>
                    <a:gd name="connsiteX58" fmla="*/ 473075 w 2143125"/>
                    <a:gd name="connsiteY58" fmla="*/ 695325 h 1406525"/>
                    <a:gd name="connsiteX59" fmla="*/ 434975 w 2143125"/>
                    <a:gd name="connsiteY59" fmla="*/ 717550 h 1406525"/>
                    <a:gd name="connsiteX60" fmla="*/ 431800 w 2143125"/>
                    <a:gd name="connsiteY60" fmla="*/ 755650 h 1406525"/>
                    <a:gd name="connsiteX61" fmla="*/ 425450 w 2143125"/>
                    <a:gd name="connsiteY61" fmla="*/ 793750 h 1406525"/>
                    <a:gd name="connsiteX62" fmla="*/ 425450 w 2143125"/>
                    <a:gd name="connsiteY62" fmla="*/ 831850 h 1406525"/>
                    <a:gd name="connsiteX63" fmla="*/ 425450 w 2143125"/>
                    <a:gd name="connsiteY63" fmla="*/ 876300 h 1406525"/>
                    <a:gd name="connsiteX64" fmla="*/ 422275 w 2143125"/>
                    <a:gd name="connsiteY64" fmla="*/ 904875 h 1406525"/>
                    <a:gd name="connsiteX65" fmla="*/ 412750 w 2143125"/>
                    <a:gd name="connsiteY65" fmla="*/ 968375 h 1406525"/>
                    <a:gd name="connsiteX66" fmla="*/ 396875 w 2143125"/>
                    <a:gd name="connsiteY66" fmla="*/ 1016000 h 1406525"/>
                    <a:gd name="connsiteX67" fmla="*/ 358775 w 2143125"/>
                    <a:gd name="connsiteY67" fmla="*/ 1031875 h 1406525"/>
                    <a:gd name="connsiteX68" fmla="*/ 301625 w 2143125"/>
                    <a:gd name="connsiteY68" fmla="*/ 1022350 h 1406525"/>
                    <a:gd name="connsiteX69" fmla="*/ 273050 w 2143125"/>
                    <a:gd name="connsiteY69" fmla="*/ 1006475 h 1406525"/>
                    <a:gd name="connsiteX70" fmla="*/ 222250 w 2143125"/>
                    <a:gd name="connsiteY70" fmla="*/ 984250 h 1406525"/>
                    <a:gd name="connsiteX71" fmla="*/ 187325 w 2143125"/>
                    <a:gd name="connsiteY71" fmla="*/ 962025 h 1406525"/>
                    <a:gd name="connsiteX72" fmla="*/ 152400 w 2143125"/>
                    <a:gd name="connsiteY72" fmla="*/ 936625 h 1406525"/>
                    <a:gd name="connsiteX73" fmla="*/ 104775 w 2143125"/>
                    <a:gd name="connsiteY73" fmla="*/ 885825 h 1406525"/>
                    <a:gd name="connsiteX74" fmla="*/ 57150 w 2143125"/>
                    <a:gd name="connsiteY74" fmla="*/ 822325 h 1406525"/>
                    <a:gd name="connsiteX75" fmla="*/ 0 w 2143125"/>
                    <a:gd name="connsiteY7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1986700 w 2143125"/>
                    <a:gd name="connsiteY7" fmla="*/ 101627 h 1406525"/>
                    <a:gd name="connsiteX8" fmla="*/ 1947748 w 2143125"/>
                    <a:gd name="connsiteY8" fmla="*/ 124503 h 1406525"/>
                    <a:gd name="connsiteX9" fmla="*/ 1875575 w 2143125"/>
                    <a:gd name="connsiteY9" fmla="*/ 249629 h 1406525"/>
                    <a:gd name="connsiteX10" fmla="*/ 1798212 w 2143125"/>
                    <a:gd name="connsiteY10" fmla="*/ 417904 h 1406525"/>
                    <a:gd name="connsiteX11" fmla="*/ 1793875 w 2143125"/>
                    <a:gd name="connsiteY11" fmla="*/ 558800 h 1406525"/>
                    <a:gd name="connsiteX12" fmla="*/ 1781175 w 2143125"/>
                    <a:gd name="connsiteY12" fmla="*/ 590550 h 1406525"/>
                    <a:gd name="connsiteX13" fmla="*/ 1748574 w 2143125"/>
                    <a:gd name="connsiteY13" fmla="*/ 498555 h 1406525"/>
                    <a:gd name="connsiteX14" fmla="*/ 1749425 w 2143125"/>
                    <a:gd name="connsiteY14" fmla="*/ 647700 h 1406525"/>
                    <a:gd name="connsiteX15" fmla="*/ 1739900 w 2143125"/>
                    <a:gd name="connsiteY15" fmla="*/ 673100 h 1406525"/>
                    <a:gd name="connsiteX16" fmla="*/ 1730375 w 2143125"/>
                    <a:gd name="connsiteY16" fmla="*/ 682625 h 1406525"/>
                    <a:gd name="connsiteX17" fmla="*/ 1727200 w 2143125"/>
                    <a:gd name="connsiteY17" fmla="*/ 698500 h 1406525"/>
                    <a:gd name="connsiteX18" fmla="*/ 1671679 w 2143125"/>
                    <a:gd name="connsiteY18" fmla="*/ 628077 h 1406525"/>
                    <a:gd name="connsiteX19" fmla="*/ 1704975 w 2143125"/>
                    <a:gd name="connsiteY19" fmla="*/ 752475 h 1406525"/>
                    <a:gd name="connsiteX20" fmla="*/ 1701800 w 2143125"/>
                    <a:gd name="connsiteY20" fmla="*/ 762000 h 1406525"/>
                    <a:gd name="connsiteX21" fmla="*/ 1695450 w 2143125"/>
                    <a:gd name="connsiteY21" fmla="*/ 774700 h 1406525"/>
                    <a:gd name="connsiteX22" fmla="*/ 1695450 w 2143125"/>
                    <a:gd name="connsiteY22" fmla="*/ 787400 h 1406525"/>
                    <a:gd name="connsiteX23" fmla="*/ 1610659 w 2143125"/>
                    <a:gd name="connsiteY23" fmla="*/ 699201 h 1406525"/>
                    <a:gd name="connsiteX24" fmla="*/ 1641475 w 2143125"/>
                    <a:gd name="connsiteY24" fmla="*/ 885825 h 1406525"/>
                    <a:gd name="connsiteX25" fmla="*/ 1619250 w 2143125"/>
                    <a:gd name="connsiteY25" fmla="*/ 917575 h 1406525"/>
                    <a:gd name="connsiteX26" fmla="*/ 1577975 w 2143125"/>
                    <a:gd name="connsiteY26" fmla="*/ 949325 h 1406525"/>
                    <a:gd name="connsiteX27" fmla="*/ 1543050 w 2143125"/>
                    <a:gd name="connsiteY27" fmla="*/ 958850 h 1406525"/>
                    <a:gd name="connsiteX28" fmla="*/ 1501775 w 2143125"/>
                    <a:gd name="connsiteY28" fmla="*/ 958850 h 1406525"/>
                    <a:gd name="connsiteX29" fmla="*/ 1470025 w 2143125"/>
                    <a:gd name="connsiteY29" fmla="*/ 949325 h 1406525"/>
                    <a:gd name="connsiteX30" fmla="*/ 1447800 w 2143125"/>
                    <a:gd name="connsiteY30" fmla="*/ 904875 h 1406525"/>
                    <a:gd name="connsiteX31" fmla="*/ 1409700 w 2143125"/>
                    <a:gd name="connsiteY31" fmla="*/ 863600 h 1406525"/>
                    <a:gd name="connsiteX32" fmla="*/ 1377950 w 2143125"/>
                    <a:gd name="connsiteY32" fmla="*/ 777875 h 1406525"/>
                    <a:gd name="connsiteX33" fmla="*/ 1362075 w 2143125"/>
                    <a:gd name="connsiteY33" fmla="*/ 736600 h 1406525"/>
                    <a:gd name="connsiteX34" fmla="*/ 1333500 w 2143125"/>
                    <a:gd name="connsiteY34" fmla="*/ 666750 h 1406525"/>
                    <a:gd name="connsiteX35" fmla="*/ 1304925 w 2143125"/>
                    <a:gd name="connsiteY35" fmla="*/ 600075 h 1406525"/>
                    <a:gd name="connsiteX36" fmla="*/ 1260475 w 2143125"/>
                    <a:gd name="connsiteY36" fmla="*/ 517525 h 1406525"/>
                    <a:gd name="connsiteX37" fmla="*/ 1241425 w 2143125"/>
                    <a:gd name="connsiteY37" fmla="*/ 501650 h 1406525"/>
                    <a:gd name="connsiteX38" fmla="*/ 1212850 w 2143125"/>
                    <a:gd name="connsiteY38" fmla="*/ 492125 h 1406525"/>
                    <a:gd name="connsiteX39" fmla="*/ 1158875 w 2143125"/>
                    <a:gd name="connsiteY39" fmla="*/ 508000 h 1406525"/>
                    <a:gd name="connsiteX40" fmla="*/ 1133475 w 2143125"/>
                    <a:gd name="connsiteY40" fmla="*/ 546100 h 1406525"/>
                    <a:gd name="connsiteX41" fmla="*/ 1120775 w 2143125"/>
                    <a:gd name="connsiteY41" fmla="*/ 568325 h 1406525"/>
                    <a:gd name="connsiteX42" fmla="*/ 1111250 w 2143125"/>
                    <a:gd name="connsiteY42" fmla="*/ 600075 h 1406525"/>
                    <a:gd name="connsiteX43" fmla="*/ 1104900 w 2143125"/>
                    <a:gd name="connsiteY43" fmla="*/ 635000 h 1406525"/>
                    <a:gd name="connsiteX44" fmla="*/ 1095375 w 2143125"/>
                    <a:gd name="connsiteY44" fmla="*/ 660400 h 1406525"/>
                    <a:gd name="connsiteX45" fmla="*/ 1092200 w 2143125"/>
                    <a:gd name="connsiteY45" fmla="*/ 673100 h 1406525"/>
                    <a:gd name="connsiteX46" fmla="*/ 1089025 w 2143125"/>
                    <a:gd name="connsiteY46" fmla="*/ 682625 h 1406525"/>
                    <a:gd name="connsiteX47" fmla="*/ 1076325 w 2143125"/>
                    <a:gd name="connsiteY47" fmla="*/ 720725 h 1406525"/>
                    <a:gd name="connsiteX48" fmla="*/ 1035050 w 2143125"/>
                    <a:gd name="connsiteY48" fmla="*/ 822325 h 1406525"/>
                    <a:gd name="connsiteX49" fmla="*/ 996950 w 2143125"/>
                    <a:gd name="connsiteY49" fmla="*/ 933450 h 1406525"/>
                    <a:gd name="connsiteX50" fmla="*/ 965200 w 2143125"/>
                    <a:gd name="connsiteY50" fmla="*/ 974725 h 1406525"/>
                    <a:gd name="connsiteX51" fmla="*/ 930275 w 2143125"/>
                    <a:gd name="connsiteY51" fmla="*/ 1025525 h 1406525"/>
                    <a:gd name="connsiteX52" fmla="*/ 828675 w 2143125"/>
                    <a:gd name="connsiteY52" fmla="*/ 1031875 h 1406525"/>
                    <a:gd name="connsiteX53" fmla="*/ 742950 w 2143125"/>
                    <a:gd name="connsiteY53" fmla="*/ 968375 h 1406525"/>
                    <a:gd name="connsiteX54" fmla="*/ 692150 w 2143125"/>
                    <a:gd name="connsiteY54" fmla="*/ 895350 h 1406525"/>
                    <a:gd name="connsiteX55" fmla="*/ 647700 w 2143125"/>
                    <a:gd name="connsiteY55" fmla="*/ 844550 h 1406525"/>
                    <a:gd name="connsiteX56" fmla="*/ 596900 w 2143125"/>
                    <a:gd name="connsiteY56" fmla="*/ 790575 h 1406525"/>
                    <a:gd name="connsiteX57" fmla="*/ 523875 w 2143125"/>
                    <a:gd name="connsiteY57" fmla="*/ 711200 h 1406525"/>
                    <a:gd name="connsiteX58" fmla="*/ 473075 w 2143125"/>
                    <a:gd name="connsiteY58" fmla="*/ 695325 h 1406525"/>
                    <a:gd name="connsiteX59" fmla="*/ 434975 w 2143125"/>
                    <a:gd name="connsiteY59" fmla="*/ 717550 h 1406525"/>
                    <a:gd name="connsiteX60" fmla="*/ 431800 w 2143125"/>
                    <a:gd name="connsiteY60" fmla="*/ 755650 h 1406525"/>
                    <a:gd name="connsiteX61" fmla="*/ 425450 w 2143125"/>
                    <a:gd name="connsiteY61" fmla="*/ 793750 h 1406525"/>
                    <a:gd name="connsiteX62" fmla="*/ 425450 w 2143125"/>
                    <a:gd name="connsiteY62" fmla="*/ 831850 h 1406525"/>
                    <a:gd name="connsiteX63" fmla="*/ 425450 w 2143125"/>
                    <a:gd name="connsiteY63" fmla="*/ 876300 h 1406525"/>
                    <a:gd name="connsiteX64" fmla="*/ 422275 w 2143125"/>
                    <a:gd name="connsiteY64" fmla="*/ 904875 h 1406525"/>
                    <a:gd name="connsiteX65" fmla="*/ 412750 w 2143125"/>
                    <a:gd name="connsiteY65" fmla="*/ 968375 h 1406525"/>
                    <a:gd name="connsiteX66" fmla="*/ 396875 w 2143125"/>
                    <a:gd name="connsiteY66" fmla="*/ 1016000 h 1406525"/>
                    <a:gd name="connsiteX67" fmla="*/ 358775 w 2143125"/>
                    <a:gd name="connsiteY67" fmla="*/ 1031875 h 1406525"/>
                    <a:gd name="connsiteX68" fmla="*/ 301625 w 2143125"/>
                    <a:gd name="connsiteY68" fmla="*/ 1022350 h 1406525"/>
                    <a:gd name="connsiteX69" fmla="*/ 273050 w 2143125"/>
                    <a:gd name="connsiteY69" fmla="*/ 1006475 h 1406525"/>
                    <a:gd name="connsiteX70" fmla="*/ 222250 w 2143125"/>
                    <a:gd name="connsiteY70" fmla="*/ 984250 h 1406525"/>
                    <a:gd name="connsiteX71" fmla="*/ 187325 w 2143125"/>
                    <a:gd name="connsiteY71" fmla="*/ 962025 h 1406525"/>
                    <a:gd name="connsiteX72" fmla="*/ 152400 w 2143125"/>
                    <a:gd name="connsiteY72" fmla="*/ 936625 h 1406525"/>
                    <a:gd name="connsiteX73" fmla="*/ 104775 w 2143125"/>
                    <a:gd name="connsiteY73" fmla="*/ 885825 h 1406525"/>
                    <a:gd name="connsiteX74" fmla="*/ 57150 w 2143125"/>
                    <a:gd name="connsiteY74" fmla="*/ 822325 h 1406525"/>
                    <a:gd name="connsiteX75" fmla="*/ 0 w 2143125"/>
                    <a:gd name="connsiteY7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12950 w 2143125"/>
                    <a:gd name="connsiteY6" fmla="*/ 117475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93875 w 2143125"/>
                    <a:gd name="connsiteY10" fmla="*/ 558800 h 1406525"/>
                    <a:gd name="connsiteX11" fmla="*/ 1781175 w 2143125"/>
                    <a:gd name="connsiteY11" fmla="*/ 590550 h 1406525"/>
                    <a:gd name="connsiteX12" fmla="*/ 1748574 w 2143125"/>
                    <a:gd name="connsiteY12" fmla="*/ 498555 h 1406525"/>
                    <a:gd name="connsiteX13" fmla="*/ 1749425 w 2143125"/>
                    <a:gd name="connsiteY13" fmla="*/ 647700 h 1406525"/>
                    <a:gd name="connsiteX14" fmla="*/ 1739900 w 2143125"/>
                    <a:gd name="connsiteY14" fmla="*/ 673100 h 1406525"/>
                    <a:gd name="connsiteX15" fmla="*/ 1730375 w 2143125"/>
                    <a:gd name="connsiteY15" fmla="*/ 682625 h 1406525"/>
                    <a:gd name="connsiteX16" fmla="*/ 1727200 w 2143125"/>
                    <a:gd name="connsiteY16" fmla="*/ 698500 h 1406525"/>
                    <a:gd name="connsiteX17" fmla="*/ 1671679 w 2143125"/>
                    <a:gd name="connsiteY17" fmla="*/ 628077 h 1406525"/>
                    <a:gd name="connsiteX18" fmla="*/ 1704975 w 2143125"/>
                    <a:gd name="connsiteY18" fmla="*/ 752475 h 1406525"/>
                    <a:gd name="connsiteX19" fmla="*/ 1701800 w 2143125"/>
                    <a:gd name="connsiteY19" fmla="*/ 762000 h 1406525"/>
                    <a:gd name="connsiteX20" fmla="*/ 1695450 w 2143125"/>
                    <a:gd name="connsiteY20" fmla="*/ 774700 h 1406525"/>
                    <a:gd name="connsiteX21" fmla="*/ 1695450 w 2143125"/>
                    <a:gd name="connsiteY21" fmla="*/ 787400 h 1406525"/>
                    <a:gd name="connsiteX22" fmla="*/ 1610659 w 2143125"/>
                    <a:gd name="connsiteY22" fmla="*/ 699201 h 1406525"/>
                    <a:gd name="connsiteX23" fmla="*/ 1641475 w 2143125"/>
                    <a:gd name="connsiteY23" fmla="*/ 885825 h 1406525"/>
                    <a:gd name="connsiteX24" fmla="*/ 1619250 w 2143125"/>
                    <a:gd name="connsiteY24" fmla="*/ 917575 h 1406525"/>
                    <a:gd name="connsiteX25" fmla="*/ 1577975 w 2143125"/>
                    <a:gd name="connsiteY25" fmla="*/ 949325 h 1406525"/>
                    <a:gd name="connsiteX26" fmla="*/ 1543050 w 2143125"/>
                    <a:gd name="connsiteY26" fmla="*/ 958850 h 1406525"/>
                    <a:gd name="connsiteX27" fmla="*/ 1501775 w 2143125"/>
                    <a:gd name="connsiteY27" fmla="*/ 958850 h 1406525"/>
                    <a:gd name="connsiteX28" fmla="*/ 1470025 w 2143125"/>
                    <a:gd name="connsiteY28" fmla="*/ 949325 h 1406525"/>
                    <a:gd name="connsiteX29" fmla="*/ 1447800 w 2143125"/>
                    <a:gd name="connsiteY29" fmla="*/ 904875 h 1406525"/>
                    <a:gd name="connsiteX30" fmla="*/ 1409700 w 2143125"/>
                    <a:gd name="connsiteY30" fmla="*/ 863600 h 1406525"/>
                    <a:gd name="connsiteX31" fmla="*/ 1377950 w 2143125"/>
                    <a:gd name="connsiteY31" fmla="*/ 777875 h 1406525"/>
                    <a:gd name="connsiteX32" fmla="*/ 1362075 w 2143125"/>
                    <a:gd name="connsiteY32" fmla="*/ 736600 h 1406525"/>
                    <a:gd name="connsiteX33" fmla="*/ 1333500 w 2143125"/>
                    <a:gd name="connsiteY33" fmla="*/ 666750 h 1406525"/>
                    <a:gd name="connsiteX34" fmla="*/ 1304925 w 2143125"/>
                    <a:gd name="connsiteY34" fmla="*/ 600075 h 1406525"/>
                    <a:gd name="connsiteX35" fmla="*/ 1260475 w 2143125"/>
                    <a:gd name="connsiteY35" fmla="*/ 517525 h 1406525"/>
                    <a:gd name="connsiteX36" fmla="*/ 1241425 w 2143125"/>
                    <a:gd name="connsiteY36" fmla="*/ 501650 h 1406525"/>
                    <a:gd name="connsiteX37" fmla="*/ 1212850 w 2143125"/>
                    <a:gd name="connsiteY37" fmla="*/ 492125 h 1406525"/>
                    <a:gd name="connsiteX38" fmla="*/ 1158875 w 2143125"/>
                    <a:gd name="connsiteY38" fmla="*/ 508000 h 1406525"/>
                    <a:gd name="connsiteX39" fmla="*/ 1133475 w 2143125"/>
                    <a:gd name="connsiteY39" fmla="*/ 546100 h 1406525"/>
                    <a:gd name="connsiteX40" fmla="*/ 1120775 w 2143125"/>
                    <a:gd name="connsiteY40" fmla="*/ 568325 h 1406525"/>
                    <a:gd name="connsiteX41" fmla="*/ 1111250 w 2143125"/>
                    <a:gd name="connsiteY41" fmla="*/ 600075 h 1406525"/>
                    <a:gd name="connsiteX42" fmla="*/ 1104900 w 2143125"/>
                    <a:gd name="connsiteY42" fmla="*/ 635000 h 1406525"/>
                    <a:gd name="connsiteX43" fmla="*/ 1095375 w 2143125"/>
                    <a:gd name="connsiteY43" fmla="*/ 660400 h 1406525"/>
                    <a:gd name="connsiteX44" fmla="*/ 1092200 w 2143125"/>
                    <a:gd name="connsiteY44" fmla="*/ 673100 h 1406525"/>
                    <a:gd name="connsiteX45" fmla="*/ 1089025 w 2143125"/>
                    <a:gd name="connsiteY45" fmla="*/ 682625 h 1406525"/>
                    <a:gd name="connsiteX46" fmla="*/ 1076325 w 2143125"/>
                    <a:gd name="connsiteY46" fmla="*/ 720725 h 1406525"/>
                    <a:gd name="connsiteX47" fmla="*/ 1035050 w 2143125"/>
                    <a:gd name="connsiteY47" fmla="*/ 822325 h 1406525"/>
                    <a:gd name="connsiteX48" fmla="*/ 996950 w 2143125"/>
                    <a:gd name="connsiteY48" fmla="*/ 933450 h 1406525"/>
                    <a:gd name="connsiteX49" fmla="*/ 965200 w 2143125"/>
                    <a:gd name="connsiteY49" fmla="*/ 974725 h 1406525"/>
                    <a:gd name="connsiteX50" fmla="*/ 930275 w 2143125"/>
                    <a:gd name="connsiteY50" fmla="*/ 1025525 h 1406525"/>
                    <a:gd name="connsiteX51" fmla="*/ 828675 w 2143125"/>
                    <a:gd name="connsiteY51" fmla="*/ 1031875 h 1406525"/>
                    <a:gd name="connsiteX52" fmla="*/ 742950 w 2143125"/>
                    <a:gd name="connsiteY52" fmla="*/ 968375 h 1406525"/>
                    <a:gd name="connsiteX53" fmla="*/ 692150 w 2143125"/>
                    <a:gd name="connsiteY53" fmla="*/ 895350 h 1406525"/>
                    <a:gd name="connsiteX54" fmla="*/ 647700 w 2143125"/>
                    <a:gd name="connsiteY54" fmla="*/ 844550 h 1406525"/>
                    <a:gd name="connsiteX55" fmla="*/ 596900 w 2143125"/>
                    <a:gd name="connsiteY55" fmla="*/ 790575 h 1406525"/>
                    <a:gd name="connsiteX56" fmla="*/ 523875 w 2143125"/>
                    <a:gd name="connsiteY56" fmla="*/ 711200 h 1406525"/>
                    <a:gd name="connsiteX57" fmla="*/ 473075 w 2143125"/>
                    <a:gd name="connsiteY57" fmla="*/ 695325 h 1406525"/>
                    <a:gd name="connsiteX58" fmla="*/ 434975 w 2143125"/>
                    <a:gd name="connsiteY58" fmla="*/ 717550 h 1406525"/>
                    <a:gd name="connsiteX59" fmla="*/ 431800 w 2143125"/>
                    <a:gd name="connsiteY59" fmla="*/ 755650 h 1406525"/>
                    <a:gd name="connsiteX60" fmla="*/ 425450 w 2143125"/>
                    <a:gd name="connsiteY60" fmla="*/ 793750 h 1406525"/>
                    <a:gd name="connsiteX61" fmla="*/ 425450 w 2143125"/>
                    <a:gd name="connsiteY61" fmla="*/ 831850 h 1406525"/>
                    <a:gd name="connsiteX62" fmla="*/ 425450 w 2143125"/>
                    <a:gd name="connsiteY62" fmla="*/ 876300 h 1406525"/>
                    <a:gd name="connsiteX63" fmla="*/ 422275 w 2143125"/>
                    <a:gd name="connsiteY63" fmla="*/ 904875 h 1406525"/>
                    <a:gd name="connsiteX64" fmla="*/ 412750 w 2143125"/>
                    <a:gd name="connsiteY64" fmla="*/ 968375 h 1406525"/>
                    <a:gd name="connsiteX65" fmla="*/ 396875 w 2143125"/>
                    <a:gd name="connsiteY65" fmla="*/ 1016000 h 1406525"/>
                    <a:gd name="connsiteX66" fmla="*/ 358775 w 2143125"/>
                    <a:gd name="connsiteY66" fmla="*/ 1031875 h 1406525"/>
                    <a:gd name="connsiteX67" fmla="*/ 301625 w 2143125"/>
                    <a:gd name="connsiteY67" fmla="*/ 1022350 h 1406525"/>
                    <a:gd name="connsiteX68" fmla="*/ 273050 w 2143125"/>
                    <a:gd name="connsiteY68" fmla="*/ 1006475 h 1406525"/>
                    <a:gd name="connsiteX69" fmla="*/ 222250 w 2143125"/>
                    <a:gd name="connsiteY69" fmla="*/ 984250 h 1406525"/>
                    <a:gd name="connsiteX70" fmla="*/ 187325 w 2143125"/>
                    <a:gd name="connsiteY70" fmla="*/ 962025 h 1406525"/>
                    <a:gd name="connsiteX71" fmla="*/ 152400 w 2143125"/>
                    <a:gd name="connsiteY71" fmla="*/ 936625 h 1406525"/>
                    <a:gd name="connsiteX72" fmla="*/ 104775 w 2143125"/>
                    <a:gd name="connsiteY72" fmla="*/ 885825 h 1406525"/>
                    <a:gd name="connsiteX73" fmla="*/ 57150 w 2143125"/>
                    <a:gd name="connsiteY73" fmla="*/ 822325 h 1406525"/>
                    <a:gd name="connsiteX74" fmla="*/ 0 w 2143125"/>
                    <a:gd name="connsiteY74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93875 w 2143125"/>
                    <a:gd name="connsiteY10" fmla="*/ 558800 h 1406525"/>
                    <a:gd name="connsiteX11" fmla="*/ 1781175 w 2143125"/>
                    <a:gd name="connsiteY11" fmla="*/ 590550 h 1406525"/>
                    <a:gd name="connsiteX12" fmla="*/ 1748574 w 2143125"/>
                    <a:gd name="connsiteY12" fmla="*/ 498555 h 1406525"/>
                    <a:gd name="connsiteX13" fmla="*/ 1749425 w 2143125"/>
                    <a:gd name="connsiteY13" fmla="*/ 647700 h 1406525"/>
                    <a:gd name="connsiteX14" fmla="*/ 1739900 w 2143125"/>
                    <a:gd name="connsiteY14" fmla="*/ 673100 h 1406525"/>
                    <a:gd name="connsiteX15" fmla="*/ 1730375 w 2143125"/>
                    <a:gd name="connsiteY15" fmla="*/ 682625 h 1406525"/>
                    <a:gd name="connsiteX16" fmla="*/ 1727200 w 2143125"/>
                    <a:gd name="connsiteY16" fmla="*/ 698500 h 1406525"/>
                    <a:gd name="connsiteX17" fmla="*/ 1671679 w 2143125"/>
                    <a:gd name="connsiteY17" fmla="*/ 628077 h 1406525"/>
                    <a:gd name="connsiteX18" fmla="*/ 1704975 w 2143125"/>
                    <a:gd name="connsiteY18" fmla="*/ 752475 h 1406525"/>
                    <a:gd name="connsiteX19" fmla="*/ 1701800 w 2143125"/>
                    <a:gd name="connsiteY19" fmla="*/ 762000 h 1406525"/>
                    <a:gd name="connsiteX20" fmla="*/ 1695450 w 2143125"/>
                    <a:gd name="connsiteY20" fmla="*/ 774700 h 1406525"/>
                    <a:gd name="connsiteX21" fmla="*/ 1695450 w 2143125"/>
                    <a:gd name="connsiteY21" fmla="*/ 787400 h 1406525"/>
                    <a:gd name="connsiteX22" fmla="*/ 1610659 w 2143125"/>
                    <a:gd name="connsiteY22" fmla="*/ 699201 h 1406525"/>
                    <a:gd name="connsiteX23" fmla="*/ 1641475 w 2143125"/>
                    <a:gd name="connsiteY23" fmla="*/ 885825 h 1406525"/>
                    <a:gd name="connsiteX24" fmla="*/ 1619250 w 2143125"/>
                    <a:gd name="connsiteY24" fmla="*/ 917575 h 1406525"/>
                    <a:gd name="connsiteX25" fmla="*/ 1577975 w 2143125"/>
                    <a:gd name="connsiteY25" fmla="*/ 949325 h 1406525"/>
                    <a:gd name="connsiteX26" fmla="*/ 1543050 w 2143125"/>
                    <a:gd name="connsiteY26" fmla="*/ 958850 h 1406525"/>
                    <a:gd name="connsiteX27" fmla="*/ 1501775 w 2143125"/>
                    <a:gd name="connsiteY27" fmla="*/ 958850 h 1406525"/>
                    <a:gd name="connsiteX28" fmla="*/ 1470025 w 2143125"/>
                    <a:gd name="connsiteY28" fmla="*/ 949325 h 1406525"/>
                    <a:gd name="connsiteX29" fmla="*/ 1447800 w 2143125"/>
                    <a:gd name="connsiteY29" fmla="*/ 904875 h 1406525"/>
                    <a:gd name="connsiteX30" fmla="*/ 1409700 w 2143125"/>
                    <a:gd name="connsiteY30" fmla="*/ 863600 h 1406525"/>
                    <a:gd name="connsiteX31" fmla="*/ 1377950 w 2143125"/>
                    <a:gd name="connsiteY31" fmla="*/ 777875 h 1406525"/>
                    <a:gd name="connsiteX32" fmla="*/ 1362075 w 2143125"/>
                    <a:gd name="connsiteY32" fmla="*/ 736600 h 1406525"/>
                    <a:gd name="connsiteX33" fmla="*/ 1333500 w 2143125"/>
                    <a:gd name="connsiteY33" fmla="*/ 666750 h 1406525"/>
                    <a:gd name="connsiteX34" fmla="*/ 1304925 w 2143125"/>
                    <a:gd name="connsiteY34" fmla="*/ 600075 h 1406525"/>
                    <a:gd name="connsiteX35" fmla="*/ 1260475 w 2143125"/>
                    <a:gd name="connsiteY35" fmla="*/ 517525 h 1406525"/>
                    <a:gd name="connsiteX36" fmla="*/ 1241425 w 2143125"/>
                    <a:gd name="connsiteY36" fmla="*/ 501650 h 1406525"/>
                    <a:gd name="connsiteX37" fmla="*/ 1212850 w 2143125"/>
                    <a:gd name="connsiteY37" fmla="*/ 492125 h 1406525"/>
                    <a:gd name="connsiteX38" fmla="*/ 1158875 w 2143125"/>
                    <a:gd name="connsiteY38" fmla="*/ 508000 h 1406525"/>
                    <a:gd name="connsiteX39" fmla="*/ 1133475 w 2143125"/>
                    <a:gd name="connsiteY39" fmla="*/ 546100 h 1406525"/>
                    <a:gd name="connsiteX40" fmla="*/ 1120775 w 2143125"/>
                    <a:gd name="connsiteY40" fmla="*/ 568325 h 1406525"/>
                    <a:gd name="connsiteX41" fmla="*/ 1111250 w 2143125"/>
                    <a:gd name="connsiteY41" fmla="*/ 600075 h 1406525"/>
                    <a:gd name="connsiteX42" fmla="*/ 1104900 w 2143125"/>
                    <a:gd name="connsiteY42" fmla="*/ 635000 h 1406525"/>
                    <a:gd name="connsiteX43" fmla="*/ 1095375 w 2143125"/>
                    <a:gd name="connsiteY43" fmla="*/ 660400 h 1406525"/>
                    <a:gd name="connsiteX44" fmla="*/ 1092200 w 2143125"/>
                    <a:gd name="connsiteY44" fmla="*/ 673100 h 1406525"/>
                    <a:gd name="connsiteX45" fmla="*/ 1089025 w 2143125"/>
                    <a:gd name="connsiteY45" fmla="*/ 682625 h 1406525"/>
                    <a:gd name="connsiteX46" fmla="*/ 1076325 w 2143125"/>
                    <a:gd name="connsiteY46" fmla="*/ 720725 h 1406525"/>
                    <a:gd name="connsiteX47" fmla="*/ 1035050 w 2143125"/>
                    <a:gd name="connsiteY47" fmla="*/ 822325 h 1406525"/>
                    <a:gd name="connsiteX48" fmla="*/ 996950 w 2143125"/>
                    <a:gd name="connsiteY48" fmla="*/ 933450 h 1406525"/>
                    <a:gd name="connsiteX49" fmla="*/ 965200 w 2143125"/>
                    <a:gd name="connsiteY49" fmla="*/ 974725 h 1406525"/>
                    <a:gd name="connsiteX50" fmla="*/ 930275 w 2143125"/>
                    <a:gd name="connsiteY50" fmla="*/ 1025525 h 1406525"/>
                    <a:gd name="connsiteX51" fmla="*/ 828675 w 2143125"/>
                    <a:gd name="connsiteY51" fmla="*/ 1031875 h 1406525"/>
                    <a:gd name="connsiteX52" fmla="*/ 742950 w 2143125"/>
                    <a:gd name="connsiteY52" fmla="*/ 968375 h 1406525"/>
                    <a:gd name="connsiteX53" fmla="*/ 692150 w 2143125"/>
                    <a:gd name="connsiteY53" fmla="*/ 895350 h 1406525"/>
                    <a:gd name="connsiteX54" fmla="*/ 647700 w 2143125"/>
                    <a:gd name="connsiteY54" fmla="*/ 844550 h 1406525"/>
                    <a:gd name="connsiteX55" fmla="*/ 596900 w 2143125"/>
                    <a:gd name="connsiteY55" fmla="*/ 790575 h 1406525"/>
                    <a:gd name="connsiteX56" fmla="*/ 523875 w 2143125"/>
                    <a:gd name="connsiteY56" fmla="*/ 711200 h 1406525"/>
                    <a:gd name="connsiteX57" fmla="*/ 473075 w 2143125"/>
                    <a:gd name="connsiteY57" fmla="*/ 695325 h 1406525"/>
                    <a:gd name="connsiteX58" fmla="*/ 434975 w 2143125"/>
                    <a:gd name="connsiteY58" fmla="*/ 717550 h 1406525"/>
                    <a:gd name="connsiteX59" fmla="*/ 431800 w 2143125"/>
                    <a:gd name="connsiteY59" fmla="*/ 755650 h 1406525"/>
                    <a:gd name="connsiteX60" fmla="*/ 425450 w 2143125"/>
                    <a:gd name="connsiteY60" fmla="*/ 793750 h 1406525"/>
                    <a:gd name="connsiteX61" fmla="*/ 425450 w 2143125"/>
                    <a:gd name="connsiteY61" fmla="*/ 831850 h 1406525"/>
                    <a:gd name="connsiteX62" fmla="*/ 425450 w 2143125"/>
                    <a:gd name="connsiteY62" fmla="*/ 876300 h 1406525"/>
                    <a:gd name="connsiteX63" fmla="*/ 422275 w 2143125"/>
                    <a:gd name="connsiteY63" fmla="*/ 904875 h 1406525"/>
                    <a:gd name="connsiteX64" fmla="*/ 412750 w 2143125"/>
                    <a:gd name="connsiteY64" fmla="*/ 968375 h 1406525"/>
                    <a:gd name="connsiteX65" fmla="*/ 396875 w 2143125"/>
                    <a:gd name="connsiteY65" fmla="*/ 1016000 h 1406525"/>
                    <a:gd name="connsiteX66" fmla="*/ 358775 w 2143125"/>
                    <a:gd name="connsiteY66" fmla="*/ 1031875 h 1406525"/>
                    <a:gd name="connsiteX67" fmla="*/ 301625 w 2143125"/>
                    <a:gd name="connsiteY67" fmla="*/ 1022350 h 1406525"/>
                    <a:gd name="connsiteX68" fmla="*/ 273050 w 2143125"/>
                    <a:gd name="connsiteY68" fmla="*/ 1006475 h 1406525"/>
                    <a:gd name="connsiteX69" fmla="*/ 222250 w 2143125"/>
                    <a:gd name="connsiteY69" fmla="*/ 984250 h 1406525"/>
                    <a:gd name="connsiteX70" fmla="*/ 187325 w 2143125"/>
                    <a:gd name="connsiteY70" fmla="*/ 962025 h 1406525"/>
                    <a:gd name="connsiteX71" fmla="*/ 152400 w 2143125"/>
                    <a:gd name="connsiteY71" fmla="*/ 936625 h 1406525"/>
                    <a:gd name="connsiteX72" fmla="*/ 104775 w 2143125"/>
                    <a:gd name="connsiteY72" fmla="*/ 885825 h 1406525"/>
                    <a:gd name="connsiteX73" fmla="*/ 57150 w 2143125"/>
                    <a:gd name="connsiteY73" fmla="*/ 822325 h 1406525"/>
                    <a:gd name="connsiteX74" fmla="*/ 0 w 2143125"/>
                    <a:gd name="connsiteY74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93875 w 2143125"/>
                    <a:gd name="connsiteY10" fmla="*/ 558800 h 1406525"/>
                    <a:gd name="connsiteX11" fmla="*/ 1748574 w 2143125"/>
                    <a:gd name="connsiteY11" fmla="*/ 498555 h 1406525"/>
                    <a:gd name="connsiteX12" fmla="*/ 1749425 w 2143125"/>
                    <a:gd name="connsiteY12" fmla="*/ 647700 h 1406525"/>
                    <a:gd name="connsiteX13" fmla="*/ 1739900 w 2143125"/>
                    <a:gd name="connsiteY13" fmla="*/ 673100 h 1406525"/>
                    <a:gd name="connsiteX14" fmla="*/ 1730375 w 2143125"/>
                    <a:gd name="connsiteY14" fmla="*/ 682625 h 1406525"/>
                    <a:gd name="connsiteX15" fmla="*/ 1727200 w 2143125"/>
                    <a:gd name="connsiteY15" fmla="*/ 698500 h 1406525"/>
                    <a:gd name="connsiteX16" fmla="*/ 1671679 w 2143125"/>
                    <a:gd name="connsiteY16" fmla="*/ 628077 h 1406525"/>
                    <a:gd name="connsiteX17" fmla="*/ 1704975 w 2143125"/>
                    <a:gd name="connsiteY17" fmla="*/ 752475 h 1406525"/>
                    <a:gd name="connsiteX18" fmla="*/ 1701800 w 2143125"/>
                    <a:gd name="connsiteY18" fmla="*/ 762000 h 1406525"/>
                    <a:gd name="connsiteX19" fmla="*/ 1695450 w 2143125"/>
                    <a:gd name="connsiteY19" fmla="*/ 774700 h 1406525"/>
                    <a:gd name="connsiteX20" fmla="*/ 1695450 w 2143125"/>
                    <a:gd name="connsiteY20" fmla="*/ 787400 h 1406525"/>
                    <a:gd name="connsiteX21" fmla="*/ 1610659 w 2143125"/>
                    <a:gd name="connsiteY21" fmla="*/ 699201 h 1406525"/>
                    <a:gd name="connsiteX22" fmla="*/ 1641475 w 2143125"/>
                    <a:gd name="connsiteY22" fmla="*/ 885825 h 1406525"/>
                    <a:gd name="connsiteX23" fmla="*/ 1619250 w 2143125"/>
                    <a:gd name="connsiteY23" fmla="*/ 917575 h 1406525"/>
                    <a:gd name="connsiteX24" fmla="*/ 1577975 w 2143125"/>
                    <a:gd name="connsiteY24" fmla="*/ 949325 h 1406525"/>
                    <a:gd name="connsiteX25" fmla="*/ 1543050 w 2143125"/>
                    <a:gd name="connsiteY25" fmla="*/ 958850 h 1406525"/>
                    <a:gd name="connsiteX26" fmla="*/ 1501775 w 2143125"/>
                    <a:gd name="connsiteY26" fmla="*/ 958850 h 1406525"/>
                    <a:gd name="connsiteX27" fmla="*/ 1470025 w 2143125"/>
                    <a:gd name="connsiteY27" fmla="*/ 949325 h 1406525"/>
                    <a:gd name="connsiteX28" fmla="*/ 1447800 w 2143125"/>
                    <a:gd name="connsiteY28" fmla="*/ 904875 h 1406525"/>
                    <a:gd name="connsiteX29" fmla="*/ 1409700 w 2143125"/>
                    <a:gd name="connsiteY29" fmla="*/ 863600 h 1406525"/>
                    <a:gd name="connsiteX30" fmla="*/ 1377950 w 2143125"/>
                    <a:gd name="connsiteY30" fmla="*/ 777875 h 1406525"/>
                    <a:gd name="connsiteX31" fmla="*/ 1362075 w 2143125"/>
                    <a:gd name="connsiteY31" fmla="*/ 736600 h 1406525"/>
                    <a:gd name="connsiteX32" fmla="*/ 1333500 w 2143125"/>
                    <a:gd name="connsiteY32" fmla="*/ 666750 h 1406525"/>
                    <a:gd name="connsiteX33" fmla="*/ 1304925 w 2143125"/>
                    <a:gd name="connsiteY33" fmla="*/ 600075 h 1406525"/>
                    <a:gd name="connsiteX34" fmla="*/ 1260475 w 2143125"/>
                    <a:gd name="connsiteY34" fmla="*/ 517525 h 1406525"/>
                    <a:gd name="connsiteX35" fmla="*/ 1241425 w 2143125"/>
                    <a:gd name="connsiteY35" fmla="*/ 501650 h 1406525"/>
                    <a:gd name="connsiteX36" fmla="*/ 1212850 w 2143125"/>
                    <a:gd name="connsiteY36" fmla="*/ 492125 h 1406525"/>
                    <a:gd name="connsiteX37" fmla="*/ 1158875 w 2143125"/>
                    <a:gd name="connsiteY37" fmla="*/ 508000 h 1406525"/>
                    <a:gd name="connsiteX38" fmla="*/ 1133475 w 2143125"/>
                    <a:gd name="connsiteY38" fmla="*/ 546100 h 1406525"/>
                    <a:gd name="connsiteX39" fmla="*/ 1120775 w 2143125"/>
                    <a:gd name="connsiteY39" fmla="*/ 568325 h 1406525"/>
                    <a:gd name="connsiteX40" fmla="*/ 1111250 w 2143125"/>
                    <a:gd name="connsiteY40" fmla="*/ 600075 h 1406525"/>
                    <a:gd name="connsiteX41" fmla="*/ 1104900 w 2143125"/>
                    <a:gd name="connsiteY41" fmla="*/ 635000 h 1406525"/>
                    <a:gd name="connsiteX42" fmla="*/ 1095375 w 2143125"/>
                    <a:gd name="connsiteY42" fmla="*/ 660400 h 1406525"/>
                    <a:gd name="connsiteX43" fmla="*/ 1092200 w 2143125"/>
                    <a:gd name="connsiteY43" fmla="*/ 673100 h 1406525"/>
                    <a:gd name="connsiteX44" fmla="*/ 1089025 w 2143125"/>
                    <a:gd name="connsiteY44" fmla="*/ 682625 h 1406525"/>
                    <a:gd name="connsiteX45" fmla="*/ 1076325 w 2143125"/>
                    <a:gd name="connsiteY45" fmla="*/ 720725 h 1406525"/>
                    <a:gd name="connsiteX46" fmla="*/ 1035050 w 2143125"/>
                    <a:gd name="connsiteY46" fmla="*/ 822325 h 1406525"/>
                    <a:gd name="connsiteX47" fmla="*/ 996950 w 2143125"/>
                    <a:gd name="connsiteY47" fmla="*/ 933450 h 1406525"/>
                    <a:gd name="connsiteX48" fmla="*/ 965200 w 2143125"/>
                    <a:gd name="connsiteY48" fmla="*/ 974725 h 1406525"/>
                    <a:gd name="connsiteX49" fmla="*/ 930275 w 2143125"/>
                    <a:gd name="connsiteY49" fmla="*/ 1025525 h 1406525"/>
                    <a:gd name="connsiteX50" fmla="*/ 828675 w 2143125"/>
                    <a:gd name="connsiteY50" fmla="*/ 1031875 h 1406525"/>
                    <a:gd name="connsiteX51" fmla="*/ 742950 w 2143125"/>
                    <a:gd name="connsiteY51" fmla="*/ 968375 h 1406525"/>
                    <a:gd name="connsiteX52" fmla="*/ 692150 w 2143125"/>
                    <a:gd name="connsiteY52" fmla="*/ 895350 h 1406525"/>
                    <a:gd name="connsiteX53" fmla="*/ 647700 w 2143125"/>
                    <a:gd name="connsiteY53" fmla="*/ 844550 h 1406525"/>
                    <a:gd name="connsiteX54" fmla="*/ 596900 w 2143125"/>
                    <a:gd name="connsiteY54" fmla="*/ 790575 h 1406525"/>
                    <a:gd name="connsiteX55" fmla="*/ 523875 w 2143125"/>
                    <a:gd name="connsiteY55" fmla="*/ 711200 h 1406525"/>
                    <a:gd name="connsiteX56" fmla="*/ 473075 w 2143125"/>
                    <a:gd name="connsiteY56" fmla="*/ 695325 h 1406525"/>
                    <a:gd name="connsiteX57" fmla="*/ 434975 w 2143125"/>
                    <a:gd name="connsiteY57" fmla="*/ 717550 h 1406525"/>
                    <a:gd name="connsiteX58" fmla="*/ 431800 w 2143125"/>
                    <a:gd name="connsiteY58" fmla="*/ 755650 h 1406525"/>
                    <a:gd name="connsiteX59" fmla="*/ 425450 w 2143125"/>
                    <a:gd name="connsiteY59" fmla="*/ 793750 h 1406525"/>
                    <a:gd name="connsiteX60" fmla="*/ 425450 w 2143125"/>
                    <a:gd name="connsiteY60" fmla="*/ 831850 h 1406525"/>
                    <a:gd name="connsiteX61" fmla="*/ 425450 w 2143125"/>
                    <a:gd name="connsiteY61" fmla="*/ 876300 h 1406525"/>
                    <a:gd name="connsiteX62" fmla="*/ 422275 w 2143125"/>
                    <a:gd name="connsiteY62" fmla="*/ 904875 h 1406525"/>
                    <a:gd name="connsiteX63" fmla="*/ 412750 w 2143125"/>
                    <a:gd name="connsiteY63" fmla="*/ 968375 h 1406525"/>
                    <a:gd name="connsiteX64" fmla="*/ 396875 w 2143125"/>
                    <a:gd name="connsiteY64" fmla="*/ 1016000 h 1406525"/>
                    <a:gd name="connsiteX65" fmla="*/ 358775 w 2143125"/>
                    <a:gd name="connsiteY65" fmla="*/ 1031875 h 1406525"/>
                    <a:gd name="connsiteX66" fmla="*/ 301625 w 2143125"/>
                    <a:gd name="connsiteY66" fmla="*/ 1022350 h 1406525"/>
                    <a:gd name="connsiteX67" fmla="*/ 273050 w 2143125"/>
                    <a:gd name="connsiteY67" fmla="*/ 1006475 h 1406525"/>
                    <a:gd name="connsiteX68" fmla="*/ 222250 w 2143125"/>
                    <a:gd name="connsiteY68" fmla="*/ 984250 h 1406525"/>
                    <a:gd name="connsiteX69" fmla="*/ 187325 w 2143125"/>
                    <a:gd name="connsiteY69" fmla="*/ 962025 h 1406525"/>
                    <a:gd name="connsiteX70" fmla="*/ 152400 w 2143125"/>
                    <a:gd name="connsiteY70" fmla="*/ 936625 h 1406525"/>
                    <a:gd name="connsiteX71" fmla="*/ 104775 w 2143125"/>
                    <a:gd name="connsiteY71" fmla="*/ 885825 h 1406525"/>
                    <a:gd name="connsiteX72" fmla="*/ 57150 w 2143125"/>
                    <a:gd name="connsiteY72" fmla="*/ 822325 h 1406525"/>
                    <a:gd name="connsiteX73" fmla="*/ 0 w 2143125"/>
                    <a:gd name="connsiteY73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49425 w 2143125"/>
                    <a:gd name="connsiteY11" fmla="*/ 647700 h 1406525"/>
                    <a:gd name="connsiteX12" fmla="*/ 1739900 w 2143125"/>
                    <a:gd name="connsiteY12" fmla="*/ 673100 h 1406525"/>
                    <a:gd name="connsiteX13" fmla="*/ 1730375 w 2143125"/>
                    <a:gd name="connsiteY13" fmla="*/ 682625 h 1406525"/>
                    <a:gd name="connsiteX14" fmla="*/ 1727200 w 2143125"/>
                    <a:gd name="connsiteY14" fmla="*/ 698500 h 1406525"/>
                    <a:gd name="connsiteX15" fmla="*/ 1671679 w 2143125"/>
                    <a:gd name="connsiteY15" fmla="*/ 628077 h 1406525"/>
                    <a:gd name="connsiteX16" fmla="*/ 1704975 w 2143125"/>
                    <a:gd name="connsiteY16" fmla="*/ 752475 h 1406525"/>
                    <a:gd name="connsiteX17" fmla="*/ 1701800 w 2143125"/>
                    <a:gd name="connsiteY17" fmla="*/ 762000 h 1406525"/>
                    <a:gd name="connsiteX18" fmla="*/ 1695450 w 2143125"/>
                    <a:gd name="connsiteY18" fmla="*/ 774700 h 1406525"/>
                    <a:gd name="connsiteX19" fmla="*/ 1695450 w 2143125"/>
                    <a:gd name="connsiteY19" fmla="*/ 787400 h 1406525"/>
                    <a:gd name="connsiteX20" fmla="*/ 1610659 w 2143125"/>
                    <a:gd name="connsiteY20" fmla="*/ 699201 h 1406525"/>
                    <a:gd name="connsiteX21" fmla="*/ 1641475 w 2143125"/>
                    <a:gd name="connsiteY21" fmla="*/ 885825 h 1406525"/>
                    <a:gd name="connsiteX22" fmla="*/ 1619250 w 2143125"/>
                    <a:gd name="connsiteY22" fmla="*/ 917575 h 1406525"/>
                    <a:gd name="connsiteX23" fmla="*/ 1577975 w 2143125"/>
                    <a:gd name="connsiteY23" fmla="*/ 949325 h 1406525"/>
                    <a:gd name="connsiteX24" fmla="*/ 1543050 w 2143125"/>
                    <a:gd name="connsiteY24" fmla="*/ 958850 h 1406525"/>
                    <a:gd name="connsiteX25" fmla="*/ 1501775 w 2143125"/>
                    <a:gd name="connsiteY25" fmla="*/ 958850 h 1406525"/>
                    <a:gd name="connsiteX26" fmla="*/ 1470025 w 2143125"/>
                    <a:gd name="connsiteY26" fmla="*/ 949325 h 1406525"/>
                    <a:gd name="connsiteX27" fmla="*/ 1447800 w 2143125"/>
                    <a:gd name="connsiteY27" fmla="*/ 904875 h 1406525"/>
                    <a:gd name="connsiteX28" fmla="*/ 1409700 w 2143125"/>
                    <a:gd name="connsiteY28" fmla="*/ 863600 h 1406525"/>
                    <a:gd name="connsiteX29" fmla="*/ 1377950 w 2143125"/>
                    <a:gd name="connsiteY29" fmla="*/ 777875 h 1406525"/>
                    <a:gd name="connsiteX30" fmla="*/ 1362075 w 2143125"/>
                    <a:gd name="connsiteY30" fmla="*/ 736600 h 1406525"/>
                    <a:gd name="connsiteX31" fmla="*/ 1333500 w 2143125"/>
                    <a:gd name="connsiteY31" fmla="*/ 666750 h 1406525"/>
                    <a:gd name="connsiteX32" fmla="*/ 1304925 w 2143125"/>
                    <a:gd name="connsiteY32" fmla="*/ 600075 h 1406525"/>
                    <a:gd name="connsiteX33" fmla="*/ 1260475 w 2143125"/>
                    <a:gd name="connsiteY33" fmla="*/ 517525 h 1406525"/>
                    <a:gd name="connsiteX34" fmla="*/ 1241425 w 2143125"/>
                    <a:gd name="connsiteY34" fmla="*/ 501650 h 1406525"/>
                    <a:gd name="connsiteX35" fmla="*/ 1212850 w 2143125"/>
                    <a:gd name="connsiteY35" fmla="*/ 492125 h 1406525"/>
                    <a:gd name="connsiteX36" fmla="*/ 1158875 w 2143125"/>
                    <a:gd name="connsiteY36" fmla="*/ 508000 h 1406525"/>
                    <a:gd name="connsiteX37" fmla="*/ 1133475 w 2143125"/>
                    <a:gd name="connsiteY37" fmla="*/ 546100 h 1406525"/>
                    <a:gd name="connsiteX38" fmla="*/ 1120775 w 2143125"/>
                    <a:gd name="connsiteY38" fmla="*/ 568325 h 1406525"/>
                    <a:gd name="connsiteX39" fmla="*/ 1111250 w 2143125"/>
                    <a:gd name="connsiteY39" fmla="*/ 600075 h 1406525"/>
                    <a:gd name="connsiteX40" fmla="*/ 1104900 w 2143125"/>
                    <a:gd name="connsiteY40" fmla="*/ 635000 h 1406525"/>
                    <a:gd name="connsiteX41" fmla="*/ 1095375 w 2143125"/>
                    <a:gd name="connsiteY41" fmla="*/ 660400 h 1406525"/>
                    <a:gd name="connsiteX42" fmla="*/ 1092200 w 2143125"/>
                    <a:gd name="connsiteY42" fmla="*/ 673100 h 1406525"/>
                    <a:gd name="connsiteX43" fmla="*/ 1089025 w 2143125"/>
                    <a:gd name="connsiteY43" fmla="*/ 682625 h 1406525"/>
                    <a:gd name="connsiteX44" fmla="*/ 1076325 w 2143125"/>
                    <a:gd name="connsiteY44" fmla="*/ 720725 h 1406525"/>
                    <a:gd name="connsiteX45" fmla="*/ 1035050 w 2143125"/>
                    <a:gd name="connsiteY45" fmla="*/ 822325 h 1406525"/>
                    <a:gd name="connsiteX46" fmla="*/ 996950 w 2143125"/>
                    <a:gd name="connsiteY46" fmla="*/ 933450 h 1406525"/>
                    <a:gd name="connsiteX47" fmla="*/ 965200 w 2143125"/>
                    <a:gd name="connsiteY47" fmla="*/ 974725 h 1406525"/>
                    <a:gd name="connsiteX48" fmla="*/ 930275 w 2143125"/>
                    <a:gd name="connsiteY48" fmla="*/ 1025525 h 1406525"/>
                    <a:gd name="connsiteX49" fmla="*/ 828675 w 2143125"/>
                    <a:gd name="connsiteY49" fmla="*/ 1031875 h 1406525"/>
                    <a:gd name="connsiteX50" fmla="*/ 742950 w 2143125"/>
                    <a:gd name="connsiteY50" fmla="*/ 968375 h 1406525"/>
                    <a:gd name="connsiteX51" fmla="*/ 692150 w 2143125"/>
                    <a:gd name="connsiteY51" fmla="*/ 895350 h 1406525"/>
                    <a:gd name="connsiteX52" fmla="*/ 647700 w 2143125"/>
                    <a:gd name="connsiteY52" fmla="*/ 844550 h 1406525"/>
                    <a:gd name="connsiteX53" fmla="*/ 596900 w 2143125"/>
                    <a:gd name="connsiteY53" fmla="*/ 790575 h 1406525"/>
                    <a:gd name="connsiteX54" fmla="*/ 523875 w 2143125"/>
                    <a:gd name="connsiteY54" fmla="*/ 711200 h 1406525"/>
                    <a:gd name="connsiteX55" fmla="*/ 473075 w 2143125"/>
                    <a:gd name="connsiteY55" fmla="*/ 695325 h 1406525"/>
                    <a:gd name="connsiteX56" fmla="*/ 434975 w 2143125"/>
                    <a:gd name="connsiteY56" fmla="*/ 717550 h 1406525"/>
                    <a:gd name="connsiteX57" fmla="*/ 431800 w 2143125"/>
                    <a:gd name="connsiteY57" fmla="*/ 755650 h 1406525"/>
                    <a:gd name="connsiteX58" fmla="*/ 425450 w 2143125"/>
                    <a:gd name="connsiteY58" fmla="*/ 793750 h 1406525"/>
                    <a:gd name="connsiteX59" fmla="*/ 425450 w 2143125"/>
                    <a:gd name="connsiteY59" fmla="*/ 831850 h 1406525"/>
                    <a:gd name="connsiteX60" fmla="*/ 425450 w 2143125"/>
                    <a:gd name="connsiteY60" fmla="*/ 876300 h 1406525"/>
                    <a:gd name="connsiteX61" fmla="*/ 422275 w 2143125"/>
                    <a:gd name="connsiteY61" fmla="*/ 904875 h 1406525"/>
                    <a:gd name="connsiteX62" fmla="*/ 412750 w 2143125"/>
                    <a:gd name="connsiteY62" fmla="*/ 968375 h 1406525"/>
                    <a:gd name="connsiteX63" fmla="*/ 396875 w 2143125"/>
                    <a:gd name="connsiteY63" fmla="*/ 1016000 h 1406525"/>
                    <a:gd name="connsiteX64" fmla="*/ 358775 w 2143125"/>
                    <a:gd name="connsiteY64" fmla="*/ 1031875 h 1406525"/>
                    <a:gd name="connsiteX65" fmla="*/ 301625 w 2143125"/>
                    <a:gd name="connsiteY65" fmla="*/ 1022350 h 1406525"/>
                    <a:gd name="connsiteX66" fmla="*/ 273050 w 2143125"/>
                    <a:gd name="connsiteY66" fmla="*/ 1006475 h 1406525"/>
                    <a:gd name="connsiteX67" fmla="*/ 222250 w 2143125"/>
                    <a:gd name="connsiteY67" fmla="*/ 984250 h 1406525"/>
                    <a:gd name="connsiteX68" fmla="*/ 187325 w 2143125"/>
                    <a:gd name="connsiteY68" fmla="*/ 962025 h 1406525"/>
                    <a:gd name="connsiteX69" fmla="*/ 152400 w 2143125"/>
                    <a:gd name="connsiteY69" fmla="*/ 936625 h 1406525"/>
                    <a:gd name="connsiteX70" fmla="*/ 104775 w 2143125"/>
                    <a:gd name="connsiteY70" fmla="*/ 885825 h 1406525"/>
                    <a:gd name="connsiteX71" fmla="*/ 57150 w 2143125"/>
                    <a:gd name="connsiteY71" fmla="*/ 822325 h 1406525"/>
                    <a:gd name="connsiteX72" fmla="*/ 0 w 2143125"/>
                    <a:gd name="connsiteY72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49425 w 2143125"/>
                    <a:gd name="connsiteY11" fmla="*/ 647700 h 1406525"/>
                    <a:gd name="connsiteX12" fmla="*/ 1739900 w 2143125"/>
                    <a:gd name="connsiteY12" fmla="*/ 673100 h 1406525"/>
                    <a:gd name="connsiteX13" fmla="*/ 1730375 w 2143125"/>
                    <a:gd name="connsiteY13" fmla="*/ 682625 h 1406525"/>
                    <a:gd name="connsiteX14" fmla="*/ 1671679 w 2143125"/>
                    <a:gd name="connsiteY14" fmla="*/ 628077 h 1406525"/>
                    <a:gd name="connsiteX15" fmla="*/ 1704975 w 2143125"/>
                    <a:gd name="connsiteY15" fmla="*/ 752475 h 1406525"/>
                    <a:gd name="connsiteX16" fmla="*/ 1701800 w 2143125"/>
                    <a:gd name="connsiteY16" fmla="*/ 762000 h 1406525"/>
                    <a:gd name="connsiteX17" fmla="*/ 1695450 w 2143125"/>
                    <a:gd name="connsiteY17" fmla="*/ 774700 h 1406525"/>
                    <a:gd name="connsiteX18" fmla="*/ 1695450 w 2143125"/>
                    <a:gd name="connsiteY18" fmla="*/ 787400 h 1406525"/>
                    <a:gd name="connsiteX19" fmla="*/ 1610659 w 2143125"/>
                    <a:gd name="connsiteY19" fmla="*/ 699201 h 1406525"/>
                    <a:gd name="connsiteX20" fmla="*/ 1641475 w 2143125"/>
                    <a:gd name="connsiteY20" fmla="*/ 885825 h 1406525"/>
                    <a:gd name="connsiteX21" fmla="*/ 1619250 w 2143125"/>
                    <a:gd name="connsiteY21" fmla="*/ 917575 h 1406525"/>
                    <a:gd name="connsiteX22" fmla="*/ 1577975 w 2143125"/>
                    <a:gd name="connsiteY22" fmla="*/ 949325 h 1406525"/>
                    <a:gd name="connsiteX23" fmla="*/ 1543050 w 2143125"/>
                    <a:gd name="connsiteY23" fmla="*/ 958850 h 1406525"/>
                    <a:gd name="connsiteX24" fmla="*/ 1501775 w 2143125"/>
                    <a:gd name="connsiteY24" fmla="*/ 958850 h 1406525"/>
                    <a:gd name="connsiteX25" fmla="*/ 1470025 w 2143125"/>
                    <a:gd name="connsiteY25" fmla="*/ 949325 h 1406525"/>
                    <a:gd name="connsiteX26" fmla="*/ 1447800 w 2143125"/>
                    <a:gd name="connsiteY26" fmla="*/ 904875 h 1406525"/>
                    <a:gd name="connsiteX27" fmla="*/ 1409700 w 2143125"/>
                    <a:gd name="connsiteY27" fmla="*/ 863600 h 1406525"/>
                    <a:gd name="connsiteX28" fmla="*/ 1377950 w 2143125"/>
                    <a:gd name="connsiteY28" fmla="*/ 777875 h 1406525"/>
                    <a:gd name="connsiteX29" fmla="*/ 1362075 w 2143125"/>
                    <a:gd name="connsiteY29" fmla="*/ 736600 h 1406525"/>
                    <a:gd name="connsiteX30" fmla="*/ 1333500 w 2143125"/>
                    <a:gd name="connsiteY30" fmla="*/ 666750 h 1406525"/>
                    <a:gd name="connsiteX31" fmla="*/ 1304925 w 2143125"/>
                    <a:gd name="connsiteY31" fmla="*/ 600075 h 1406525"/>
                    <a:gd name="connsiteX32" fmla="*/ 1260475 w 2143125"/>
                    <a:gd name="connsiteY32" fmla="*/ 517525 h 1406525"/>
                    <a:gd name="connsiteX33" fmla="*/ 1241425 w 2143125"/>
                    <a:gd name="connsiteY33" fmla="*/ 501650 h 1406525"/>
                    <a:gd name="connsiteX34" fmla="*/ 1212850 w 2143125"/>
                    <a:gd name="connsiteY34" fmla="*/ 492125 h 1406525"/>
                    <a:gd name="connsiteX35" fmla="*/ 1158875 w 2143125"/>
                    <a:gd name="connsiteY35" fmla="*/ 508000 h 1406525"/>
                    <a:gd name="connsiteX36" fmla="*/ 1133475 w 2143125"/>
                    <a:gd name="connsiteY36" fmla="*/ 546100 h 1406525"/>
                    <a:gd name="connsiteX37" fmla="*/ 1120775 w 2143125"/>
                    <a:gd name="connsiteY37" fmla="*/ 568325 h 1406525"/>
                    <a:gd name="connsiteX38" fmla="*/ 1111250 w 2143125"/>
                    <a:gd name="connsiteY38" fmla="*/ 600075 h 1406525"/>
                    <a:gd name="connsiteX39" fmla="*/ 1104900 w 2143125"/>
                    <a:gd name="connsiteY39" fmla="*/ 635000 h 1406525"/>
                    <a:gd name="connsiteX40" fmla="*/ 1095375 w 2143125"/>
                    <a:gd name="connsiteY40" fmla="*/ 660400 h 1406525"/>
                    <a:gd name="connsiteX41" fmla="*/ 1092200 w 2143125"/>
                    <a:gd name="connsiteY41" fmla="*/ 673100 h 1406525"/>
                    <a:gd name="connsiteX42" fmla="*/ 1089025 w 2143125"/>
                    <a:gd name="connsiteY42" fmla="*/ 682625 h 1406525"/>
                    <a:gd name="connsiteX43" fmla="*/ 1076325 w 2143125"/>
                    <a:gd name="connsiteY43" fmla="*/ 720725 h 1406525"/>
                    <a:gd name="connsiteX44" fmla="*/ 1035050 w 2143125"/>
                    <a:gd name="connsiteY44" fmla="*/ 822325 h 1406525"/>
                    <a:gd name="connsiteX45" fmla="*/ 996950 w 2143125"/>
                    <a:gd name="connsiteY45" fmla="*/ 933450 h 1406525"/>
                    <a:gd name="connsiteX46" fmla="*/ 965200 w 2143125"/>
                    <a:gd name="connsiteY46" fmla="*/ 974725 h 1406525"/>
                    <a:gd name="connsiteX47" fmla="*/ 930275 w 2143125"/>
                    <a:gd name="connsiteY47" fmla="*/ 1025525 h 1406525"/>
                    <a:gd name="connsiteX48" fmla="*/ 828675 w 2143125"/>
                    <a:gd name="connsiteY48" fmla="*/ 1031875 h 1406525"/>
                    <a:gd name="connsiteX49" fmla="*/ 742950 w 2143125"/>
                    <a:gd name="connsiteY49" fmla="*/ 968375 h 1406525"/>
                    <a:gd name="connsiteX50" fmla="*/ 692150 w 2143125"/>
                    <a:gd name="connsiteY50" fmla="*/ 895350 h 1406525"/>
                    <a:gd name="connsiteX51" fmla="*/ 647700 w 2143125"/>
                    <a:gd name="connsiteY51" fmla="*/ 844550 h 1406525"/>
                    <a:gd name="connsiteX52" fmla="*/ 596900 w 2143125"/>
                    <a:gd name="connsiteY52" fmla="*/ 790575 h 1406525"/>
                    <a:gd name="connsiteX53" fmla="*/ 523875 w 2143125"/>
                    <a:gd name="connsiteY53" fmla="*/ 711200 h 1406525"/>
                    <a:gd name="connsiteX54" fmla="*/ 473075 w 2143125"/>
                    <a:gd name="connsiteY54" fmla="*/ 695325 h 1406525"/>
                    <a:gd name="connsiteX55" fmla="*/ 434975 w 2143125"/>
                    <a:gd name="connsiteY55" fmla="*/ 717550 h 1406525"/>
                    <a:gd name="connsiteX56" fmla="*/ 431800 w 2143125"/>
                    <a:gd name="connsiteY56" fmla="*/ 755650 h 1406525"/>
                    <a:gd name="connsiteX57" fmla="*/ 425450 w 2143125"/>
                    <a:gd name="connsiteY57" fmla="*/ 793750 h 1406525"/>
                    <a:gd name="connsiteX58" fmla="*/ 425450 w 2143125"/>
                    <a:gd name="connsiteY58" fmla="*/ 831850 h 1406525"/>
                    <a:gd name="connsiteX59" fmla="*/ 425450 w 2143125"/>
                    <a:gd name="connsiteY59" fmla="*/ 876300 h 1406525"/>
                    <a:gd name="connsiteX60" fmla="*/ 422275 w 2143125"/>
                    <a:gd name="connsiteY60" fmla="*/ 904875 h 1406525"/>
                    <a:gd name="connsiteX61" fmla="*/ 412750 w 2143125"/>
                    <a:gd name="connsiteY61" fmla="*/ 968375 h 1406525"/>
                    <a:gd name="connsiteX62" fmla="*/ 396875 w 2143125"/>
                    <a:gd name="connsiteY62" fmla="*/ 1016000 h 1406525"/>
                    <a:gd name="connsiteX63" fmla="*/ 358775 w 2143125"/>
                    <a:gd name="connsiteY63" fmla="*/ 1031875 h 1406525"/>
                    <a:gd name="connsiteX64" fmla="*/ 301625 w 2143125"/>
                    <a:gd name="connsiteY64" fmla="*/ 1022350 h 1406525"/>
                    <a:gd name="connsiteX65" fmla="*/ 273050 w 2143125"/>
                    <a:gd name="connsiteY65" fmla="*/ 1006475 h 1406525"/>
                    <a:gd name="connsiteX66" fmla="*/ 222250 w 2143125"/>
                    <a:gd name="connsiteY66" fmla="*/ 984250 h 1406525"/>
                    <a:gd name="connsiteX67" fmla="*/ 187325 w 2143125"/>
                    <a:gd name="connsiteY67" fmla="*/ 962025 h 1406525"/>
                    <a:gd name="connsiteX68" fmla="*/ 152400 w 2143125"/>
                    <a:gd name="connsiteY68" fmla="*/ 936625 h 1406525"/>
                    <a:gd name="connsiteX69" fmla="*/ 104775 w 2143125"/>
                    <a:gd name="connsiteY69" fmla="*/ 885825 h 1406525"/>
                    <a:gd name="connsiteX70" fmla="*/ 57150 w 2143125"/>
                    <a:gd name="connsiteY70" fmla="*/ 822325 h 1406525"/>
                    <a:gd name="connsiteX71" fmla="*/ 0 w 2143125"/>
                    <a:gd name="connsiteY71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49425 w 2143125"/>
                    <a:gd name="connsiteY11" fmla="*/ 647700 h 1406525"/>
                    <a:gd name="connsiteX12" fmla="*/ 1739900 w 2143125"/>
                    <a:gd name="connsiteY12" fmla="*/ 673100 h 1406525"/>
                    <a:gd name="connsiteX13" fmla="*/ 1671679 w 2143125"/>
                    <a:gd name="connsiteY13" fmla="*/ 628077 h 1406525"/>
                    <a:gd name="connsiteX14" fmla="*/ 1704975 w 2143125"/>
                    <a:gd name="connsiteY14" fmla="*/ 752475 h 1406525"/>
                    <a:gd name="connsiteX15" fmla="*/ 1701800 w 2143125"/>
                    <a:gd name="connsiteY15" fmla="*/ 762000 h 1406525"/>
                    <a:gd name="connsiteX16" fmla="*/ 1695450 w 2143125"/>
                    <a:gd name="connsiteY16" fmla="*/ 774700 h 1406525"/>
                    <a:gd name="connsiteX17" fmla="*/ 1695450 w 2143125"/>
                    <a:gd name="connsiteY17" fmla="*/ 787400 h 1406525"/>
                    <a:gd name="connsiteX18" fmla="*/ 1610659 w 2143125"/>
                    <a:gd name="connsiteY18" fmla="*/ 699201 h 1406525"/>
                    <a:gd name="connsiteX19" fmla="*/ 1641475 w 2143125"/>
                    <a:gd name="connsiteY19" fmla="*/ 885825 h 1406525"/>
                    <a:gd name="connsiteX20" fmla="*/ 1619250 w 2143125"/>
                    <a:gd name="connsiteY20" fmla="*/ 917575 h 1406525"/>
                    <a:gd name="connsiteX21" fmla="*/ 1577975 w 2143125"/>
                    <a:gd name="connsiteY21" fmla="*/ 949325 h 1406525"/>
                    <a:gd name="connsiteX22" fmla="*/ 1543050 w 2143125"/>
                    <a:gd name="connsiteY22" fmla="*/ 958850 h 1406525"/>
                    <a:gd name="connsiteX23" fmla="*/ 1501775 w 2143125"/>
                    <a:gd name="connsiteY23" fmla="*/ 958850 h 1406525"/>
                    <a:gd name="connsiteX24" fmla="*/ 1470025 w 2143125"/>
                    <a:gd name="connsiteY24" fmla="*/ 949325 h 1406525"/>
                    <a:gd name="connsiteX25" fmla="*/ 1447800 w 2143125"/>
                    <a:gd name="connsiteY25" fmla="*/ 904875 h 1406525"/>
                    <a:gd name="connsiteX26" fmla="*/ 1409700 w 2143125"/>
                    <a:gd name="connsiteY26" fmla="*/ 863600 h 1406525"/>
                    <a:gd name="connsiteX27" fmla="*/ 1377950 w 2143125"/>
                    <a:gd name="connsiteY27" fmla="*/ 777875 h 1406525"/>
                    <a:gd name="connsiteX28" fmla="*/ 1362075 w 2143125"/>
                    <a:gd name="connsiteY28" fmla="*/ 736600 h 1406525"/>
                    <a:gd name="connsiteX29" fmla="*/ 1333500 w 2143125"/>
                    <a:gd name="connsiteY29" fmla="*/ 666750 h 1406525"/>
                    <a:gd name="connsiteX30" fmla="*/ 1304925 w 2143125"/>
                    <a:gd name="connsiteY30" fmla="*/ 600075 h 1406525"/>
                    <a:gd name="connsiteX31" fmla="*/ 1260475 w 2143125"/>
                    <a:gd name="connsiteY31" fmla="*/ 517525 h 1406525"/>
                    <a:gd name="connsiteX32" fmla="*/ 1241425 w 2143125"/>
                    <a:gd name="connsiteY32" fmla="*/ 501650 h 1406525"/>
                    <a:gd name="connsiteX33" fmla="*/ 1212850 w 2143125"/>
                    <a:gd name="connsiteY33" fmla="*/ 492125 h 1406525"/>
                    <a:gd name="connsiteX34" fmla="*/ 1158875 w 2143125"/>
                    <a:gd name="connsiteY34" fmla="*/ 508000 h 1406525"/>
                    <a:gd name="connsiteX35" fmla="*/ 1133475 w 2143125"/>
                    <a:gd name="connsiteY35" fmla="*/ 546100 h 1406525"/>
                    <a:gd name="connsiteX36" fmla="*/ 1120775 w 2143125"/>
                    <a:gd name="connsiteY36" fmla="*/ 568325 h 1406525"/>
                    <a:gd name="connsiteX37" fmla="*/ 1111250 w 2143125"/>
                    <a:gd name="connsiteY37" fmla="*/ 600075 h 1406525"/>
                    <a:gd name="connsiteX38" fmla="*/ 1104900 w 2143125"/>
                    <a:gd name="connsiteY38" fmla="*/ 635000 h 1406525"/>
                    <a:gd name="connsiteX39" fmla="*/ 1095375 w 2143125"/>
                    <a:gd name="connsiteY39" fmla="*/ 660400 h 1406525"/>
                    <a:gd name="connsiteX40" fmla="*/ 1092200 w 2143125"/>
                    <a:gd name="connsiteY40" fmla="*/ 673100 h 1406525"/>
                    <a:gd name="connsiteX41" fmla="*/ 1089025 w 2143125"/>
                    <a:gd name="connsiteY41" fmla="*/ 682625 h 1406525"/>
                    <a:gd name="connsiteX42" fmla="*/ 1076325 w 2143125"/>
                    <a:gd name="connsiteY42" fmla="*/ 720725 h 1406525"/>
                    <a:gd name="connsiteX43" fmla="*/ 1035050 w 2143125"/>
                    <a:gd name="connsiteY43" fmla="*/ 822325 h 1406525"/>
                    <a:gd name="connsiteX44" fmla="*/ 996950 w 2143125"/>
                    <a:gd name="connsiteY44" fmla="*/ 933450 h 1406525"/>
                    <a:gd name="connsiteX45" fmla="*/ 965200 w 2143125"/>
                    <a:gd name="connsiteY45" fmla="*/ 974725 h 1406525"/>
                    <a:gd name="connsiteX46" fmla="*/ 930275 w 2143125"/>
                    <a:gd name="connsiteY46" fmla="*/ 1025525 h 1406525"/>
                    <a:gd name="connsiteX47" fmla="*/ 828675 w 2143125"/>
                    <a:gd name="connsiteY47" fmla="*/ 1031875 h 1406525"/>
                    <a:gd name="connsiteX48" fmla="*/ 742950 w 2143125"/>
                    <a:gd name="connsiteY48" fmla="*/ 968375 h 1406525"/>
                    <a:gd name="connsiteX49" fmla="*/ 692150 w 2143125"/>
                    <a:gd name="connsiteY49" fmla="*/ 895350 h 1406525"/>
                    <a:gd name="connsiteX50" fmla="*/ 647700 w 2143125"/>
                    <a:gd name="connsiteY50" fmla="*/ 844550 h 1406525"/>
                    <a:gd name="connsiteX51" fmla="*/ 596900 w 2143125"/>
                    <a:gd name="connsiteY51" fmla="*/ 790575 h 1406525"/>
                    <a:gd name="connsiteX52" fmla="*/ 523875 w 2143125"/>
                    <a:gd name="connsiteY52" fmla="*/ 711200 h 1406525"/>
                    <a:gd name="connsiteX53" fmla="*/ 473075 w 2143125"/>
                    <a:gd name="connsiteY53" fmla="*/ 695325 h 1406525"/>
                    <a:gd name="connsiteX54" fmla="*/ 434975 w 2143125"/>
                    <a:gd name="connsiteY54" fmla="*/ 717550 h 1406525"/>
                    <a:gd name="connsiteX55" fmla="*/ 431800 w 2143125"/>
                    <a:gd name="connsiteY55" fmla="*/ 755650 h 1406525"/>
                    <a:gd name="connsiteX56" fmla="*/ 425450 w 2143125"/>
                    <a:gd name="connsiteY56" fmla="*/ 793750 h 1406525"/>
                    <a:gd name="connsiteX57" fmla="*/ 425450 w 2143125"/>
                    <a:gd name="connsiteY57" fmla="*/ 831850 h 1406525"/>
                    <a:gd name="connsiteX58" fmla="*/ 425450 w 2143125"/>
                    <a:gd name="connsiteY58" fmla="*/ 876300 h 1406525"/>
                    <a:gd name="connsiteX59" fmla="*/ 422275 w 2143125"/>
                    <a:gd name="connsiteY59" fmla="*/ 904875 h 1406525"/>
                    <a:gd name="connsiteX60" fmla="*/ 412750 w 2143125"/>
                    <a:gd name="connsiteY60" fmla="*/ 968375 h 1406525"/>
                    <a:gd name="connsiteX61" fmla="*/ 396875 w 2143125"/>
                    <a:gd name="connsiteY61" fmla="*/ 1016000 h 1406525"/>
                    <a:gd name="connsiteX62" fmla="*/ 358775 w 2143125"/>
                    <a:gd name="connsiteY62" fmla="*/ 1031875 h 1406525"/>
                    <a:gd name="connsiteX63" fmla="*/ 301625 w 2143125"/>
                    <a:gd name="connsiteY63" fmla="*/ 1022350 h 1406525"/>
                    <a:gd name="connsiteX64" fmla="*/ 273050 w 2143125"/>
                    <a:gd name="connsiteY64" fmla="*/ 1006475 h 1406525"/>
                    <a:gd name="connsiteX65" fmla="*/ 222250 w 2143125"/>
                    <a:gd name="connsiteY65" fmla="*/ 984250 h 1406525"/>
                    <a:gd name="connsiteX66" fmla="*/ 187325 w 2143125"/>
                    <a:gd name="connsiteY66" fmla="*/ 962025 h 1406525"/>
                    <a:gd name="connsiteX67" fmla="*/ 152400 w 2143125"/>
                    <a:gd name="connsiteY67" fmla="*/ 936625 h 1406525"/>
                    <a:gd name="connsiteX68" fmla="*/ 104775 w 2143125"/>
                    <a:gd name="connsiteY68" fmla="*/ 885825 h 1406525"/>
                    <a:gd name="connsiteX69" fmla="*/ 57150 w 2143125"/>
                    <a:gd name="connsiteY69" fmla="*/ 822325 h 1406525"/>
                    <a:gd name="connsiteX70" fmla="*/ 0 w 2143125"/>
                    <a:gd name="connsiteY70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49425 w 2143125"/>
                    <a:gd name="connsiteY11" fmla="*/ 647700 h 1406525"/>
                    <a:gd name="connsiteX12" fmla="*/ 1671679 w 2143125"/>
                    <a:gd name="connsiteY12" fmla="*/ 628077 h 1406525"/>
                    <a:gd name="connsiteX13" fmla="*/ 1704975 w 2143125"/>
                    <a:gd name="connsiteY13" fmla="*/ 752475 h 1406525"/>
                    <a:gd name="connsiteX14" fmla="*/ 1701800 w 2143125"/>
                    <a:gd name="connsiteY14" fmla="*/ 762000 h 1406525"/>
                    <a:gd name="connsiteX15" fmla="*/ 1695450 w 2143125"/>
                    <a:gd name="connsiteY15" fmla="*/ 774700 h 1406525"/>
                    <a:gd name="connsiteX16" fmla="*/ 1695450 w 2143125"/>
                    <a:gd name="connsiteY16" fmla="*/ 787400 h 1406525"/>
                    <a:gd name="connsiteX17" fmla="*/ 1610659 w 2143125"/>
                    <a:gd name="connsiteY17" fmla="*/ 699201 h 1406525"/>
                    <a:gd name="connsiteX18" fmla="*/ 1641475 w 2143125"/>
                    <a:gd name="connsiteY18" fmla="*/ 885825 h 1406525"/>
                    <a:gd name="connsiteX19" fmla="*/ 1619250 w 2143125"/>
                    <a:gd name="connsiteY19" fmla="*/ 917575 h 1406525"/>
                    <a:gd name="connsiteX20" fmla="*/ 1577975 w 2143125"/>
                    <a:gd name="connsiteY20" fmla="*/ 949325 h 1406525"/>
                    <a:gd name="connsiteX21" fmla="*/ 1543050 w 2143125"/>
                    <a:gd name="connsiteY21" fmla="*/ 958850 h 1406525"/>
                    <a:gd name="connsiteX22" fmla="*/ 1501775 w 2143125"/>
                    <a:gd name="connsiteY22" fmla="*/ 958850 h 1406525"/>
                    <a:gd name="connsiteX23" fmla="*/ 1470025 w 2143125"/>
                    <a:gd name="connsiteY23" fmla="*/ 949325 h 1406525"/>
                    <a:gd name="connsiteX24" fmla="*/ 1447800 w 2143125"/>
                    <a:gd name="connsiteY24" fmla="*/ 904875 h 1406525"/>
                    <a:gd name="connsiteX25" fmla="*/ 1409700 w 2143125"/>
                    <a:gd name="connsiteY25" fmla="*/ 863600 h 1406525"/>
                    <a:gd name="connsiteX26" fmla="*/ 1377950 w 2143125"/>
                    <a:gd name="connsiteY26" fmla="*/ 777875 h 1406525"/>
                    <a:gd name="connsiteX27" fmla="*/ 1362075 w 2143125"/>
                    <a:gd name="connsiteY27" fmla="*/ 736600 h 1406525"/>
                    <a:gd name="connsiteX28" fmla="*/ 1333500 w 2143125"/>
                    <a:gd name="connsiteY28" fmla="*/ 666750 h 1406525"/>
                    <a:gd name="connsiteX29" fmla="*/ 1304925 w 2143125"/>
                    <a:gd name="connsiteY29" fmla="*/ 600075 h 1406525"/>
                    <a:gd name="connsiteX30" fmla="*/ 1260475 w 2143125"/>
                    <a:gd name="connsiteY30" fmla="*/ 517525 h 1406525"/>
                    <a:gd name="connsiteX31" fmla="*/ 1241425 w 2143125"/>
                    <a:gd name="connsiteY31" fmla="*/ 501650 h 1406525"/>
                    <a:gd name="connsiteX32" fmla="*/ 1212850 w 2143125"/>
                    <a:gd name="connsiteY32" fmla="*/ 492125 h 1406525"/>
                    <a:gd name="connsiteX33" fmla="*/ 1158875 w 2143125"/>
                    <a:gd name="connsiteY33" fmla="*/ 508000 h 1406525"/>
                    <a:gd name="connsiteX34" fmla="*/ 1133475 w 2143125"/>
                    <a:gd name="connsiteY34" fmla="*/ 546100 h 1406525"/>
                    <a:gd name="connsiteX35" fmla="*/ 1120775 w 2143125"/>
                    <a:gd name="connsiteY35" fmla="*/ 568325 h 1406525"/>
                    <a:gd name="connsiteX36" fmla="*/ 1111250 w 2143125"/>
                    <a:gd name="connsiteY36" fmla="*/ 600075 h 1406525"/>
                    <a:gd name="connsiteX37" fmla="*/ 1104900 w 2143125"/>
                    <a:gd name="connsiteY37" fmla="*/ 635000 h 1406525"/>
                    <a:gd name="connsiteX38" fmla="*/ 1095375 w 2143125"/>
                    <a:gd name="connsiteY38" fmla="*/ 660400 h 1406525"/>
                    <a:gd name="connsiteX39" fmla="*/ 1092200 w 2143125"/>
                    <a:gd name="connsiteY39" fmla="*/ 673100 h 1406525"/>
                    <a:gd name="connsiteX40" fmla="*/ 1089025 w 2143125"/>
                    <a:gd name="connsiteY40" fmla="*/ 682625 h 1406525"/>
                    <a:gd name="connsiteX41" fmla="*/ 1076325 w 2143125"/>
                    <a:gd name="connsiteY41" fmla="*/ 720725 h 1406525"/>
                    <a:gd name="connsiteX42" fmla="*/ 1035050 w 2143125"/>
                    <a:gd name="connsiteY42" fmla="*/ 822325 h 1406525"/>
                    <a:gd name="connsiteX43" fmla="*/ 996950 w 2143125"/>
                    <a:gd name="connsiteY43" fmla="*/ 933450 h 1406525"/>
                    <a:gd name="connsiteX44" fmla="*/ 965200 w 2143125"/>
                    <a:gd name="connsiteY44" fmla="*/ 974725 h 1406525"/>
                    <a:gd name="connsiteX45" fmla="*/ 930275 w 2143125"/>
                    <a:gd name="connsiteY45" fmla="*/ 1025525 h 1406525"/>
                    <a:gd name="connsiteX46" fmla="*/ 828675 w 2143125"/>
                    <a:gd name="connsiteY46" fmla="*/ 1031875 h 1406525"/>
                    <a:gd name="connsiteX47" fmla="*/ 742950 w 2143125"/>
                    <a:gd name="connsiteY47" fmla="*/ 968375 h 1406525"/>
                    <a:gd name="connsiteX48" fmla="*/ 692150 w 2143125"/>
                    <a:gd name="connsiteY48" fmla="*/ 895350 h 1406525"/>
                    <a:gd name="connsiteX49" fmla="*/ 647700 w 2143125"/>
                    <a:gd name="connsiteY49" fmla="*/ 844550 h 1406525"/>
                    <a:gd name="connsiteX50" fmla="*/ 596900 w 2143125"/>
                    <a:gd name="connsiteY50" fmla="*/ 790575 h 1406525"/>
                    <a:gd name="connsiteX51" fmla="*/ 523875 w 2143125"/>
                    <a:gd name="connsiteY51" fmla="*/ 711200 h 1406525"/>
                    <a:gd name="connsiteX52" fmla="*/ 473075 w 2143125"/>
                    <a:gd name="connsiteY52" fmla="*/ 695325 h 1406525"/>
                    <a:gd name="connsiteX53" fmla="*/ 434975 w 2143125"/>
                    <a:gd name="connsiteY53" fmla="*/ 717550 h 1406525"/>
                    <a:gd name="connsiteX54" fmla="*/ 431800 w 2143125"/>
                    <a:gd name="connsiteY54" fmla="*/ 755650 h 1406525"/>
                    <a:gd name="connsiteX55" fmla="*/ 425450 w 2143125"/>
                    <a:gd name="connsiteY55" fmla="*/ 793750 h 1406525"/>
                    <a:gd name="connsiteX56" fmla="*/ 425450 w 2143125"/>
                    <a:gd name="connsiteY56" fmla="*/ 831850 h 1406525"/>
                    <a:gd name="connsiteX57" fmla="*/ 425450 w 2143125"/>
                    <a:gd name="connsiteY57" fmla="*/ 876300 h 1406525"/>
                    <a:gd name="connsiteX58" fmla="*/ 422275 w 2143125"/>
                    <a:gd name="connsiteY58" fmla="*/ 904875 h 1406525"/>
                    <a:gd name="connsiteX59" fmla="*/ 412750 w 2143125"/>
                    <a:gd name="connsiteY59" fmla="*/ 968375 h 1406525"/>
                    <a:gd name="connsiteX60" fmla="*/ 396875 w 2143125"/>
                    <a:gd name="connsiteY60" fmla="*/ 1016000 h 1406525"/>
                    <a:gd name="connsiteX61" fmla="*/ 358775 w 2143125"/>
                    <a:gd name="connsiteY61" fmla="*/ 1031875 h 1406525"/>
                    <a:gd name="connsiteX62" fmla="*/ 301625 w 2143125"/>
                    <a:gd name="connsiteY62" fmla="*/ 1022350 h 1406525"/>
                    <a:gd name="connsiteX63" fmla="*/ 273050 w 2143125"/>
                    <a:gd name="connsiteY63" fmla="*/ 1006475 h 1406525"/>
                    <a:gd name="connsiteX64" fmla="*/ 222250 w 2143125"/>
                    <a:gd name="connsiteY64" fmla="*/ 984250 h 1406525"/>
                    <a:gd name="connsiteX65" fmla="*/ 187325 w 2143125"/>
                    <a:gd name="connsiteY65" fmla="*/ 962025 h 1406525"/>
                    <a:gd name="connsiteX66" fmla="*/ 152400 w 2143125"/>
                    <a:gd name="connsiteY66" fmla="*/ 936625 h 1406525"/>
                    <a:gd name="connsiteX67" fmla="*/ 104775 w 2143125"/>
                    <a:gd name="connsiteY67" fmla="*/ 885825 h 1406525"/>
                    <a:gd name="connsiteX68" fmla="*/ 57150 w 2143125"/>
                    <a:gd name="connsiteY68" fmla="*/ 822325 h 1406525"/>
                    <a:gd name="connsiteX69" fmla="*/ 0 w 2143125"/>
                    <a:gd name="connsiteY69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1679 w 2143125"/>
                    <a:gd name="connsiteY12" fmla="*/ 628077 h 1406525"/>
                    <a:gd name="connsiteX13" fmla="*/ 1704975 w 2143125"/>
                    <a:gd name="connsiteY13" fmla="*/ 752475 h 1406525"/>
                    <a:gd name="connsiteX14" fmla="*/ 1701800 w 2143125"/>
                    <a:gd name="connsiteY14" fmla="*/ 762000 h 1406525"/>
                    <a:gd name="connsiteX15" fmla="*/ 1695450 w 2143125"/>
                    <a:gd name="connsiteY15" fmla="*/ 774700 h 1406525"/>
                    <a:gd name="connsiteX16" fmla="*/ 1695450 w 2143125"/>
                    <a:gd name="connsiteY16" fmla="*/ 787400 h 1406525"/>
                    <a:gd name="connsiteX17" fmla="*/ 1610659 w 2143125"/>
                    <a:gd name="connsiteY17" fmla="*/ 699201 h 1406525"/>
                    <a:gd name="connsiteX18" fmla="*/ 1641475 w 2143125"/>
                    <a:gd name="connsiteY18" fmla="*/ 885825 h 1406525"/>
                    <a:gd name="connsiteX19" fmla="*/ 1619250 w 2143125"/>
                    <a:gd name="connsiteY19" fmla="*/ 917575 h 1406525"/>
                    <a:gd name="connsiteX20" fmla="*/ 1577975 w 2143125"/>
                    <a:gd name="connsiteY20" fmla="*/ 949325 h 1406525"/>
                    <a:gd name="connsiteX21" fmla="*/ 1543050 w 2143125"/>
                    <a:gd name="connsiteY21" fmla="*/ 958850 h 1406525"/>
                    <a:gd name="connsiteX22" fmla="*/ 1501775 w 2143125"/>
                    <a:gd name="connsiteY22" fmla="*/ 958850 h 1406525"/>
                    <a:gd name="connsiteX23" fmla="*/ 1470025 w 2143125"/>
                    <a:gd name="connsiteY23" fmla="*/ 949325 h 1406525"/>
                    <a:gd name="connsiteX24" fmla="*/ 1447800 w 2143125"/>
                    <a:gd name="connsiteY24" fmla="*/ 904875 h 1406525"/>
                    <a:gd name="connsiteX25" fmla="*/ 1409700 w 2143125"/>
                    <a:gd name="connsiteY25" fmla="*/ 863600 h 1406525"/>
                    <a:gd name="connsiteX26" fmla="*/ 1377950 w 2143125"/>
                    <a:gd name="connsiteY26" fmla="*/ 777875 h 1406525"/>
                    <a:gd name="connsiteX27" fmla="*/ 1362075 w 2143125"/>
                    <a:gd name="connsiteY27" fmla="*/ 736600 h 1406525"/>
                    <a:gd name="connsiteX28" fmla="*/ 1333500 w 2143125"/>
                    <a:gd name="connsiteY28" fmla="*/ 666750 h 1406525"/>
                    <a:gd name="connsiteX29" fmla="*/ 1304925 w 2143125"/>
                    <a:gd name="connsiteY29" fmla="*/ 600075 h 1406525"/>
                    <a:gd name="connsiteX30" fmla="*/ 1260475 w 2143125"/>
                    <a:gd name="connsiteY30" fmla="*/ 517525 h 1406525"/>
                    <a:gd name="connsiteX31" fmla="*/ 1241425 w 2143125"/>
                    <a:gd name="connsiteY31" fmla="*/ 501650 h 1406525"/>
                    <a:gd name="connsiteX32" fmla="*/ 1212850 w 2143125"/>
                    <a:gd name="connsiteY32" fmla="*/ 492125 h 1406525"/>
                    <a:gd name="connsiteX33" fmla="*/ 1158875 w 2143125"/>
                    <a:gd name="connsiteY33" fmla="*/ 508000 h 1406525"/>
                    <a:gd name="connsiteX34" fmla="*/ 1133475 w 2143125"/>
                    <a:gd name="connsiteY34" fmla="*/ 546100 h 1406525"/>
                    <a:gd name="connsiteX35" fmla="*/ 1120775 w 2143125"/>
                    <a:gd name="connsiteY35" fmla="*/ 568325 h 1406525"/>
                    <a:gd name="connsiteX36" fmla="*/ 1111250 w 2143125"/>
                    <a:gd name="connsiteY36" fmla="*/ 600075 h 1406525"/>
                    <a:gd name="connsiteX37" fmla="*/ 1104900 w 2143125"/>
                    <a:gd name="connsiteY37" fmla="*/ 635000 h 1406525"/>
                    <a:gd name="connsiteX38" fmla="*/ 1095375 w 2143125"/>
                    <a:gd name="connsiteY38" fmla="*/ 660400 h 1406525"/>
                    <a:gd name="connsiteX39" fmla="*/ 1092200 w 2143125"/>
                    <a:gd name="connsiteY39" fmla="*/ 673100 h 1406525"/>
                    <a:gd name="connsiteX40" fmla="*/ 1089025 w 2143125"/>
                    <a:gd name="connsiteY40" fmla="*/ 682625 h 1406525"/>
                    <a:gd name="connsiteX41" fmla="*/ 1076325 w 2143125"/>
                    <a:gd name="connsiteY41" fmla="*/ 720725 h 1406525"/>
                    <a:gd name="connsiteX42" fmla="*/ 1035050 w 2143125"/>
                    <a:gd name="connsiteY42" fmla="*/ 822325 h 1406525"/>
                    <a:gd name="connsiteX43" fmla="*/ 996950 w 2143125"/>
                    <a:gd name="connsiteY43" fmla="*/ 933450 h 1406525"/>
                    <a:gd name="connsiteX44" fmla="*/ 965200 w 2143125"/>
                    <a:gd name="connsiteY44" fmla="*/ 974725 h 1406525"/>
                    <a:gd name="connsiteX45" fmla="*/ 930275 w 2143125"/>
                    <a:gd name="connsiteY45" fmla="*/ 1025525 h 1406525"/>
                    <a:gd name="connsiteX46" fmla="*/ 828675 w 2143125"/>
                    <a:gd name="connsiteY46" fmla="*/ 1031875 h 1406525"/>
                    <a:gd name="connsiteX47" fmla="*/ 742950 w 2143125"/>
                    <a:gd name="connsiteY47" fmla="*/ 968375 h 1406525"/>
                    <a:gd name="connsiteX48" fmla="*/ 692150 w 2143125"/>
                    <a:gd name="connsiteY48" fmla="*/ 895350 h 1406525"/>
                    <a:gd name="connsiteX49" fmla="*/ 647700 w 2143125"/>
                    <a:gd name="connsiteY49" fmla="*/ 844550 h 1406525"/>
                    <a:gd name="connsiteX50" fmla="*/ 596900 w 2143125"/>
                    <a:gd name="connsiteY50" fmla="*/ 790575 h 1406525"/>
                    <a:gd name="connsiteX51" fmla="*/ 523875 w 2143125"/>
                    <a:gd name="connsiteY51" fmla="*/ 711200 h 1406525"/>
                    <a:gd name="connsiteX52" fmla="*/ 473075 w 2143125"/>
                    <a:gd name="connsiteY52" fmla="*/ 695325 h 1406525"/>
                    <a:gd name="connsiteX53" fmla="*/ 434975 w 2143125"/>
                    <a:gd name="connsiteY53" fmla="*/ 717550 h 1406525"/>
                    <a:gd name="connsiteX54" fmla="*/ 431800 w 2143125"/>
                    <a:gd name="connsiteY54" fmla="*/ 755650 h 1406525"/>
                    <a:gd name="connsiteX55" fmla="*/ 425450 w 2143125"/>
                    <a:gd name="connsiteY55" fmla="*/ 793750 h 1406525"/>
                    <a:gd name="connsiteX56" fmla="*/ 425450 w 2143125"/>
                    <a:gd name="connsiteY56" fmla="*/ 831850 h 1406525"/>
                    <a:gd name="connsiteX57" fmla="*/ 425450 w 2143125"/>
                    <a:gd name="connsiteY57" fmla="*/ 876300 h 1406525"/>
                    <a:gd name="connsiteX58" fmla="*/ 422275 w 2143125"/>
                    <a:gd name="connsiteY58" fmla="*/ 904875 h 1406525"/>
                    <a:gd name="connsiteX59" fmla="*/ 412750 w 2143125"/>
                    <a:gd name="connsiteY59" fmla="*/ 968375 h 1406525"/>
                    <a:gd name="connsiteX60" fmla="*/ 396875 w 2143125"/>
                    <a:gd name="connsiteY60" fmla="*/ 1016000 h 1406525"/>
                    <a:gd name="connsiteX61" fmla="*/ 358775 w 2143125"/>
                    <a:gd name="connsiteY61" fmla="*/ 1031875 h 1406525"/>
                    <a:gd name="connsiteX62" fmla="*/ 301625 w 2143125"/>
                    <a:gd name="connsiteY62" fmla="*/ 1022350 h 1406525"/>
                    <a:gd name="connsiteX63" fmla="*/ 273050 w 2143125"/>
                    <a:gd name="connsiteY63" fmla="*/ 1006475 h 1406525"/>
                    <a:gd name="connsiteX64" fmla="*/ 222250 w 2143125"/>
                    <a:gd name="connsiteY64" fmla="*/ 984250 h 1406525"/>
                    <a:gd name="connsiteX65" fmla="*/ 187325 w 2143125"/>
                    <a:gd name="connsiteY65" fmla="*/ 962025 h 1406525"/>
                    <a:gd name="connsiteX66" fmla="*/ 152400 w 2143125"/>
                    <a:gd name="connsiteY66" fmla="*/ 936625 h 1406525"/>
                    <a:gd name="connsiteX67" fmla="*/ 104775 w 2143125"/>
                    <a:gd name="connsiteY67" fmla="*/ 885825 h 1406525"/>
                    <a:gd name="connsiteX68" fmla="*/ 57150 w 2143125"/>
                    <a:gd name="connsiteY68" fmla="*/ 822325 h 1406525"/>
                    <a:gd name="connsiteX69" fmla="*/ 0 w 2143125"/>
                    <a:gd name="connsiteY69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1679 w 2143125"/>
                    <a:gd name="connsiteY12" fmla="*/ 628077 h 1406525"/>
                    <a:gd name="connsiteX13" fmla="*/ 1704975 w 2143125"/>
                    <a:gd name="connsiteY13" fmla="*/ 752475 h 1406525"/>
                    <a:gd name="connsiteX14" fmla="*/ 1701800 w 2143125"/>
                    <a:gd name="connsiteY14" fmla="*/ 762000 h 1406525"/>
                    <a:gd name="connsiteX15" fmla="*/ 1695450 w 2143125"/>
                    <a:gd name="connsiteY15" fmla="*/ 774700 h 1406525"/>
                    <a:gd name="connsiteX16" fmla="*/ 1610659 w 2143125"/>
                    <a:gd name="connsiteY16" fmla="*/ 699201 h 1406525"/>
                    <a:gd name="connsiteX17" fmla="*/ 1641475 w 2143125"/>
                    <a:gd name="connsiteY17" fmla="*/ 885825 h 1406525"/>
                    <a:gd name="connsiteX18" fmla="*/ 1619250 w 2143125"/>
                    <a:gd name="connsiteY18" fmla="*/ 917575 h 1406525"/>
                    <a:gd name="connsiteX19" fmla="*/ 1577975 w 2143125"/>
                    <a:gd name="connsiteY19" fmla="*/ 949325 h 1406525"/>
                    <a:gd name="connsiteX20" fmla="*/ 1543050 w 2143125"/>
                    <a:gd name="connsiteY20" fmla="*/ 958850 h 1406525"/>
                    <a:gd name="connsiteX21" fmla="*/ 1501775 w 2143125"/>
                    <a:gd name="connsiteY21" fmla="*/ 958850 h 1406525"/>
                    <a:gd name="connsiteX22" fmla="*/ 1470025 w 2143125"/>
                    <a:gd name="connsiteY22" fmla="*/ 949325 h 1406525"/>
                    <a:gd name="connsiteX23" fmla="*/ 1447800 w 2143125"/>
                    <a:gd name="connsiteY23" fmla="*/ 904875 h 1406525"/>
                    <a:gd name="connsiteX24" fmla="*/ 1409700 w 2143125"/>
                    <a:gd name="connsiteY24" fmla="*/ 863600 h 1406525"/>
                    <a:gd name="connsiteX25" fmla="*/ 1377950 w 2143125"/>
                    <a:gd name="connsiteY25" fmla="*/ 777875 h 1406525"/>
                    <a:gd name="connsiteX26" fmla="*/ 1362075 w 2143125"/>
                    <a:gd name="connsiteY26" fmla="*/ 736600 h 1406525"/>
                    <a:gd name="connsiteX27" fmla="*/ 1333500 w 2143125"/>
                    <a:gd name="connsiteY27" fmla="*/ 666750 h 1406525"/>
                    <a:gd name="connsiteX28" fmla="*/ 1304925 w 2143125"/>
                    <a:gd name="connsiteY28" fmla="*/ 600075 h 1406525"/>
                    <a:gd name="connsiteX29" fmla="*/ 1260475 w 2143125"/>
                    <a:gd name="connsiteY29" fmla="*/ 517525 h 1406525"/>
                    <a:gd name="connsiteX30" fmla="*/ 1241425 w 2143125"/>
                    <a:gd name="connsiteY30" fmla="*/ 501650 h 1406525"/>
                    <a:gd name="connsiteX31" fmla="*/ 1212850 w 2143125"/>
                    <a:gd name="connsiteY31" fmla="*/ 492125 h 1406525"/>
                    <a:gd name="connsiteX32" fmla="*/ 1158875 w 2143125"/>
                    <a:gd name="connsiteY32" fmla="*/ 508000 h 1406525"/>
                    <a:gd name="connsiteX33" fmla="*/ 1133475 w 2143125"/>
                    <a:gd name="connsiteY33" fmla="*/ 546100 h 1406525"/>
                    <a:gd name="connsiteX34" fmla="*/ 1120775 w 2143125"/>
                    <a:gd name="connsiteY34" fmla="*/ 568325 h 1406525"/>
                    <a:gd name="connsiteX35" fmla="*/ 1111250 w 2143125"/>
                    <a:gd name="connsiteY35" fmla="*/ 600075 h 1406525"/>
                    <a:gd name="connsiteX36" fmla="*/ 1104900 w 2143125"/>
                    <a:gd name="connsiteY36" fmla="*/ 635000 h 1406525"/>
                    <a:gd name="connsiteX37" fmla="*/ 1095375 w 2143125"/>
                    <a:gd name="connsiteY37" fmla="*/ 660400 h 1406525"/>
                    <a:gd name="connsiteX38" fmla="*/ 1092200 w 2143125"/>
                    <a:gd name="connsiteY38" fmla="*/ 673100 h 1406525"/>
                    <a:gd name="connsiteX39" fmla="*/ 1089025 w 2143125"/>
                    <a:gd name="connsiteY39" fmla="*/ 682625 h 1406525"/>
                    <a:gd name="connsiteX40" fmla="*/ 1076325 w 2143125"/>
                    <a:gd name="connsiteY40" fmla="*/ 720725 h 1406525"/>
                    <a:gd name="connsiteX41" fmla="*/ 1035050 w 2143125"/>
                    <a:gd name="connsiteY41" fmla="*/ 822325 h 1406525"/>
                    <a:gd name="connsiteX42" fmla="*/ 996950 w 2143125"/>
                    <a:gd name="connsiteY42" fmla="*/ 933450 h 1406525"/>
                    <a:gd name="connsiteX43" fmla="*/ 965200 w 2143125"/>
                    <a:gd name="connsiteY43" fmla="*/ 974725 h 1406525"/>
                    <a:gd name="connsiteX44" fmla="*/ 930275 w 2143125"/>
                    <a:gd name="connsiteY44" fmla="*/ 1025525 h 1406525"/>
                    <a:gd name="connsiteX45" fmla="*/ 828675 w 2143125"/>
                    <a:gd name="connsiteY45" fmla="*/ 1031875 h 1406525"/>
                    <a:gd name="connsiteX46" fmla="*/ 742950 w 2143125"/>
                    <a:gd name="connsiteY46" fmla="*/ 968375 h 1406525"/>
                    <a:gd name="connsiteX47" fmla="*/ 692150 w 2143125"/>
                    <a:gd name="connsiteY47" fmla="*/ 895350 h 1406525"/>
                    <a:gd name="connsiteX48" fmla="*/ 647700 w 2143125"/>
                    <a:gd name="connsiteY48" fmla="*/ 844550 h 1406525"/>
                    <a:gd name="connsiteX49" fmla="*/ 596900 w 2143125"/>
                    <a:gd name="connsiteY49" fmla="*/ 790575 h 1406525"/>
                    <a:gd name="connsiteX50" fmla="*/ 523875 w 2143125"/>
                    <a:gd name="connsiteY50" fmla="*/ 711200 h 1406525"/>
                    <a:gd name="connsiteX51" fmla="*/ 473075 w 2143125"/>
                    <a:gd name="connsiteY51" fmla="*/ 695325 h 1406525"/>
                    <a:gd name="connsiteX52" fmla="*/ 434975 w 2143125"/>
                    <a:gd name="connsiteY52" fmla="*/ 717550 h 1406525"/>
                    <a:gd name="connsiteX53" fmla="*/ 431800 w 2143125"/>
                    <a:gd name="connsiteY53" fmla="*/ 755650 h 1406525"/>
                    <a:gd name="connsiteX54" fmla="*/ 425450 w 2143125"/>
                    <a:gd name="connsiteY54" fmla="*/ 793750 h 1406525"/>
                    <a:gd name="connsiteX55" fmla="*/ 425450 w 2143125"/>
                    <a:gd name="connsiteY55" fmla="*/ 831850 h 1406525"/>
                    <a:gd name="connsiteX56" fmla="*/ 425450 w 2143125"/>
                    <a:gd name="connsiteY56" fmla="*/ 876300 h 1406525"/>
                    <a:gd name="connsiteX57" fmla="*/ 422275 w 2143125"/>
                    <a:gd name="connsiteY57" fmla="*/ 904875 h 1406525"/>
                    <a:gd name="connsiteX58" fmla="*/ 412750 w 2143125"/>
                    <a:gd name="connsiteY58" fmla="*/ 968375 h 1406525"/>
                    <a:gd name="connsiteX59" fmla="*/ 396875 w 2143125"/>
                    <a:gd name="connsiteY59" fmla="*/ 1016000 h 1406525"/>
                    <a:gd name="connsiteX60" fmla="*/ 358775 w 2143125"/>
                    <a:gd name="connsiteY60" fmla="*/ 1031875 h 1406525"/>
                    <a:gd name="connsiteX61" fmla="*/ 301625 w 2143125"/>
                    <a:gd name="connsiteY61" fmla="*/ 1022350 h 1406525"/>
                    <a:gd name="connsiteX62" fmla="*/ 273050 w 2143125"/>
                    <a:gd name="connsiteY62" fmla="*/ 1006475 h 1406525"/>
                    <a:gd name="connsiteX63" fmla="*/ 222250 w 2143125"/>
                    <a:gd name="connsiteY63" fmla="*/ 984250 h 1406525"/>
                    <a:gd name="connsiteX64" fmla="*/ 187325 w 2143125"/>
                    <a:gd name="connsiteY64" fmla="*/ 962025 h 1406525"/>
                    <a:gd name="connsiteX65" fmla="*/ 152400 w 2143125"/>
                    <a:gd name="connsiteY65" fmla="*/ 936625 h 1406525"/>
                    <a:gd name="connsiteX66" fmla="*/ 104775 w 2143125"/>
                    <a:gd name="connsiteY66" fmla="*/ 885825 h 1406525"/>
                    <a:gd name="connsiteX67" fmla="*/ 57150 w 2143125"/>
                    <a:gd name="connsiteY67" fmla="*/ 822325 h 1406525"/>
                    <a:gd name="connsiteX68" fmla="*/ 0 w 2143125"/>
                    <a:gd name="connsiteY68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1679 w 2143125"/>
                    <a:gd name="connsiteY12" fmla="*/ 628077 h 1406525"/>
                    <a:gd name="connsiteX13" fmla="*/ 1704975 w 2143125"/>
                    <a:gd name="connsiteY13" fmla="*/ 752475 h 1406525"/>
                    <a:gd name="connsiteX14" fmla="*/ 1701800 w 2143125"/>
                    <a:gd name="connsiteY14" fmla="*/ 762000 h 1406525"/>
                    <a:gd name="connsiteX15" fmla="*/ 1610659 w 2143125"/>
                    <a:gd name="connsiteY15" fmla="*/ 699201 h 1406525"/>
                    <a:gd name="connsiteX16" fmla="*/ 1641475 w 2143125"/>
                    <a:gd name="connsiteY16" fmla="*/ 885825 h 1406525"/>
                    <a:gd name="connsiteX17" fmla="*/ 1619250 w 2143125"/>
                    <a:gd name="connsiteY17" fmla="*/ 917575 h 1406525"/>
                    <a:gd name="connsiteX18" fmla="*/ 1577975 w 2143125"/>
                    <a:gd name="connsiteY18" fmla="*/ 949325 h 1406525"/>
                    <a:gd name="connsiteX19" fmla="*/ 1543050 w 2143125"/>
                    <a:gd name="connsiteY19" fmla="*/ 958850 h 1406525"/>
                    <a:gd name="connsiteX20" fmla="*/ 1501775 w 2143125"/>
                    <a:gd name="connsiteY20" fmla="*/ 958850 h 1406525"/>
                    <a:gd name="connsiteX21" fmla="*/ 1470025 w 2143125"/>
                    <a:gd name="connsiteY21" fmla="*/ 949325 h 1406525"/>
                    <a:gd name="connsiteX22" fmla="*/ 1447800 w 2143125"/>
                    <a:gd name="connsiteY22" fmla="*/ 904875 h 1406525"/>
                    <a:gd name="connsiteX23" fmla="*/ 1409700 w 2143125"/>
                    <a:gd name="connsiteY23" fmla="*/ 863600 h 1406525"/>
                    <a:gd name="connsiteX24" fmla="*/ 1377950 w 2143125"/>
                    <a:gd name="connsiteY24" fmla="*/ 777875 h 1406525"/>
                    <a:gd name="connsiteX25" fmla="*/ 1362075 w 2143125"/>
                    <a:gd name="connsiteY25" fmla="*/ 736600 h 1406525"/>
                    <a:gd name="connsiteX26" fmla="*/ 1333500 w 2143125"/>
                    <a:gd name="connsiteY26" fmla="*/ 666750 h 1406525"/>
                    <a:gd name="connsiteX27" fmla="*/ 1304925 w 2143125"/>
                    <a:gd name="connsiteY27" fmla="*/ 600075 h 1406525"/>
                    <a:gd name="connsiteX28" fmla="*/ 1260475 w 2143125"/>
                    <a:gd name="connsiteY28" fmla="*/ 517525 h 1406525"/>
                    <a:gd name="connsiteX29" fmla="*/ 1241425 w 2143125"/>
                    <a:gd name="connsiteY29" fmla="*/ 501650 h 1406525"/>
                    <a:gd name="connsiteX30" fmla="*/ 1212850 w 2143125"/>
                    <a:gd name="connsiteY30" fmla="*/ 492125 h 1406525"/>
                    <a:gd name="connsiteX31" fmla="*/ 1158875 w 2143125"/>
                    <a:gd name="connsiteY31" fmla="*/ 508000 h 1406525"/>
                    <a:gd name="connsiteX32" fmla="*/ 1133475 w 2143125"/>
                    <a:gd name="connsiteY32" fmla="*/ 546100 h 1406525"/>
                    <a:gd name="connsiteX33" fmla="*/ 1120775 w 2143125"/>
                    <a:gd name="connsiteY33" fmla="*/ 568325 h 1406525"/>
                    <a:gd name="connsiteX34" fmla="*/ 1111250 w 2143125"/>
                    <a:gd name="connsiteY34" fmla="*/ 600075 h 1406525"/>
                    <a:gd name="connsiteX35" fmla="*/ 1104900 w 2143125"/>
                    <a:gd name="connsiteY35" fmla="*/ 635000 h 1406525"/>
                    <a:gd name="connsiteX36" fmla="*/ 1095375 w 2143125"/>
                    <a:gd name="connsiteY36" fmla="*/ 660400 h 1406525"/>
                    <a:gd name="connsiteX37" fmla="*/ 1092200 w 2143125"/>
                    <a:gd name="connsiteY37" fmla="*/ 673100 h 1406525"/>
                    <a:gd name="connsiteX38" fmla="*/ 1089025 w 2143125"/>
                    <a:gd name="connsiteY38" fmla="*/ 682625 h 1406525"/>
                    <a:gd name="connsiteX39" fmla="*/ 1076325 w 2143125"/>
                    <a:gd name="connsiteY39" fmla="*/ 720725 h 1406525"/>
                    <a:gd name="connsiteX40" fmla="*/ 1035050 w 2143125"/>
                    <a:gd name="connsiteY40" fmla="*/ 822325 h 1406525"/>
                    <a:gd name="connsiteX41" fmla="*/ 996950 w 2143125"/>
                    <a:gd name="connsiteY41" fmla="*/ 933450 h 1406525"/>
                    <a:gd name="connsiteX42" fmla="*/ 965200 w 2143125"/>
                    <a:gd name="connsiteY42" fmla="*/ 974725 h 1406525"/>
                    <a:gd name="connsiteX43" fmla="*/ 930275 w 2143125"/>
                    <a:gd name="connsiteY43" fmla="*/ 1025525 h 1406525"/>
                    <a:gd name="connsiteX44" fmla="*/ 828675 w 2143125"/>
                    <a:gd name="connsiteY44" fmla="*/ 1031875 h 1406525"/>
                    <a:gd name="connsiteX45" fmla="*/ 742950 w 2143125"/>
                    <a:gd name="connsiteY45" fmla="*/ 968375 h 1406525"/>
                    <a:gd name="connsiteX46" fmla="*/ 692150 w 2143125"/>
                    <a:gd name="connsiteY46" fmla="*/ 895350 h 1406525"/>
                    <a:gd name="connsiteX47" fmla="*/ 647700 w 2143125"/>
                    <a:gd name="connsiteY47" fmla="*/ 844550 h 1406525"/>
                    <a:gd name="connsiteX48" fmla="*/ 596900 w 2143125"/>
                    <a:gd name="connsiteY48" fmla="*/ 790575 h 1406525"/>
                    <a:gd name="connsiteX49" fmla="*/ 523875 w 2143125"/>
                    <a:gd name="connsiteY49" fmla="*/ 711200 h 1406525"/>
                    <a:gd name="connsiteX50" fmla="*/ 473075 w 2143125"/>
                    <a:gd name="connsiteY50" fmla="*/ 695325 h 1406525"/>
                    <a:gd name="connsiteX51" fmla="*/ 434975 w 2143125"/>
                    <a:gd name="connsiteY51" fmla="*/ 717550 h 1406525"/>
                    <a:gd name="connsiteX52" fmla="*/ 431800 w 2143125"/>
                    <a:gd name="connsiteY52" fmla="*/ 755650 h 1406525"/>
                    <a:gd name="connsiteX53" fmla="*/ 425450 w 2143125"/>
                    <a:gd name="connsiteY53" fmla="*/ 793750 h 1406525"/>
                    <a:gd name="connsiteX54" fmla="*/ 425450 w 2143125"/>
                    <a:gd name="connsiteY54" fmla="*/ 831850 h 1406525"/>
                    <a:gd name="connsiteX55" fmla="*/ 425450 w 2143125"/>
                    <a:gd name="connsiteY55" fmla="*/ 876300 h 1406525"/>
                    <a:gd name="connsiteX56" fmla="*/ 422275 w 2143125"/>
                    <a:gd name="connsiteY56" fmla="*/ 904875 h 1406525"/>
                    <a:gd name="connsiteX57" fmla="*/ 412750 w 2143125"/>
                    <a:gd name="connsiteY57" fmla="*/ 968375 h 1406525"/>
                    <a:gd name="connsiteX58" fmla="*/ 396875 w 2143125"/>
                    <a:gd name="connsiteY58" fmla="*/ 1016000 h 1406525"/>
                    <a:gd name="connsiteX59" fmla="*/ 358775 w 2143125"/>
                    <a:gd name="connsiteY59" fmla="*/ 1031875 h 1406525"/>
                    <a:gd name="connsiteX60" fmla="*/ 301625 w 2143125"/>
                    <a:gd name="connsiteY60" fmla="*/ 1022350 h 1406525"/>
                    <a:gd name="connsiteX61" fmla="*/ 273050 w 2143125"/>
                    <a:gd name="connsiteY61" fmla="*/ 1006475 h 1406525"/>
                    <a:gd name="connsiteX62" fmla="*/ 222250 w 2143125"/>
                    <a:gd name="connsiteY62" fmla="*/ 984250 h 1406525"/>
                    <a:gd name="connsiteX63" fmla="*/ 187325 w 2143125"/>
                    <a:gd name="connsiteY63" fmla="*/ 962025 h 1406525"/>
                    <a:gd name="connsiteX64" fmla="*/ 152400 w 2143125"/>
                    <a:gd name="connsiteY64" fmla="*/ 936625 h 1406525"/>
                    <a:gd name="connsiteX65" fmla="*/ 104775 w 2143125"/>
                    <a:gd name="connsiteY65" fmla="*/ 885825 h 1406525"/>
                    <a:gd name="connsiteX66" fmla="*/ 57150 w 2143125"/>
                    <a:gd name="connsiteY66" fmla="*/ 822325 h 1406525"/>
                    <a:gd name="connsiteX67" fmla="*/ 0 w 2143125"/>
                    <a:gd name="connsiteY67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1679 w 2143125"/>
                    <a:gd name="connsiteY12" fmla="*/ 628077 h 1406525"/>
                    <a:gd name="connsiteX13" fmla="*/ 1704975 w 2143125"/>
                    <a:gd name="connsiteY13" fmla="*/ 752475 h 1406525"/>
                    <a:gd name="connsiteX14" fmla="*/ 1610659 w 2143125"/>
                    <a:gd name="connsiteY14" fmla="*/ 699201 h 1406525"/>
                    <a:gd name="connsiteX15" fmla="*/ 1641475 w 2143125"/>
                    <a:gd name="connsiteY15" fmla="*/ 885825 h 1406525"/>
                    <a:gd name="connsiteX16" fmla="*/ 1619250 w 2143125"/>
                    <a:gd name="connsiteY16" fmla="*/ 917575 h 1406525"/>
                    <a:gd name="connsiteX17" fmla="*/ 1577975 w 2143125"/>
                    <a:gd name="connsiteY17" fmla="*/ 949325 h 1406525"/>
                    <a:gd name="connsiteX18" fmla="*/ 1543050 w 2143125"/>
                    <a:gd name="connsiteY18" fmla="*/ 958850 h 1406525"/>
                    <a:gd name="connsiteX19" fmla="*/ 1501775 w 2143125"/>
                    <a:gd name="connsiteY19" fmla="*/ 958850 h 1406525"/>
                    <a:gd name="connsiteX20" fmla="*/ 1470025 w 2143125"/>
                    <a:gd name="connsiteY20" fmla="*/ 949325 h 1406525"/>
                    <a:gd name="connsiteX21" fmla="*/ 1447800 w 2143125"/>
                    <a:gd name="connsiteY21" fmla="*/ 904875 h 1406525"/>
                    <a:gd name="connsiteX22" fmla="*/ 1409700 w 2143125"/>
                    <a:gd name="connsiteY22" fmla="*/ 863600 h 1406525"/>
                    <a:gd name="connsiteX23" fmla="*/ 1377950 w 2143125"/>
                    <a:gd name="connsiteY23" fmla="*/ 777875 h 1406525"/>
                    <a:gd name="connsiteX24" fmla="*/ 1362075 w 2143125"/>
                    <a:gd name="connsiteY24" fmla="*/ 736600 h 1406525"/>
                    <a:gd name="connsiteX25" fmla="*/ 1333500 w 2143125"/>
                    <a:gd name="connsiteY25" fmla="*/ 666750 h 1406525"/>
                    <a:gd name="connsiteX26" fmla="*/ 1304925 w 2143125"/>
                    <a:gd name="connsiteY26" fmla="*/ 600075 h 1406525"/>
                    <a:gd name="connsiteX27" fmla="*/ 1260475 w 2143125"/>
                    <a:gd name="connsiteY27" fmla="*/ 517525 h 1406525"/>
                    <a:gd name="connsiteX28" fmla="*/ 1241425 w 2143125"/>
                    <a:gd name="connsiteY28" fmla="*/ 501650 h 1406525"/>
                    <a:gd name="connsiteX29" fmla="*/ 1212850 w 2143125"/>
                    <a:gd name="connsiteY29" fmla="*/ 492125 h 1406525"/>
                    <a:gd name="connsiteX30" fmla="*/ 1158875 w 2143125"/>
                    <a:gd name="connsiteY30" fmla="*/ 508000 h 1406525"/>
                    <a:gd name="connsiteX31" fmla="*/ 1133475 w 2143125"/>
                    <a:gd name="connsiteY31" fmla="*/ 546100 h 1406525"/>
                    <a:gd name="connsiteX32" fmla="*/ 1120775 w 2143125"/>
                    <a:gd name="connsiteY32" fmla="*/ 568325 h 1406525"/>
                    <a:gd name="connsiteX33" fmla="*/ 1111250 w 2143125"/>
                    <a:gd name="connsiteY33" fmla="*/ 600075 h 1406525"/>
                    <a:gd name="connsiteX34" fmla="*/ 1104900 w 2143125"/>
                    <a:gd name="connsiteY34" fmla="*/ 635000 h 1406525"/>
                    <a:gd name="connsiteX35" fmla="*/ 1095375 w 2143125"/>
                    <a:gd name="connsiteY35" fmla="*/ 660400 h 1406525"/>
                    <a:gd name="connsiteX36" fmla="*/ 1092200 w 2143125"/>
                    <a:gd name="connsiteY36" fmla="*/ 673100 h 1406525"/>
                    <a:gd name="connsiteX37" fmla="*/ 1089025 w 2143125"/>
                    <a:gd name="connsiteY37" fmla="*/ 682625 h 1406525"/>
                    <a:gd name="connsiteX38" fmla="*/ 1076325 w 2143125"/>
                    <a:gd name="connsiteY38" fmla="*/ 720725 h 1406525"/>
                    <a:gd name="connsiteX39" fmla="*/ 1035050 w 2143125"/>
                    <a:gd name="connsiteY39" fmla="*/ 822325 h 1406525"/>
                    <a:gd name="connsiteX40" fmla="*/ 996950 w 2143125"/>
                    <a:gd name="connsiteY40" fmla="*/ 933450 h 1406525"/>
                    <a:gd name="connsiteX41" fmla="*/ 965200 w 2143125"/>
                    <a:gd name="connsiteY41" fmla="*/ 974725 h 1406525"/>
                    <a:gd name="connsiteX42" fmla="*/ 930275 w 2143125"/>
                    <a:gd name="connsiteY42" fmla="*/ 1025525 h 1406525"/>
                    <a:gd name="connsiteX43" fmla="*/ 828675 w 2143125"/>
                    <a:gd name="connsiteY43" fmla="*/ 1031875 h 1406525"/>
                    <a:gd name="connsiteX44" fmla="*/ 742950 w 2143125"/>
                    <a:gd name="connsiteY44" fmla="*/ 968375 h 1406525"/>
                    <a:gd name="connsiteX45" fmla="*/ 692150 w 2143125"/>
                    <a:gd name="connsiteY45" fmla="*/ 895350 h 1406525"/>
                    <a:gd name="connsiteX46" fmla="*/ 647700 w 2143125"/>
                    <a:gd name="connsiteY46" fmla="*/ 844550 h 1406525"/>
                    <a:gd name="connsiteX47" fmla="*/ 596900 w 2143125"/>
                    <a:gd name="connsiteY47" fmla="*/ 790575 h 1406525"/>
                    <a:gd name="connsiteX48" fmla="*/ 523875 w 2143125"/>
                    <a:gd name="connsiteY48" fmla="*/ 711200 h 1406525"/>
                    <a:gd name="connsiteX49" fmla="*/ 473075 w 2143125"/>
                    <a:gd name="connsiteY49" fmla="*/ 695325 h 1406525"/>
                    <a:gd name="connsiteX50" fmla="*/ 434975 w 2143125"/>
                    <a:gd name="connsiteY50" fmla="*/ 717550 h 1406525"/>
                    <a:gd name="connsiteX51" fmla="*/ 431800 w 2143125"/>
                    <a:gd name="connsiteY51" fmla="*/ 755650 h 1406525"/>
                    <a:gd name="connsiteX52" fmla="*/ 425450 w 2143125"/>
                    <a:gd name="connsiteY52" fmla="*/ 793750 h 1406525"/>
                    <a:gd name="connsiteX53" fmla="*/ 425450 w 2143125"/>
                    <a:gd name="connsiteY53" fmla="*/ 831850 h 1406525"/>
                    <a:gd name="connsiteX54" fmla="*/ 425450 w 2143125"/>
                    <a:gd name="connsiteY54" fmla="*/ 876300 h 1406525"/>
                    <a:gd name="connsiteX55" fmla="*/ 422275 w 2143125"/>
                    <a:gd name="connsiteY55" fmla="*/ 904875 h 1406525"/>
                    <a:gd name="connsiteX56" fmla="*/ 412750 w 2143125"/>
                    <a:gd name="connsiteY56" fmla="*/ 968375 h 1406525"/>
                    <a:gd name="connsiteX57" fmla="*/ 396875 w 2143125"/>
                    <a:gd name="connsiteY57" fmla="*/ 1016000 h 1406525"/>
                    <a:gd name="connsiteX58" fmla="*/ 358775 w 2143125"/>
                    <a:gd name="connsiteY58" fmla="*/ 1031875 h 1406525"/>
                    <a:gd name="connsiteX59" fmla="*/ 301625 w 2143125"/>
                    <a:gd name="connsiteY59" fmla="*/ 1022350 h 1406525"/>
                    <a:gd name="connsiteX60" fmla="*/ 273050 w 2143125"/>
                    <a:gd name="connsiteY60" fmla="*/ 1006475 h 1406525"/>
                    <a:gd name="connsiteX61" fmla="*/ 222250 w 2143125"/>
                    <a:gd name="connsiteY61" fmla="*/ 984250 h 1406525"/>
                    <a:gd name="connsiteX62" fmla="*/ 187325 w 2143125"/>
                    <a:gd name="connsiteY62" fmla="*/ 962025 h 1406525"/>
                    <a:gd name="connsiteX63" fmla="*/ 152400 w 2143125"/>
                    <a:gd name="connsiteY63" fmla="*/ 936625 h 1406525"/>
                    <a:gd name="connsiteX64" fmla="*/ 104775 w 2143125"/>
                    <a:gd name="connsiteY64" fmla="*/ 885825 h 1406525"/>
                    <a:gd name="connsiteX65" fmla="*/ 57150 w 2143125"/>
                    <a:gd name="connsiteY65" fmla="*/ 822325 h 1406525"/>
                    <a:gd name="connsiteX66" fmla="*/ 0 w 2143125"/>
                    <a:gd name="connsiteY66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1679 w 2143125"/>
                    <a:gd name="connsiteY12" fmla="*/ 628077 h 1406525"/>
                    <a:gd name="connsiteX13" fmla="*/ 1610659 w 2143125"/>
                    <a:gd name="connsiteY13" fmla="*/ 699201 h 1406525"/>
                    <a:gd name="connsiteX14" fmla="*/ 1641475 w 2143125"/>
                    <a:gd name="connsiteY14" fmla="*/ 885825 h 1406525"/>
                    <a:gd name="connsiteX15" fmla="*/ 1619250 w 2143125"/>
                    <a:gd name="connsiteY15" fmla="*/ 917575 h 1406525"/>
                    <a:gd name="connsiteX16" fmla="*/ 1577975 w 2143125"/>
                    <a:gd name="connsiteY16" fmla="*/ 949325 h 1406525"/>
                    <a:gd name="connsiteX17" fmla="*/ 1543050 w 2143125"/>
                    <a:gd name="connsiteY17" fmla="*/ 958850 h 1406525"/>
                    <a:gd name="connsiteX18" fmla="*/ 1501775 w 2143125"/>
                    <a:gd name="connsiteY18" fmla="*/ 958850 h 1406525"/>
                    <a:gd name="connsiteX19" fmla="*/ 1470025 w 2143125"/>
                    <a:gd name="connsiteY19" fmla="*/ 949325 h 1406525"/>
                    <a:gd name="connsiteX20" fmla="*/ 1447800 w 2143125"/>
                    <a:gd name="connsiteY20" fmla="*/ 904875 h 1406525"/>
                    <a:gd name="connsiteX21" fmla="*/ 1409700 w 2143125"/>
                    <a:gd name="connsiteY21" fmla="*/ 863600 h 1406525"/>
                    <a:gd name="connsiteX22" fmla="*/ 1377950 w 2143125"/>
                    <a:gd name="connsiteY22" fmla="*/ 777875 h 1406525"/>
                    <a:gd name="connsiteX23" fmla="*/ 1362075 w 2143125"/>
                    <a:gd name="connsiteY23" fmla="*/ 736600 h 1406525"/>
                    <a:gd name="connsiteX24" fmla="*/ 1333500 w 2143125"/>
                    <a:gd name="connsiteY24" fmla="*/ 666750 h 1406525"/>
                    <a:gd name="connsiteX25" fmla="*/ 1304925 w 2143125"/>
                    <a:gd name="connsiteY25" fmla="*/ 600075 h 1406525"/>
                    <a:gd name="connsiteX26" fmla="*/ 1260475 w 2143125"/>
                    <a:gd name="connsiteY26" fmla="*/ 517525 h 1406525"/>
                    <a:gd name="connsiteX27" fmla="*/ 1241425 w 2143125"/>
                    <a:gd name="connsiteY27" fmla="*/ 501650 h 1406525"/>
                    <a:gd name="connsiteX28" fmla="*/ 1212850 w 2143125"/>
                    <a:gd name="connsiteY28" fmla="*/ 492125 h 1406525"/>
                    <a:gd name="connsiteX29" fmla="*/ 1158875 w 2143125"/>
                    <a:gd name="connsiteY29" fmla="*/ 508000 h 1406525"/>
                    <a:gd name="connsiteX30" fmla="*/ 1133475 w 2143125"/>
                    <a:gd name="connsiteY30" fmla="*/ 546100 h 1406525"/>
                    <a:gd name="connsiteX31" fmla="*/ 1120775 w 2143125"/>
                    <a:gd name="connsiteY31" fmla="*/ 568325 h 1406525"/>
                    <a:gd name="connsiteX32" fmla="*/ 1111250 w 2143125"/>
                    <a:gd name="connsiteY32" fmla="*/ 600075 h 1406525"/>
                    <a:gd name="connsiteX33" fmla="*/ 1104900 w 2143125"/>
                    <a:gd name="connsiteY33" fmla="*/ 635000 h 1406525"/>
                    <a:gd name="connsiteX34" fmla="*/ 1095375 w 2143125"/>
                    <a:gd name="connsiteY34" fmla="*/ 660400 h 1406525"/>
                    <a:gd name="connsiteX35" fmla="*/ 1092200 w 2143125"/>
                    <a:gd name="connsiteY35" fmla="*/ 673100 h 1406525"/>
                    <a:gd name="connsiteX36" fmla="*/ 1089025 w 2143125"/>
                    <a:gd name="connsiteY36" fmla="*/ 682625 h 1406525"/>
                    <a:gd name="connsiteX37" fmla="*/ 1076325 w 2143125"/>
                    <a:gd name="connsiteY37" fmla="*/ 720725 h 1406525"/>
                    <a:gd name="connsiteX38" fmla="*/ 1035050 w 2143125"/>
                    <a:gd name="connsiteY38" fmla="*/ 822325 h 1406525"/>
                    <a:gd name="connsiteX39" fmla="*/ 996950 w 2143125"/>
                    <a:gd name="connsiteY39" fmla="*/ 933450 h 1406525"/>
                    <a:gd name="connsiteX40" fmla="*/ 965200 w 2143125"/>
                    <a:gd name="connsiteY40" fmla="*/ 974725 h 1406525"/>
                    <a:gd name="connsiteX41" fmla="*/ 930275 w 2143125"/>
                    <a:gd name="connsiteY41" fmla="*/ 1025525 h 1406525"/>
                    <a:gd name="connsiteX42" fmla="*/ 828675 w 2143125"/>
                    <a:gd name="connsiteY42" fmla="*/ 1031875 h 1406525"/>
                    <a:gd name="connsiteX43" fmla="*/ 742950 w 2143125"/>
                    <a:gd name="connsiteY43" fmla="*/ 968375 h 1406525"/>
                    <a:gd name="connsiteX44" fmla="*/ 692150 w 2143125"/>
                    <a:gd name="connsiteY44" fmla="*/ 895350 h 1406525"/>
                    <a:gd name="connsiteX45" fmla="*/ 647700 w 2143125"/>
                    <a:gd name="connsiteY45" fmla="*/ 844550 h 1406525"/>
                    <a:gd name="connsiteX46" fmla="*/ 596900 w 2143125"/>
                    <a:gd name="connsiteY46" fmla="*/ 790575 h 1406525"/>
                    <a:gd name="connsiteX47" fmla="*/ 523875 w 2143125"/>
                    <a:gd name="connsiteY47" fmla="*/ 711200 h 1406525"/>
                    <a:gd name="connsiteX48" fmla="*/ 473075 w 2143125"/>
                    <a:gd name="connsiteY48" fmla="*/ 695325 h 1406525"/>
                    <a:gd name="connsiteX49" fmla="*/ 434975 w 2143125"/>
                    <a:gd name="connsiteY49" fmla="*/ 717550 h 1406525"/>
                    <a:gd name="connsiteX50" fmla="*/ 431800 w 2143125"/>
                    <a:gd name="connsiteY50" fmla="*/ 755650 h 1406525"/>
                    <a:gd name="connsiteX51" fmla="*/ 425450 w 2143125"/>
                    <a:gd name="connsiteY51" fmla="*/ 793750 h 1406525"/>
                    <a:gd name="connsiteX52" fmla="*/ 425450 w 2143125"/>
                    <a:gd name="connsiteY52" fmla="*/ 831850 h 1406525"/>
                    <a:gd name="connsiteX53" fmla="*/ 425450 w 2143125"/>
                    <a:gd name="connsiteY53" fmla="*/ 876300 h 1406525"/>
                    <a:gd name="connsiteX54" fmla="*/ 422275 w 2143125"/>
                    <a:gd name="connsiteY54" fmla="*/ 904875 h 1406525"/>
                    <a:gd name="connsiteX55" fmla="*/ 412750 w 2143125"/>
                    <a:gd name="connsiteY55" fmla="*/ 968375 h 1406525"/>
                    <a:gd name="connsiteX56" fmla="*/ 396875 w 2143125"/>
                    <a:gd name="connsiteY56" fmla="*/ 1016000 h 1406525"/>
                    <a:gd name="connsiteX57" fmla="*/ 358775 w 2143125"/>
                    <a:gd name="connsiteY57" fmla="*/ 1031875 h 1406525"/>
                    <a:gd name="connsiteX58" fmla="*/ 301625 w 2143125"/>
                    <a:gd name="connsiteY58" fmla="*/ 1022350 h 1406525"/>
                    <a:gd name="connsiteX59" fmla="*/ 273050 w 2143125"/>
                    <a:gd name="connsiteY59" fmla="*/ 1006475 h 1406525"/>
                    <a:gd name="connsiteX60" fmla="*/ 222250 w 2143125"/>
                    <a:gd name="connsiteY60" fmla="*/ 984250 h 1406525"/>
                    <a:gd name="connsiteX61" fmla="*/ 187325 w 2143125"/>
                    <a:gd name="connsiteY61" fmla="*/ 962025 h 1406525"/>
                    <a:gd name="connsiteX62" fmla="*/ 152400 w 2143125"/>
                    <a:gd name="connsiteY62" fmla="*/ 936625 h 1406525"/>
                    <a:gd name="connsiteX63" fmla="*/ 104775 w 2143125"/>
                    <a:gd name="connsiteY63" fmla="*/ 885825 h 1406525"/>
                    <a:gd name="connsiteX64" fmla="*/ 57150 w 2143125"/>
                    <a:gd name="connsiteY64" fmla="*/ 822325 h 1406525"/>
                    <a:gd name="connsiteX65" fmla="*/ 0 w 2143125"/>
                    <a:gd name="connsiteY6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1679 w 2143125"/>
                    <a:gd name="connsiteY12" fmla="*/ 628077 h 1406525"/>
                    <a:gd name="connsiteX13" fmla="*/ 1610659 w 2143125"/>
                    <a:gd name="connsiteY13" fmla="*/ 723951 h 1406525"/>
                    <a:gd name="connsiteX14" fmla="*/ 1641475 w 2143125"/>
                    <a:gd name="connsiteY14" fmla="*/ 885825 h 1406525"/>
                    <a:gd name="connsiteX15" fmla="*/ 1619250 w 2143125"/>
                    <a:gd name="connsiteY15" fmla="*/ 917575 h 1406525"/>
                    <a:gd name="connsiteX16" fmla="*/ 1577975 w 2143125"/>
                    <a:gd name="connsiteY16" fmla="*/ 949325 h 1406525"/>
                    <a:gd name="connsiteX17" fmla="*/ 1543050 w 2143125"/>
                    <a:gd name="connsiteY17" fmla="*/ 958850 h 1406525"/>
                    <a:gd name="connsiteX18" fmla="*/ 1501775 w 2143125"/>
                    <a:gd name="connsiteY18" fmla="*/ 958850 h 1406525"/>
                    <a:gd name="connsiteX19" fmla="*/ 1470025 w 2143125"/>
                    <a:gd name="connsiteY19" fmla="*/ 949325 h 1406525"/>
                    <a:gd name="connsiteX20" fmla="*/ 1447800 w 2143125"/>
                    <a:gd name="connsiteY20" fmla="*/ 904875 h 1406525"/>
                    <a:gd name="connsiteX21" fmla="*/ 1409700 w 2143125"/>
                    <a:gd name="connsiteY21" fmla="*/ 863600 h 1406525"/>
                    <a:gd name="connsiteX22" fmla="*/ 1377950 w 2143125"/>
                    <a:gd name="connsiteY22" fmla="*/ 777875 h 1406525"/>
                    <a:gd name="connsiteX23" fmla="*/ 1362075 w 2143125"/>
                    <a:gd name="connsiteY23" fmla="*/ 736600 h 1406525"/>
                    <a:gd name="connsiteX24" fmla="*/ 1333500 w 2143125"/>
                    <a:gd name="connsiteY24" fmla="*/ 666750 h 1406525"/>
                    <a:gd name="connsiteX25" fmla="*/ 1304925 w 2143125"/>
                    <a:gd name="connsiteY25" fmla="*/ 600075 h 1406525"/>
                    <a:gd name="connsiteX26" fmla="*/ 1260475 w 2143125"/>
                    <a:gd name="connsiteY26" fmla="*/ 517525 h 1406525"/>
                    <a:gd name="connsiteX27" fmla="*/ 1241425 w 2143125"/>
                    <a:gd name="connsiteY27" fmla="*/ 501650 h 1406525"/>
                    <a:gd name="connsiteX28" fmla="*/ 1212850 w 2143125"/>
                    <a:gd name="connsiteY28" fmla="*/ 492125 h 1406525"/>
                    <a:gd name="connsiteX29" fmla="*/ 1158875 w 2143125"/>
                    <a:gd name="connsiteY29" fmla="*/ 508000 h 1406525"/>
                    <a:gd name="connsiteX30" fmla="*/ 1133475 w 2143125"/>
                    <a:gd name="connsiteY30" fmla="*/ 546100 h 1406525"/>
                    <a:gd name="connsiteX31" fmla="*/ 1120775 w 2143125"/>
                    <a:gd name="connsiteY31" fmla="*/ 568325 h 1406525"/>
                    <a:gd name="connsiteX32" fmla="*/ 1111250 w 2143125"/>
                    <a:gd name="connsiteY32" fmla="*/ 600075 h 1406525"/>
                    <a:gd name="connsiteX33" fmla="*/ 1104900 w 2143125"/>
                    <a:gd name="connsiteY33" fmla="*/ 635000 h 1406525"/>
                    <a:gd name="connsiteX34" fmla="*/ 1095375 w 2143125"/>
                    <a:gd name="connsiteY34" fmla="*/ 660400 h 1406525"/>
                    <a:gd name="connsiteX35" fmla="*/ 1092200 w 2143125"/>
                    <a:gd name="connsiteY35" fmla="*/ 673100 h 1406525"/>
                    <a:gd name="connsiteX36" fmla="*/ 1089025 w 2143125"/>
                    <a:gd name="connsiteY36" fmla="*/ 682625 h 1406525"/>
                    <a:gd name="connsiteX37" fmla="*/ 1076325 w 2143125"/>
                    <a:gd name="connsiteY37" fmla="*/ 720725 h 1406525"/>
                    <a:gd name="connsiteX38" fmla="*/ 1035050 w 2143125"/>
                    <a:gd name="connsiteY38" fmla="*/ 822325 h 1406525"/>
                    <a:gd name="connsiteX39" fmla="*/ 996950 w 2143125"/>
                    <a:gd name="connsiteY39" fmla="*/ 933450 h 1406525"/>
                    <a:gd name="connsiteX40" fmla="*/ 965200 w 2143125"/>
                    <a:gd name="connsiteY40" fmla="*/ 974725 h 1406525"/>
                    <a:gd name="connsiteX41" fmla="*/ 930275 w 2143125"/>
                    <a:gd name="connsiteY41" fmla="*/ 1025525 h 1406525"/>
                    <a:gd name="connsiteX42" fmla="*/ 828675 w 2143125"/>
                    <a:gd name="connsiteY42" fmla="*/ 1031875 h 1406525"/>
                    <a:gd name="connsiteX43" fmla="*/ 742950 w 2143125"/>
                    <a:gd name="connsiteY43" fmla="*/ 968375 h 1406525"/>
                    <a:gd name="connsiteX44" fmla="*/ 692150 w 2143125"/>
                    <a:gd name="connsiteY44" fmla="*/ 895350 h 1406525"/>
                    <a:gd name="connsiteX45" fmla="*/ 647700 w 2143125"/>
                    <a:gd name="connsiteY45" fmla="*/ 844550 h 1406525"/>
                    <a:gd name="connsiteX46" fmla="*/ 596900 w 2143125"/>
                    <a:gd name="connsiteY46" fmla="*/ 790575 h 1406525"/>
                    <a:gd name="connsiteX47" fmla="*/ 523875 w 2143125"/>
                    <a:gd name="connsiteY47" fmla="*/ 711200 h 1406525"/>
                    <a:gd name="connsiteX48" fmla="*/ 473075 w 2143125"/>
                    <a:gd name="connsiteY48" fmla="*/ 695325 h 1406525"/>
                    <a:gd name="connsiteX49" fmla="*/ 434975 w 2143125"/>
                    <a:gd name="connsiteY49" fmla="*/ 717550 h 1406525"/>
                    <a:gd name="connsiteX50" fmla="*/ 431800 w 2143125"/>
                    <a:gd name="connsiteY50" fmla="*/ 755650 h 1406525"/>
                    <a:gd name="connsiteX51" fmla="*/ 425450 w 2143125"/>
                    <a:gd name="connsiteY51" fmla="*/ 793750 h 1406525"/>
                    <a:gd name="connsiteX52" fmla="*/ 425450 w 2143125"/>
                    <a:gd name="connsiteY52" fmla="*/ 831850 h 1406525"/>
                    <a:gd name="connsiteX53" fmla="*/ 425450 w 2143125"/>
                    <a:gd name="connsiteY53" fmla="*/ 876300 h 1406525"/>
                    <a:gd name="connsiteX54" fmla="*/ 422275 w 2143125"/>
                    <a:gd name="connsiteY54" fmla="*/ 904875 h 1406525"/>
                    <a:gd name="connsiteX55" fmla="*/ 412750 w 2143125"/>
                    <a:gd name="connsiteY55" fmla="*/ 968375 h 1406525"/>
                    <a:gd name="connsiteX56" fmla="*/ 396875 w 2143125"/>
                    <a:gd name="connsiteY56" fmla="*/ 1016000 h 1406525"/>
                    <a:gd name="connsiteX57" fmla="*/ 358775 w 2143125"/>
                    <a:gd name="connsiteY57" fmla="*/ 1031875 h 1406525"/>
                    <a:gd name="connsiteX58" fmla="*/ 301625 w 2143125"/>
                    <a:gd name="connsiteY58" fmla="*/ 1022350 h 1406525"/>
                    <a:gd name="connsiteX59" fmla="*/ 273050 w 2143125"/>
                    <a:gd name="connsiteY59" fmla="*/ 1006475 h 1406525"/>
                    <a:gd name="connsiteX60" fmla="*/ 222250 w 2143125"/>
                    <a:gd name="connsiteY60" fmla="*/ 984250 h 1406525"/>
                    <a:gd name="connsiteX61" fmla="*/ 187325 w 2143125"/>
                    <a:gd name="connsiteY61" fmla="*/ 962025 h 1406525"/>
                    <a:gd name="connsiteX62" fmla="*/ 152400 w 2143125"/>
                    <a:gd name="connsiteY62" fmla="*/ 936625 h 1406525"/>
                    <a:gd name="connsiteX63" fmla="*/ 104775 w 2143125"/>
                    <a:gd name="connsiteY63" fmla="*/ 885825 h 1406525"/>
                    <a:gd name="connsiteX64" fmla="*/ 57150 w 2143125"/>
                    <a:gd name="connsiteY64" fmla="*/ 822325 h 1406525"/>
                    <a:gd name="connsiteX65" fmla="*/ 0 w 2143125"/>
                    <a:gd name="connsiteY6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641475 w 2143125"/>
                    <a:gd name="connsiteY14" fmla="*/ 885825 h 1406525"/>
                    <a:gd name="connsiteX15" fmla="*/ 1619250 w 2143125"/>
                    <a:gd name="connsiteY15" fmla="*/ 917575 h 1406525"/>
                    <a:gd name="connsiteX16" fmla="*/ 1577975 w 2143125"/>
                    <a:gd name="connsiteY16" fmla="*/ 949325 h 1406525"/>
                    <a:gd name="connsiteX17" fmla="*/ 1543050 w 2143125"/>
                    <a:gd name="connsiteY17" fmla="*/ 958850 h 1406525"/>
                    <a:gd name="connsiteX18" fmla="*/ 1501775 w 2143125"/>
                    <a:gd name="connsiteY18" fmla="*/ 958850 h 1406525"/>
                    <a:gd name="connsiteX19" fmla="*/ 1470025 w 2143125"/>
                    <a:gd name="connsiteY19" fmla="*/ 949325 h 1406525"/>
                    <a:gd name="connsiteX20" fmla="*/ 1447800 w 2143125"/>
                    <a:gd name="connsiteY20" fmla="*/ 904875 h 1406525"/>
                    <a:gd name="connsiteX21" fmla="*/ 1409700 w 2143125"/>
                    <a:gd name="connsiteY21" fmla="*/ 863600 h 1406525"/>
                    <a:gd name="connsiteX22" fmla="*/ 1377950 w 2143125"/>
                    <a:gd name="connsiteY22" fmla="*/ 777875 h 1406525"/>
                    <a:gd name="connsiteX23" fmla="*/ 1362075 w 2143125"/>
                    <a:gd name="connsiteY23" fmla="*/ 736600 h 1406525"/>
                    <a:gd name="connsiteX24" fmla="*/ 1333500 w 2143125"/>
                    <a:gd name="connsiteY24" fmla="*/ 666750 h 1406525"/>
                    <a:gd name="connsiteX25" fmla="*/ 1304925 w 2143125"/>
                    <a:gd name="connsiteY25" fmla="*/ 600075 h 1406525"/>
                    <a:gd name="connsiteX26" fmla="*/ 1260475 w 2143125"/>
                    <a:gd name="connsiteY26" fmla="*/ 517525 h 1406525"/>
                    <a:gd name="connsiteX27" fmla="*/ 1241425 w 2143125"/>
                    <a:gd name="connsiteY27" fmla="*/ 501650 h 1406525"/>
                    <a:gd name="connsiteX28" fmla="*/ 1212850 w 2143125"/>
                    <a:gd name="connsiteY28" fmla="*/ 492125 h 1406525"/>
                    <a:gd name="connsiteX29" fmla="*/ 1158875 w 2143125"/>
                    <a:gd name="connsiteY29" fmla="*/ 508000 h 1406525"/>
                    <a:gd name="connsiteX30" fmla="*/ 1133475 w 2143125"/>
                    <a:gd name="connsiteY30" fmla="*/ 546100 h 1406525"/>
                    <a:gd name="connsiteX31" fmla="*/ 1120775 w 2143125"/>
                    <a:gd name="connsiteY31" fmla="*/ 568325 h 1406525"/>
                    <a:gd name="connsiteX32" fmla="*/ 1111250 w 2143125"/>
                    <a:gd name="connsiteY32" fmla="*/ 600075 h 1406525"/>
                    <a:gd name="connsiteX33" fmla="*/ 1104900 w 2143125"/>
                    <a:gd name="connsiteY33" fmla="*/ 635000 h 1406525"/>
                    <a:gd name="connsiteX34" fmla="*/ 1095375 w 2143125"/>
                    <a:gd name="connsiteY34" fmla="*/ 660400 h 1406525"/>
                    <a:gd name="connsiteX35" fmla="*/ 1092200 w 2143125"/>
                    <a:gd name="connsiteY35" fmla="*/ 673100 h 1406525"/>
                    <a:gd name="connsiteX36" fmla="*/ 1089025 w 2143125"/>
                    <a:gd name="connsiteY36" fmla="*/ 682625 h 1406525"/>
                    <a:gd name="connsiteX37" fmla="*/ 1076325 w 2143125"/>
                    <a:gd name="connsiteY37" fmla="*/ 720725 h 1406525"/>
                    <a:gd name="connsiteX38" fmla="*/ 1035050 w 2143125"/>
                    <a:gd name="connsiteY38" fmla="*/ 822325 h 1406525"/>
                    <a:gd name="connsiteX39" fmla="*/ 996950 w 2143125"/>
                    <a:gd name="connsiteY39" fmla="*/ 933450 h 1406525"/>
                    <a:gd name="connsiteX40" fmla="*/ 965200 w 2143125"/>
                    <a:gd name="connsiteY40" fmla="*/ 974725 h 1406525"/>
                    <a:gd name="connsiteX41" fmla="*/ 930275 w 2143125"/>
                    <a:gd name="connsiteY41" fmla="*/ 1025525 h 1406525"/>
                    <a:gd name="connsiteX42" fmla="*/ 828675 w 2143125"/>
                    <a:gd name="connsiteY42" fmla="*/ 1031875 h 1406525"/>
                    <a:gd name="connsiteX43" fmla="*/ 742950 w 2143125"/>
                    <a:gd name="connsiteY43" fmla="*/ 968375 h 1406525"/>
                    <a:gd name="connsiteX44" fmla="*/ 692150 w 2143125"/>
                    <a:gd name="connsiteY44" fmla="*/ 895350 h 1406525"/>
                    <a:gd name="connsiteX45" fmla="*/ 647700 w 2143125"/>
                    <a:gd name="connsiteY45" fmla="*/ 844550 h 1406525"/>
                    <a:gd name="connsiteX46" fmla="*/ 596900 w 2143125"/>
                    <a:gd name="connsiteY46" fmla="*/ 790575 h 1406525"/>
                    <a:gd name="connsiteX47" fmla="*/ 523875 w 2143125"/>
                    <a:gd name="connsiteY47" fmla="*/ 711200 h 1406525"/>
                    <a:gd name="connsiteX48" fmla="*/ 473075 w 2143125"/>
                    <a:gd name="connsiteY48" fmla="*/ 695325 h 1406525"/>
                    <a:gd name="connsiteX49" fmla="*/ 434975 w 2143125"/>
                    <a:gd name="connsiteY49" fmla="*/ 717550 h 1406525"/>
                    <a:gd name="connsiteX50" fmla="*/ 431800 w 2143125"/>
                    <a:gd name="connsiteY50" fmla="*/ 755650 h 1406525"/>
                    <a:gd name="connsiteX51" fmla="*/ 425450 w 2143125"/>
                    <a:gd name="connsiteY51" fmla="*/ 793750 h 1406525"/>
                    <a:gd name="connsiteX52" fmla="*/ 425450 w 2143125"/>
                    <a:gd name="connsiteY52" fmla="*/ 831850 h 1406525"/>
                    <a:gd name="connsiteX53" fmla="*/ 425450 w 2143125"/>
                    <a:gd name="connsiteY53" fmla="*/ 876300 h 1406525"/>
                    <a:gd name="connsiteX54" fmla="*/ 422275 w 2143125"/>
                    <a:gd name="connsiteY54" fmla="*/ 904875 h 1406525"/>
                    <a:gd name="connsiteX55" fmla="*/ 412750 w 2143125"/>
                    <a:gd name="connsiteY55" fmla="*/ 968375 h 1406525"/>
                    <a:gd name="connsiteX56" fmla="*/ 396875 w 2143125"/>
                    <a:gd name="connsiteY56" fmla="*/ 1016000 h 1406525"/>
                    <a:gd name="connsiteX57" fmla="*/ 358775 w 2143125"/>
                    <a:gd name="connsiteY57" fmla="*/ 1031875 h 1406525"/>
                    <a:gd name="connsiteX58" fmla="*/ 301625 w 2143125"/>
                    <a:gd name="connsiteY58" fmla="*/ 1022350 h 1406525"/>
                    <a:gd name="connsiteX59" fmla="*/ 273050 w 2143125"/>
                    <a:gd name="connsiteY59" fmla="*/ 1006475 h 1406525"/>
                    <a:gd name="connsiteX60" fmla="*/ 222250 w 2143125"/>
                    <a:gd name="connsiteY60" fmla="*/ 984250 h 1406525"/>
                    <a:gd name="connsiteX61" fmla="*/ 187325 w 2143125"/>
                    <a:gd name="connsiteY61" fmla="*/ 962025 h 1406525"/>
                    <a:gd name="connsiteX62" fmla="*/ 152400 w 2143125"/>
                    <a:gd name="connsiteY62" fmla="*/ 936625 h 1406525"/>
                    <a:gd name="connsiteX63" fmla="*/ 104775 w 2143125"/>
                    <a:gd name="connsiteY63" fmla="*/ 885825 h 1406525"/>
                    <a:gd name="connsiteX64" fmla="*/ 57150 w 2143125"/>
                    <a:gd name="connsiteY64" fmla="*/ 822325 h 1406525"/>
                    <a:gd name="connsiteX65" fmla="*/ 0 w 2143125"/>
                    <a:gd name="connsiteY6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619250 w 2143125"/>
                    <a:gd name="connsiteY15" fmla="*/ 917575 h 1406525"/>
                    <a:gd name="connsiteX16" fmla="*/ 1577975 w 2143125"/>
                    <a:gd name="connsiteY16" fmla="*/ 949325 h 1406525"/>
                    <a:gd name="connsiteX17" fmla="*/ 1543050 w 2143125"/>
                    <a:gd name="connsiteY17" fmla="*/ 958850 h 1406525"/>
                    <a:gd name="connsiteX18" fmla="*/ 1501775 w 2143125"/>
                    <a:gd name="connsiteY18" fmla="*/ 958850 h 1406525"/>
                    <a:gd name="connsiteX19" fmla="*/ 1470025 w 2143125"/>
                    <a:gd name="connsiteY19" fmla="*/ 949325 h 1406525"/>
                    <a:gd name="connsiteX20" fmla="*/ 1447800 w 2143125"/>
                    <a:gd name="connsiteY20" fmla="*/ 904875 h 1406525"/>
                    <a:gd name="connsiteX21" fmla="*/ 1409700 w 2143125"/>
                    <a:gd name="connsiteY21" fmla="*/ 863600 h 1406525"/>
                    <a:gd name="connsiteX22" fmla="*/ 1377950 w 2143125"/>
                    <a:gd name="connsiteY22" fmla="*/ 777875 h 1406525"/>
                    <a:gd name="connsiteX23" fmla="*/ 1362075 w 2143125"/>
                    <a:gd name="connsiteY23" fmla="*/ 736600 h 1406525"/>
                    <a:gd name="connsiteX24" fmla="*/ 1333500 w 2143125"/>
                    <a:gd name="connsiteY24" fmla="*/ 666750 h 1406525"/>
                    <a:gd name="connsiteX25" fmla="*/ 1304925 w 2143125"/>
                    <a:gd name="connsiteY25" fmla="*/ 600075 h 1406525"/>
                    <a:gd name="connsiteX26" fmla="*/ 1260475 w 2143125"/>
                    <a:gd name="connsiteY26" fmla="*/ 517525 h 1406525"/>
                    <a:gd name="connsiteX27" fmla="*/ 1241425 w 2143125"/>
                    <a:gd name="connsiteY27" fmla="*/ 501650 h 1406525"/>
                    <a:gd name="connsiteX28" fmla="*/ 1212850 w 2143125"/>
                    <a:gd name="connsiteY28" fmla="*/ 492125 h 1406525"/>
                    <a:gd name="connsiteX29" fmla="*/ 1158875 w 2143125"/>
                    <a:gd name="connsiteY29" fmla="*/ 508000 h 1406525"/>
                    <a:gd name="connsiteX30" fmla="*/ 1133475 w 2143125"/>
                    <a:gd name="connsiteY30" fmla="*/ 546100 h 1406525"/>
                    <a:gd name="connsiteX31" fmla="*/ 1120775 w 2143125"/>
                    <a:gd name="connsiteY31" fmla="*/ 568325 h 1406525"/>
                    <a:gd name="connsiteX32" fmla="*/ 1111250 w 2143125"/>
                    <a:gd name="connsiteY32" fmla="*/ 600075 h 1406525"/>
                    <a:gd name="connsiteX33" fmla="*/ 1104900 w 2143125"/>
                    <a:gd name="connsiteY33" fmla="*/ 635000 h 1406525"/>
                    <a:gd name="connsiteX34" fmla="*/ 1095375 w 2143125"/>
                    <a:gd name="connsiteY34" fmla="*/ 660400 h 1406525"/>
                    <a:gd name="connsiteX35" fmla="*/ 1092200 w 2143125"/>
                    <a:gd name="connsiteY35" fmla="*/ 673100 h 1406525"/>
                    <a:gd name="connsiteX36" fmla="*/ 1089025 w 2143125"/>
                    <a:gd name="connsiteY36" fmla="*/ 682625 h 1406525"/>
                    <a:gd name="connsiteX37" fmla="*/ 1076325 w 2143125"/>
                    <a:gd name="connsiteY37" fmla="*/ 720725 h 1406525"/>
                    <a:gd name="connsiteX38" fmla="*/ 1035050 w 2143125"/>
                    <a:gd name="connsiteY38" fmla="*/ 822325 h 1406525"/>
                    <a:gd name="connsiteX39" fmla="*/ 996950 w 2143125"/>
                    <a:gd name="connsiteY39" fmla="*/ 933450 h 1406525"/>
                    <a:gd name="connsiteX40" fmla="*/ 965200 w 2143125"/>
                    <a:gd name="connsiteY40" fmla="*/ 974725 h 1406525"/>
                    <a:gd name="connsiteX41" fmla="*/ 930275 w 2143125"/>
                    <a:gd name="connsiteY41" fmla="*/ 1025525 h 1406525"/>
                    <a:gd name="connsiteX42" fmla="*/ 828675 w 2143125"/>
                    <a:gd name="connsiteY42" fmla="*/ 1031875 h 1406525"/>
                    <a:gd name="connsiteX43" fmla="*/ 742950 w 2143125"/>
                    <a:gd name="connsiteY43" fmla="*/ 968375 h 1406525"/>
                    <a:gd name="connsiteX44" fmla="*/ 692150 w 2143125"/>
                    <a:gd name="connsiteY44" fmla="*/ 895350 h 1406525"/>
                    <a:gd name="connsiteX45" fmla="*/ 647700 w 2143125"/>
                    <a:gd name="connsiteY45" fmla="*/ 844550 h 1406525"/>
                    <a:gd name="connsiteX46" fmla="*/ 596900 w 2143125"/>
                    <a:gd name="connsiteY46" fmla="*/ 790575 h 1406525"/>
                    <a:gd name="connsiteX47" fmla="*/ 523875 w 2143125"/>
                    <a:gd name="connsiteY47" fmla="*/ 711200 h 1406525"/>
                    <a:gd name="connsiteX48" fmla="*/ 473075 w 2143125"/>
                    <a:gd name="connsiteY48" fmla="*/ 695325 h 1406525"/>
                    <a:gd name="connsiteX49" fmla="*/ 434975 w 2143125"/>
                    <a:gd name="connsiteY49" fmla="*/ 717550 h 1406525"/>
                    <a:gd name="connsiteX50" fmla="*/ 431800 w 2143125"/>
                    <a:gd name="connsiteY50" fmla="*/ 755650 h 1406525"/>
                    <a:gd name="connsiteX51" fmla="*/ 425450 w 2143125"/>
                    <a:gd name="connsiteY51" fmla="*/ 793750 h 1406525"/>
                    <a:gd name="connsiteX52" fmla="*/ 425450 w 2143125"/>
                    <a:gd name="connsiteY52" fmla="*/ 831850 h 1406525"/>
                    <a:gd name="connsiteX53" fmla="*/ 425450 w 2143125"/>
                    <a:gd name="connsiteY53" fmla="*/ 876300 h 1406525"/>
                    <a:gd name="connsiteX54" fmla="*/ 422275 w 2143125"/>
                    <a:gd name="connsiteY54" fmla="*/ 904875 h 1406525"/>
                    <a:gd name="connsiteX55" fmla="*/ 412750 w 2143125"/>
                    <a:gd name="connsiteY55" fmla="*/ 968375 h 1406525"/>
                    <a:gd name="connsiteX56" fmla="*/ 396875 w 2143125"/>
                    <a:gd name="connsiteY56" fmla="*/ 1016000 h 1406525"/>
                    <a:gd name="connsiteX57" fmla="*/ 358775 w 2143125"/>
                    <a:gd name="connsiteY57" fmla="*/ 1031875 h 1406525"/>
                    <a:gd name="connsiteX58" fmla="*/ 301625 w 2143125"/>
                    <a:gd name="connsiteY58" fmla="*/ 1022350 h 1406525"/>
                    <a:gd name="connsiteX59" fmla="*/ 273050 w 2143125"/>
                    <a:gd name="connsiteY59" fmla="*/ 1006475 h 1406525"/>
                    <a:gd name="connsiteX60" fmla="*/ 222250 w 2143125"/>
                    <a:gd name="connsiteY60" fmla="*/ 984250 h 1406525"/>
                    <a:gd name="connsiteX61" fmla="*/ 187325 w 2143125"/>
                    <a:gd name="connsiteY61" fmla="*/ 962025 h 1406525"/>
                    <a:gd name="connsiteX62" fmla="*/ 152400 w 2143125"/>
                    <a:gd name="connsiteY62" fmla="*/ 936625 h 1406525"/>
                    <a:gd name="connsiteX63" fmla="*/ 104775 w 2143125"/>
                    <a:gd name="connsiteY63" fmla="*/ 885825 h 1406525"/>
                    <a:gd name="connsiteX64" fmla="*/ 57150 w 2143125"/>
                    <a:gd name="connsiteY64" fmla="*/ 822325 h 1406525"/>
                    <a:gd name="connsiteX65" fmla="*/ 0 w 2143125"/>
                    <a:gd name="connsiteY6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577975 w 2143125"/>
                    <a:gd name="connsiteY16" fmla="*/ 949325 h 1406525"/>
                    <a:gd name="connsiteX17" fmla="*/ 1543050 w 2143125"/>
                    <a:gd name="connsiteY17" fmla="*/ 958850 h 1406525"/>
                    <a:gd name="connsiteX18" fmla="*/ 1501775 w 2143125"/>
                    <a:gd name="connsiteY18" fmla="*/ 958850 h 1406525"/>
                    <a:gd name="connsiteX19" fmla="*/ 1470025 w 2143125"/>
                    <a:gd name="connsiteY19" fmla="*/ 949325 h 1406525"/>
                    <a:gd name="connsiteX20" fmla="*/ 1447800 w 2143125"/>
                    <a:gd name="connsiteY20" fmla="*/ 904875 h 1406525"/>
                    <a:gd name="connsiteX21" fmla="*/ 1409700 w 2143125"/>
                    <a:gd name="connsiteY21" fmla="*/ 863600 h 1406525"/>
                    <a:gd name="connsiteX22" fmla="*/ 1377950 w 2143125"/>
                    <a:gd name="connsiteY22" fmla="*/ 777875 h 1406525"/>
                    <a:gd name="connsiteX23" fmla="*/ 1362075 w 2143125"/>
                    <a:gd name="connsiteY23" fmla="*/ 736600 h 1406525"/>
                    <a:gd name="connsiteX24" fmla="*/ 1333500 w 2143125"/>
                    <a:gd name="connsiteY24" fmla="*/ 666750 h 1406525"/>
                    <a:gd name="connsiteX25" fmla="*/ 1304925 w 2143125"/>
                    <a:gd name="connsiteY25" fmla="*/ 600075 h 1406525"/>
                    <a:gd name="connsiteX26" fmla="*/ 1260475 w 2143125"/>
                    <a:gd name="connsiteY26" fmla="*/ 517525 h 1406525"/>
                    <a:gd name="connsiteX27" fmla="*/ 1241425 w 2143125"/>
                    <a:gd name="connsiteY27" fmla="*/ 501650 h 1406525"/>
                    <a:gd name="connsiteX28" fmla="*/ 1212850 w 2143125"/>
                    <a:gd name="connsiteY28" fmla="*/ 492125 h 1406525"/>
                    <a:gd name="connsiteX29" fmla="*/ 1158875 w 2143125"/>
                    <a:gd name="connsiteY29" fmla="*/ 508000 h 1406525"/>
                    <a:gd name="connsiteX30" fmla="*/ 1133475 w 2143125"/>
                    <a:gd name="connsiteY30" fmla="*/ 546100 h 1406525"/>
                    <a:gd name="connsiteX31" fmla="*/ 1120775 w 2143125"/>
                    <a:gd name="connsiteY31" fmla="*/ 568325 h 1406525"/>
                    <a:gd name="connsiteX32" fmla="*/ 1111250 w 2143125"/>
                    <a:gd name="connsiteY32" fmla="*/ 600075 h 1406525"/>
                    <a:gd name="connsiteX33" fmla="*/ 1104900 w 2143125"/>
                    <a:gd name="connsiteY33" fmla="*/ 635000 h 1406525"/>
                    <a:gd name="connsiteX34" fmla="*/ 1095375 w 2143125"/>
                    <a:gd name="connsiteY34" fmla="*/ 660400 h 1406525"/>
                    <a:gd name="connsiteX35" fmla="*/ 1092200 w 2143125"/>
                    <a:gd name="connsiteY35" fmla="*/ 673100 h 1406525"/>
                    <a:gd name="connsiteX36" fmla="*/ 1089025 w 2143125"/>
                    <a:gd name="connsiteY36" fmla="*/ 682625 h 1406525"/>
                    <a:gd name="connsiteX37" fmla="*/ 1076325 w 2143125"/>
                    <a:gd name="connsiteY37" fmla="*/ 720725 h 1406525"/>
                    <a:gd name="connsiteX38" fmla="*/ 1035050 w 2143125"/>
                    <a:gd name="connsiteY38" fmla="*/ 822325 h 1406525"/>
                    <a:gd name="connsiteX39" fmla="*/ 996950 w 2143125"/>
                    <a:gd name="connsiteY39" fmla="*/ 933450 h 1406525"/>
                    <a:gd name="connsiteX40" fmla="*/ 965200 w 2143125"/>
                    <a:gd name="connsiteY40" fmla="*/ 974725 h 1406525"/>
                    <a:gd name="connsiteX41" fmla="*/ 930275 w 2143125"/>
                    <a:gd name="connsiteY41" fmla="*/ 1025525 h 1406525"/>
                    <a:gd name="connsiteX42" fmla="*/ 828675 w 2143125"/>
                    <a:gd name="connsiteY42" fmla="*/ 1031875 h 1406525"/>
                    <a:gd name="connsiteX43" fmla="*/ 742950 w 2143125"/>
                    <a:gd name="connsiteY43" fmla="*/ 968375 h 1406525"/>
                    <a:gd name="connsiteX44" fmla="*/ 692150 w 2143125"/>
                    <a:gd name="connsiteY44" fmla="*/ 895350 h 1406525"/>
                    <a:gd name="connsiteX45" fmla="*/ 647700 w 2143125"/>
                    <a:gd name="connsiteY45" fmla="*/ 844550 h 1406525"/>
                    <a:gd name="connsiteX46" fmla="*/ 596900 w 2143125"/>
                    <a:gd name="connsiteY46" fmla="*/ 790575 h 1406525"/>
                    <a:gd name="connsiteX47" fmla="*/ 523875 w 2143125"/>
                    <a:gd name="connsiteY47" fmla="*/ 711200 h 1406525"/>
                    <a:gd name="connsiteX48" fmla="*/ 473075 w 2143125"/>
                    <a:gd name="connsiteY48" fmla="*/ 695325 h 1406525"/>
                    <a:gd name="connsiteX49" fmla="*/ 434975 w 2143125"/>
                    <a:gd name="connsiteY49" fmla="*/ 717550 h 1406525"/>
                    <a:gd name="connsiteX50" fmla="*/ 431800 w 2143125"/>
                    <a:gd name="connsiteY50" fmla="*/ 755650 h 1406525"/>
                    <a:gd name="connsiteX51" fmla="*/ 425450 w 2143125"/>
                    <a:gd name="connsiteY51" fmla="*/ 793750 h 1406525"/>
                    <a:gd name="connsiteX52" fmla="*/ 425450 w 2143125"/>
                    <a:gd name="connsiteY52" fmla="*/ 831850 h 1406525"/>
                    <a:gd name="connsiteX53" fmla="*/ 425450 w 2143125"/>
                    <a:gd name="connsiteY53" fmla="*/ 876300 h 1406525"/>
                    <a:gd name="connsiteX54" fmla="*/ 422275 w 2143125"/>
                    <a:gd name="connsiteY54" fmla="*/ 904875 h 1406525"/>
                    <a:gd name="connsiteX55" fmla="*/ 412750 w 2143125"/>
                    <a:gd name="connsiteY55" fmla="*/ 968375 h 1406525"/>
                    <a:gd name="connsiteX56" fmla="*/ 396875 w 2143125"/>
                    <a:gd name="connsiteY56" fmla="*/ 1016000 h 1406525"/>
                    <a:gd name="connsiteX57" fmla="*/ 358775 w 2143125"/>
                    <a:gd name="connsiteY57" fmla="*/ 1031875 h 1406525"/>
                    <a:gd name="connsiteX58" fmla="*/ 301625 w 2143125"/>
                    <a:gd name="connsiteY58" fmla="*/ 1022350 h 1406525"/>
                    <a:gd name="connsiteX59" fmla="*/ 273050 w 2143125"/>
                    <a:gd name="connsiteY59" fmla="*/ 1006475 h 1406525"/>
                    <a:gd name="connsiteX60" fmla="*/ 222250 w 2143125"/>
                    <a:gd name="connsiteY60" fmla="*/ 984250 h 1406525"/>
                    <a:gd name="connsiteX61" fmla="*/ 187325 w 2143125"/>
                    <a:gd name="connsiteY61" fmla="*/ 962025 h 1406525"/>
                    <a:gd name="connsiteX62" fmla="*/ 152400 w 2143125"/>
                    <a:gd name="connsiteY62" fmla="*/ 936625 h 1406525"/>
                    <a:gd name="connsiteX63" fmla="*/ 104775 w 2143125"/>
                    <a:gd name="connsiteY63" fmla="*/ 885825 h 1406525"/>
                    <a:gd name="connsiteX64" fmla="*/ 57150 w 2143125"/>
                    <a:gd name="connsiteY64" fmla="*/ 822325 h 1406525"/>
                    <a:gd name="connsiteX65" fmla="*/ 0 w 2143125"/>
                    <a:gd name="connsiteY6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543050 w 2143125"/>
                    <a:gd name="connsiteY17" fmla="*/ 958850 h 1406525"/>
                    <a:gd name="connsiteX18" fmla="*/ 1501775 w 2143125"/>
                    <a:gd name="connsiteY18" fmla="*/ 958850 h 1406525"/>
                    <a:gd name="connsiteX19" fmla="*/ 1470025 w 2143125"/>
                    <a:gd name="connsiteY19" fmla="*/ 949325 h 1406525"/>
                    <a:gd name="connsiteX20" fmla="*/ 1447800 w 2143125"/>
                    <a:gd name="connsiteY20" fmla="*/ 904875 h 1406525"/>
                    <a:gd name="connsiteX21" fmla="*/ 1409700 w 2143125"/>
                    <a:gd name="connsiteY21" fmla="*/ 863600 h 1406525"/>
                    <a:gd name="connsiteX22" fmla="*/ 1377950 w 2143125"/>
                    <a:gd name="connsiteY22" fmla="*/ 777875 h 1406525"/>
                    <a:gd name="connsiteX23" fmla="*/ 1362075 w 2143125"/>
                    <a:gd name="connsiteY23" fmla="*/ 736600 h 1406525"/>
                    <a:gd name="connsiteX24" fmla="*/ 1333500 w 2143125"/>
                    <a:gd name="connsiteY24" fmla="*/ 666750 h 1406525"/>
                    <a:gd name="connsiteX25" fmla="*/ 1304925 w 2143125"/>
                    <a:gd name="connsiteY25" fmla="*/ 600075 h 1406525"/>
                    <a:gd name="connsiteX26" fmla="*/ 1260475 w 2143125"/>
                    <a:gd name="connsiteY26" fmla="*/ 517525 h 1406525"/>
                    <a:gd name="connsiteX27" fmla="*/ 1241425 w 2143125"/>
                    <a:gd name="connsiteY27" fmla="*/ 501650 h 1406525"/>
                    <a:gd name="connsiteX28" fmla="*/ 1212850 w 2143125"/>
                    <a:gd name="connsiteY28" fmla="*/ 492125 h 1406525"/>
                    <a:gd name="connsiteX29" fmla="*/ 1158875 w 2143125"/>
                    <a:gd name="connsiteY29" fmla="*/ 508000 h 1406525"/>
                    <a:gd name="connsiteX30" fmla="*/ 1133475 w 2143125"/>
                    <a:gd name="connsiteY30" fmla="*/ 546100 h 1406525"/>
                    <a:gd name="connsiteX31" fmla="*/ 1120775 w 2143125"/>
                    <a:gd name="connsiteY31" fmla="*/ 568325 h 1406525"/>
                    <a:gd name="connsiteX32" fmla="*/ 1111250 w 2143125"/>
                    <a:gd name="connsiteY32" fmla="*/ 600075 h 1406525"/>
                    <a:gd name="connsiteX33" fmla="*/ 1104900 w 2143125"/>
                    <a:gd name="connsiteY33" fmla="*/ 635000 h 1406525"/>
                    <a:gd name="connsiteX34" fmla="*/ 1095375 w 2143125"/>
                    <a:gd name="connsiteY34" fmla="*/ 660400 h 1406525"/>
                    <a:gd name="connsiteX35" fmla="*/ 1092200 w 2143125"/>
                    <a:gd name="connsiteY35" fmla="*/ 673100 h 1406525"/>
                    <a:gd name="connsiteX36" fmla="*/ 1089025 w 2143125"/>
                    <a:gd name="connsiteY36" fmla="*/ 682625 h 1406525"/>
                    <a:gd name="connsiteX37" fmla="*/ 1076325 w 2143125"/>
                    <a:gd name="connsiteY37" fmla="*/ 720725 h 1406525"/>
                    <a:gd name="connsiteX38" fmla="*/ 1035050 w 2143125"/>
                    <a:gd name="connsiteY38" fmla="*/ 822325 h 1406525"/>
                    <a:gd name="connsiteX39" fmla="*/ 996950 w 2143125"/>
                    <a:gd name="connsiteY39" fmla="*/ 933450 h 1406525"/>
                    <a:gd name="connsiteX40" fmla="*/ 965200 w 2143125"/>
                    <a:gd name="connsiteY40" fmla="*/ 974725 h 1406525"/>
                    <a:gd name="connsiteX41" fmla="*/ 930275 w 2143125"/>
                    <a:gd name="connsiteY41" fmla="*/ 1025525 h 1406525"/>
                    <a:gd name="connsiteX42" fmla="*/ 828675 w 2143125"/>
                    <a:gd name="connsiteY42" fmla="*/ 1031875 h 1406525"/>
                    <a:gd name="connsiteX43" fmla="*/ 742950 w 2143125"/>
                    <a:gd name="connsiteY43" fmla="*/ 968375 h 1406525"/>
                    <a:gd name="connsiteX44" fmla="*/ 692150 w 2143125"/>
                    <a:gd name="connsiteY44" fmla="*/ 895350 h 1406525"/>
                    <a:gd name="connsiteX45" fmla="*/ 647700 w 2143125"/>
                    <a:gd name="connsiteY45" fmla="*/ 844550 h 1406525"/>
                    <a:gd name="connsiteX46" fmla="*/ 596900 w 2143125"/>
                    <a:gd name="connsiteY46" fmla="*/ 790575 h 1406525"/>
                    <a:gd name="connsiteX47" fmla="*/ 523875 w 2143125"/>
                    <a:gd name="connsiteY47" fmla="*/ 711200 h 1406525"/>
                    <a:gd name="connsiteX48" fmla="*/ 473075 w 2143125"/>
                    <a:gd name="connsiteY48" fmla="*/ 695325 h 1406525"/>
                    <a:gd name="connsiteX49" fmla="*/ 434975 w 2143125"/>
                    <a:gd name="connsiteY49" fmla="*/ 717550 h 1406525"/>
                    <a:gd name="connsiteX50" fmla="*/ 431800 w 2143125"/>
                    <a:gd name="connsiteY50" fmla="*/ 755650 h 1406525"/>
                    <a:gd name="connsiteX51" fmla="*/ 425450 w 2143125"/>
                    <a:gd name="connsiteY51" fmla="*/ 793750 h 1406525"/>
                    <a:gd name="connsiteX52" fmla="*/ 425450 w 2143125"/>
                    <a:gd name="connsiteY52" fmla="*/ 831850 h 1406525"/>
                    <a:gd name="connsiteX53" fmla="*/ 425450 w 2143125"/>
                    <a:gd name="connsiteY53" fmla="*/ 876300 h 1406525"/>
                    <a:gd name="connsiteX54" fmla="*/ 422275 w 2143125"/>
                    <a:gd name="connsiteY54" fmla="*/ 904875 h 1406525"/>
                    <a:gd name="connsiteX55" fmla="*/ 412750 w 2143125"/>
                    <a:gd name="connsiteY55" fmla="*/ 968375 h 1406525"/>
                    <a:gd name="connsiteX56" fmla="*/ 396875 w 2143125"/>
                    <a:gd name="connsiteY56" fmla="*/ 1016000 h 1406525"/>
                    <a:gd name="connsiteX57" fmla="*/ 358775 w 2143125"/>
                    <a:gd name="connsiteY57" fmla="*/ 1031875 h 1406525"/>
                    <a:gd name="connsiteX58" fmla="*/ 301625 w 2143125"/>
                    <a:gd name="connsiteY58" fmla="*/ 1022350 h 1406525"/>
                    <a:gd name="connsiteX59" fmla="*/ 273050 w 2143125"/>
                    <a:gd name="connsiteY59" fmla="*/ 1006475 h 1406525"/>
                    <a:gd name="connsiteX60" fmla="*/ 222250 w 2143125"/>
                    <a:gd name="connsiteY60" fmla="*/ 984250 h 1406525"/>
                    <a:gd name="connsiteX61" fmla="*/ 187325 w 2143125"/>
                    <a:gd name="connsiteY61" fmla="*/ 962025 h 1406525"/>
                    <a:gd name="connsiteX62" fmla="*/ 152400 w 2143125"/>
                    <a:gd name="connsiteY62" fmla="*/ 936625 h 1406525"/>
                    <a:gd name="connsiteX63" fmla="*/ 104775 w 2143125"/>
                    <a:gd name="connsiteY63" fmla="*/ 885825 h 1406525"/>
                    <a:gd name="connsiteX64" fmla="*/ 57150 w 2143125"/>
                    <a:gd name="connsiteY64" fmla="*/ 822325 h 1406525"/>
                    <a:gd name="connsiteX65" fmla="*/ 0 w 2143125"/>
                    <a:gd name="connsiteY6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501775 w 2143125"/>
                    <a:gd name="connsiteY17" fmla="*/ 958850 h 1406525"/>
                    <a:gd name="connsiteX18" fmla="*/ 1470025 w 2143125"/>
                    <a:gd name="connsiteY18" fmla="*/ 949325 h 1406525"/>
                    <a:gd name="connsiteX19" fmla="*/ 1447800 w 2143125"/>
                    <a:gd name="connsiteY19" fmla="*/ 904875 h 1406525"/>
                    <a:gd name="connsiteX20" fmla="*/ 1409700 w 2143125"/>
                    <a:gd name="connsiteY20" fmla="*/ 863600 h 1406525"/>
                    <a:gd name="connsiteX21" fmla="*/ 1377950 w 2143125"/>
                    <a:gd name="connsiteY21" fmla="*/ 777875 h 1406525"/>
                    <a:gd name="connsiteX22" fmla="*/ 1362075 w 2143125"/>
                    <a:gd name="connsiteY22" fmla="*/ 736600 h 1406525"/>
                    <a:gd name="connsiteX23" fmla="*/ 1333500 w 2143125"/>
                    <a:gd name="connsiteY23" fmla="*/ 666750 h 1406525"/>
                    <a:gd name="connsiteX24" fmla="*/ 1304925 w 2143125"/>
                    <a:gd name="connsiteY24" fmla="*/ 600075 h 1406525"/>
                    <a:gd name="connsiteX25" fmla="*/ 1260475 w 2143125"/>
                    <a:gd name="connsiteY25" fmla="*/ 517525 h 1406525"/>
                    <a:gd name="connsiteX26" fmla="*/ 1241425 w 2143125"/>
                    <a:gd name="connsiteY26" fmla="*/ 501650 h 1406525"/>
                    <a:gd name="connsiteX27" fmla="*/ 1212850 w 2143125"/>
                    <a:gd name="connsiteY27" fmla="*/ 492125 h 1406525"/>
                    <a:gd name="connsiteX28" fmla="*/ 1158875 w 2143125"/>
                    <a:gd name="connsiteY28" fmla="*/ 508000 h 1406525"/>
                    <a:gd name="connsiteX29" fmla="*/ 1133475 w 2143125"/>
                    <a:gd name="connsiteY29" fmla="*/ 546100 h 1406525"/>
                    <a:gd name="connsiteX30" fmla="*/ 1120775 w 2143125"/>
                    <a:gd name="connsiteY30" fmla="*/ 568325 h 1406525"/>
                    <a:gd name="connsiteX31" fmla="*/ 1111250 w 2143125"/>
                    <a:gd name="connsiteY31" fmla="*/ 600075 h 1406525"/>
                    <a:gd name="connsiteX32" fmla="*/ 1104900 w 2143125"/>
                    <a:gd name="connsiteY32" fmla="*/ 635000 h 1406525"/>
                    <a:gd name="connsiteX33" fmla="*/ 1095375 w 2143125"/>
                    <a:gd name="connsiteY33" fmla="*/ 660400 h 1406525"/>
                    <a:gd name="connsiteX34" fmla="*/ 1092200 w 2143125"/>
                    <a:gd name="connsiteY34" fmla="*/ 673100 h 1406525"/>
                    <a:gd name="connsiteX35" fmla="*/ 1089025 w 2143125"/>
                    <a:gd name="connsiteY35" fmla="*/ 682625 h 1406525"/>
                    <a:gd name="connsiteX36" fmla="*/ 1076325 w 2143125"/>
                    <a:gd name="connsiteY36" fmla="*/ 720725 h 1406525"/>
                    <a:gd name="connsiteX37" fmla="*/ 1035050 w 2143125"/>
                    <a:gd name="connsiteY37" fmla="*/ 822325 h 1406525"/>
                    <a:gd name="connsiteX38" fmla="*/ 996950 w 2143125"/>
                    <a:gd name="connsiteY38" fmla="*/ 933450 h 1406525"/>
                    <a:gd name="connsiteX39" fmla="*/ 965200 w 2143125"/>
                    <a:gd name="connsiteY39" fmla="*/ 974725 h 1406525"/>
                    <a:gd name="connsiteX40" fmla="*/ 930275 w 2143125"/>
                    <a:gd name="connsiteY40" fmla="*/ 1025525 h 1406525"/>
                    <a:gd name="connsiteX41" fmla="*/ 828675 w 2143125"/>
                    <a:gd name="connsiteY41" fmla="*/ 1031875 h 1406525"/>
                    <a:gd name="connsiteX42" fmla="*/ 742950 w 2143125"/>
                    <a:gd name="connsiteY42" fmla="*/ 968375 h 1406525"/>
                    <a:gd name="connsiteX43" fmla="*/ 692150 w 2143125"/>
                    <a:gd name="connsiteY43" fmla="*/ 895350 h 1406525"/>
                    <a:gd name="connsiteX44" fmla="*/ 647700 w 2143125"/>
                    <a:gd name="connsiteY44" fmla="*/ 844550 h 1406525"/>
                    <a:gd name="connsiteX45" fmla="*/ 596900 w 2143125"/>
                    <a:gd name="connsiteY45" fmla="*/ 790575 h 1406525"/>
                    <a:gd name="connsiteX46" fmla="*/ 523875 w 2143125"/>
                    <a:gd name="connsiteY46" fmla="*/ 711200 h 1406525"/>
                    <a:gd name="connsiteX47" fmla="*/ 473075 w 2143125"/>
                    <a:gd name="connsiteY47" fmla="*/ 695325 h 1406525"/>
                    <a:gd name="connsiteX48" fmla="*/ 434975 w 2143125"/>
                    <a:gd name="connsiteY48" fmla="*/ 717550 h 1406525"/>
                    <a:gd name="connsiteX49" fmla="*/ 431800 w 2143125"/>
                    <a:gd name="connsiteY49" fmla="*/ 755650 h 1406525"/>
                    <a:gd name="connsiteX50" fmla="*/ 425450 w 2143125"/>
                    <a:gd name="connsiteY50" fmla="*/ 793750 h 1406525"/>
                    <a:gd name="connsiteX51" fmla="*/ 425450 w 2143125"/>
                    <a:gd name="connsiteY51" fmla="*/ 831850 h 1406525"/>
                    <a:gd name="connsiteX52" fmla="*/ 425450 w 2143125"/>
                    <a:gd name="connsiteY52" fmla="*/ 876300 h 1406525"/>
                    <a:gd name="connsiteX53" fmla="*/ 422275 w 2143125"/>
                    <a:gd name="connsiteY53" fmla="*/ 904875 h 1406525"/>
                    <a:gd name="connsiteX54" fmla="*/ 412750 w 2143125"/>
                    <a:gd name="connsiteY54" fmla="*/ 968375 h 1406525"/>
                    <a:gd name="connsiteX55" fmla="*/ 396875 w 2143125"/>
                    <a:gd name="connsiteY55" fmla="*/ 1016000 h 1406525"/>
                    <a:gd name="connsiteX56" fmla="*/ 358775 w 2143125"/>
                    <a:gd name="connsiteY56" fmla="*/ 1031875 h 1406525"/>
                    <a:gd name="connsiteX57" fmla="*/ 301625 w 2143125"/>
                    <a:gd name="connsiteY57" fmla="*/ 1022350 h 1406525"/>
                    <a:gd name="connsiteX58" fmla="*/ 273050 w 2143125"/>
                    <a:gd name="connsiteY58" fmla="*/ 1006475 h 1406525"/>
                    <a:gd name="connsiteX59" fmla="*/ 222250 w 2143125"/>
                    <a:gd name="connsiteY59" fmla="*/ 984250 h 1406525"/>
                    <a:gd name="connsiteX60" fmla="*/ 187325 w 2143125"/>
                    <a:gd name="connsiteY60" fmla="*/ 962025 h 1406525"/>
                    <a:gd name="connsiteX61" fmla="*/ 152400 w 2143125"/>
                    <a:gd name="connsiteY61" fmla="*/ 936625 h 1406525"/>
                    <a:gd name="connsiteX62" fmla="*/ 104775 w 2143125"/>
                    <a:gd name="connsiteY62" fmla="*/ 885825 h 1406525"/>
                    <a:gd name="connsiteX63" fmla="*/ 57150 w 2143125"/>
                    <a:gd name="connsiteY63" fmla="*/ 822325 h 1406525"/>
                    <a:gd name="connsiteX64" fmla="*/ 0 w 2143125"/>
                    <a:gd name="connsiteY64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470025 w 2143125"/>
                    <a:gd name="connsiteY17" fmla="*/ 949325 h 1406525"/>
                    <a:gd name="connsiteX18" fmla="*/ 1447800 w 2143125"/>
                    <a:gd name="connsiteY18" fmla="*/ 904875 h 1406525"/>
                    <a:gd name="connsiteX19" fmla="*/ 1409700 w 2143125"/>
                    <a:gd name="connsiteY19" fmla="*/ 863600 h 1406525"/>
                    <a:gd name="connsiteX20" fmla="*/ 1377950 w 2143125"/>
                    <a:gd name="connsiteY20" fmla="*/ 777875 h 1406525"/>
                    <a:gd name="connsiteX21" fmla="*/ 1362075 w 2143125"/>
                    <a:gd name="connsiteY21" fmla="*/ 736600 h 1406525"/>
                    <a:gd name="connsiteX22" fmla="*/ 1333500 w 2143125"/>
                    <a:gd name="connsiteY22" fmla="*/ 666750 h 1406525"/>
                    <a:gd name="connsiteX23" fmla="*/ 1304925 w 2143125"/>
                    <a:gd name="connsiteY23" fmla="*/ 600075 h 1406525"/>
                    <a:gd name="connsiteX24" fmla="*/ 1260475 w 2143125"/>
                    <a:gd name="connsiteY24" fmla="*/ 517525 h 1406525"/>
                    <a:gd name="connsiteX25" fmla="*/ 1241425 w 2143125"/>
                    <a:gd name="connsiteY25" fmla="*/ 501650 h 1406525"/>
                    <a:gd name="connsiteX26" fmla="*/ 1212850 w 2143125"/>
                    <a:gd name="connsiteY26" fmla="*/ 492125 h 1406525"/>
                    <a:gd name="connsiteX27" fmla="*/ 1158875 w 2143125"/>
                    <a:gd name="connsiteY27" fmla="*/ 508000 h 1406525"/>
                    <a:gd name="connsiteX28" fmla="*/ 1133475 w 2143125"/>
                    <a:gd name="connsiteY28" fmla="*/ 546100 h 1406525"/>
                    <a:gd name="connsiteX29" fmla="*/ 1120775 w 2143125"/>
                    <a:gd name="connsiteY29" fmla="*/ 568325 h 1406525"/>
                    <a:gd name="connsiteX30" fmla="*/ 1111250 w 2143125"/>
                    <a:gd name="connsiteY30" fmla="*/ 600075 h 1406525"/>
                    <a:gd name="connsiteX31" fmla="*/ 1104900 w 2143125"/>
                    <a:gd name="connsiteY31" fmla="*/ 635000 h 1406525"/>
                    <a:gd name="connsiteX32" fmla="*/ 1095375 w 2143125"/>
                    <a:gd name="connsiteY32" fmla="*/ 660400 h 1406525"/>
                    <a:gd name="connsiteX33" fmla="*/ 1092200 w 2143125"/>
                    <a:gd name="connsiteY33" fmla="*/ 673100 h 1406525"/>
                    <a:gd name="connsiteX34" fmla="*/ 1089025 w 2143125"/>
                    <a:gd name="connsiteY34" fmla="*/ 682625 h 1406525"/>
                    <a:gd name="connsiteX35" fmla="*/ 1076325 w 2143125"/>
                    <a:gd name="connsiteY35" fmla="*/ 720725 h 1406525"/>
                    <a:gd name="connsiteX36" fmla="*/ 1035050 w 2143125"/>
                    <a:gd name="connsiteY36" fmla="*/ 822325 h 1406525"/>
                    <a:gd name="connsiteX37" fmla="*/ 996950 w 2143125"/>
                    <a:gd name="connsiteY37" fmla="*/ 933450 h 1406525"/>
                    <a:gd name="connsiteX38" fmla="*/ 965200 w 2143125"/>
                    <a:gd name="connsiteY38" fmla="*/ 974725 h 1406525"/>
                    <a:gd name="connsiteX39" fmla="*/ 930275 w 2143125"/>
                    <a:gd name="connsiteY39" fmla="*/ 1025525 h 1406525"/>
                    <a:gd name="connsiteX40" fmla="*/ 828675 w 2143125"/>
                    <a:gd name="connsiteY40" fmla="*/ 1031875 h 1406525"/>
                    <a:gd name="connsiteX41" fmla="*/ 742950 w 2143125"/>
                    <a:gd name="connsiteY41" fmla="*/ 968375 h 1406525"/>
                    <a:gd name="connsiteX42" fmla="*/ 692150 w 2143125"/>
                    <a:gd name="connsiteY42" fmla="*/ 895350 h 1406525"/>
                    <a:gd name="connsiteX43" fmla="*/ 647700 w 2143125"/>
                    <a:gd name="connsiteY43" fmla="*/ 844550 h 1406525"/>
                    <a:gd name="connsiteX44" fmla="*/ 596900 w 2143125"/>
                    <a:gd name="connsiteY44" fmla="*/ 790575 h 1406525"/>
                    <a:gd name="connsiteX45" fmla="*/ 523875 w 2143125"/>
                    <a:gd name="connsiteY45" fmla="*/ 711200 h 1406525"/>
                    <a:gd name="connsiteX46" fmla="*/ 473075 w 2143125"/>
                    <a:gd name="connsiteY46" fmla="*/ 695325 h 1406525"/>
                    <a:gd name="connsiteX47" fmla="*/ 434975 w 2143125"/>
                    <a:gd name="connsiteY47" fmla="*/ 717550 h 1406525"/>
                    <a:gd name="connsiteX48" fmla="*/ 431800 w 2143125"/>
                    <a:gd name="connsiteY48" fmla="*/ 755650 h 1406525"/>
                    <a:gd name="connsiteX49" fmla="*/ 425450 w 2143125"/>
                    <a:gd name="connsiteY49" fmla="*/ 793750 h 1406525"/>
                    <a:gd name="connsiteX50" fmla="*/ 425450 w 2143125"/>
                    <a:gd name="connsiteY50" fmla="*/ 831850 h 1406525"/>
                    <a:gd name="connsiteX51" fmla="*/ 425450 w 2143125"/>
                    <a:gd name="connsiteY51" fmla="*/ 876300 h 1406525"/>
                    <a:gd name="connsiteX52" fmla="*/ 422275 w 2143125"/>
                    <a:gd name="connsiteY52" fmla="*/ 904875 h 1406525"/>
                    <a:gd name="connsiteX53" fmla="*/ 412750 w 2143125"/>
                    <a:gd name="connsiteY53" fmla="*/ 968375 h 1406525"/>
                    <a:gd name="connsiteX54" fmla="*/ 396875 w 2143125"/>
                    <a:gd name="connsiteY54" fmla="*/ 1016000 h 1406525"/>
                    <a:gd name="connsiteX55" fmla="*/ 358775 w 2143125"/>
                    <a:gd name="connsiteY55" fmla="*/ 1031875 h 1406525"/>
                    <a:gd name="connsiteX56" fmla="*/ 301625 w 2143125"/>
                    <a:gd name="connsiteY56" fmla="*/ 1022350 h 1406525"/>
                    <a:gd name="connsiteX57" fmla="*/ 273050 w 2143125"/>
                    <a:gd name="connsiteY57" fmla="*/ 1006475 h 1406525"/>
                    <a:gd name="connsiteX58" fmla="*/ 222250 w 2143125"/>
                    <a:gd name="connsiteY58" fmla="*/ 984250 h 1406525"/>
                    <a:gd name="connsiteX59" fmla="*/ 187325 w 2143125"/>
                    <a:gd name="connsiteY59" fmla="*/ 962025 h 1406525"/>
                    <a:gd name="connsiteX60" fmla="*/ 152400 w 2143125"/>
                    <a:gd name="connsiteY60" fmla="*/ 936625 h 1406525"/>
                    <a:gd name="connsiteX61" fmla="*/ 104775 w 2143125"/>
                    <a:gd name="connsiteY61" fmla="*/ 885825 h 1406525"/>
                    <a:gd name="connsiteX62" fmla="*/ 57150 w 2143125"/>
                    <a:gd name="connsiteY62" fmla="*/ 822325 h 1406525"/>
                    <a:gd name="connsiteX63" fmla="*/ 0 w 2143125"/>
                    <a:gd name="connsiteY63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447800 w 2143125"/>
                    <a:gd name="connsiteY17" fmla="*/ 904875 h 1406525"/>
                    <a:gd name="connsiteX18" fmla="*/ 1409700 w 2143125"/>
                    <a:gd name="connsiteY18" fmla="*/ 863600 h 1406525"/>
                    <a:gd name="connsiteX19" fmla="*/ 1377950 w 2143125"/>
                    <a:gd name="connsiteY19" fmla="*/ 777875 h 1406525"/>
                    <a:gd name="connsiteX20" fmla="*/ 1362075 w 2143125"/>
                    <a:gd name="connsiteY20" fmla="*/ 736600 h 1406525"/>
                    <a:gd name="connsiteX21" fmla="*/ 1333500 w 2143125"/>
                    <a:gd name="connsiteY21" fmla="*/ 666750 h 1406525"/>
                    <a:gd name="connsiteX22" fmla="*/ 1304925 w 2143125"/>
                    <a:gd name="connsiteY22" fmla="*/ 600075 h 1406525"/>
                    <a:gd name="connsiteX23" fmla="*/ 1260475 w 2143125"/>
                    <a:gd name="connsiteY23" fmla="*/ 517525 h 1406525"/>
                    <a:gd name="connsiteX24" fmla="*/ 1241425 w 2143125"/>
                    <a:gd name="connsiteY24" fmla="*/ 501650 h 1406525"/>
                    <a:gd name="connsiteX25" fmla="*/ 1212850 w 2143125"/>
                    <a:gd name="connsiteY25" fmla="*/ 492125 h 1406525"/>
                    <a:gd name="connsiteX26" fmla="*/ 1158875 w 2143125"/>
                    <a:gd name="connsiteY26" fmla="*/ 508000 h 1406525"/>
                    <a:gd name="connsiteX27" fmla="*/ 1133475 w 2143125"/>
                    <a:gd name="connsiteY27" fmla="*/ 546100 h 1406525"/>
                    <a:gd name="connsiteX28" fmla="*/ 1120775 w 2143125"/>
                    <a:gd name="connsiteY28" fmla="*/ 568325 h 1406525"/>
                    <a:gd name="connsiteX29" fmla="*/ 1111250 w 2143125"/>
                    <a:gd name="connsiteY29" fmla="*/ 600075 h 1406525"/>
                    <a:gd name="connsiteX30" fmla="*/ 1104900 w 2143125"/>
                    <a:gd name="connsiteY30" fmla="*/ 635000 h 1406525"/>
                    <a:gd name="connsiteX31" fmla="*/ 1095375 w 2143125"/>
                    <a:gd name="connsiteY31" fmla="*/ 660400 h 1406525"/>
                    <a:gd name="connsiteX32" fmla="*/ 1092200 w 2143125"/>
                    <a:gd name="connsiteY32" fmla="*/ 673100 h 1406525"/>
                    <a:gd name="connsiteX33" fmla="*/ 1089025 w 2143125"/>
                    <a:gd name="connsiteY33" fmla="*/ 682625 h 1406525"/>
                    <a:gd name="connsiteX34" fmla="*/ 1076325 w 2143125"/>
                    <a:gd name="connsiteY34" fmla="*/ 720725 h 1406525"/>
                    <a:gd name="connsiteX35" fmla="*/ 1035050 w 2143125"/>
                    <a:gd name="connsiteY35" fmla="*/ 822325 h 1406525"/>
                    <a:gd name="connsiteX36" fmla="*/ 996950 w 2143125"/>
                    <a:gd name="connsiteY36" fmla="*/ 933450 h 1406525"/>
                    <a:gd name="connsiteX37" fmla="*/ 965200 w 2143125"/>
                    <a:gd name="connsiteY37" fmla="*/ 974725 h 1406525"/>
                    <a:gd name="connsiteX38" fmla="*/ 930275 w 2143125"/>
                    <a:gd name="connsiteY38" fmla="*/ 1025525 h 1406525"/>
                    <a:gd name="connsiteX39" fmla="*/ 828675 w 2143125"/>
                    <a:gd name="connsiteY39" fmla="*/ 1031875 h 1406525"/>
                    <a:gd name="connsiteX40" fmla="*/ 742950 w 2143125"/>
                    <a:gd name="connsiteY40" fmla="*/ 968375 h 1406525"/>
                    <a:gd name="connsiteX41" fmla="*/ 692150 w 2143125"/>
                    <a:gd name="connsiteY41" fmla="*/ 895350 h 1406525"/>
                    <a:gd name="connsiteX42" fmla="*/ 647700 w 2143125"/>
                    <a:gd name="connsiteY42" fmla="*/ 844550 h 1406525"/>
                    <a:gd name="connsiteX43" fmla="*/ 596900 w 2143125"/>
                    <a:gd name="connsiteY43" fmla="*/ 790575 h 1406525"/>
                    <a:gd name="connsiteX44" fmla="*/ 523875 w 2143125"/>
                    <a:gd name="connsiteY44" fmla="*/ 711200 h 1406525"/>
                    <a:gd name="connsiteX45" fmla="*/ 473075 w 2143125"/>
                    <a:gd name="connsiteY45" fmla="*/ 695325 h 1406525"/>
                    <a:gd name="connsiteX46" fmla="*/ 434975 w 2143125"/>
                    <a:gd name="connsiteY46" fmla="*/ 717550 h 1406525"/>
                    <a:gd name="connsiteX47" fmla="*/ 431800 w 2143125"/>
                    <a:gd name="connsiteY47" fmla="*/ 755650 h 1406525"/>
                    <a:gd name="connsiteX48" fmla="*/ 425450 w 2143125"/>
                    <a:gd name="connsiteY48" fmla="*/ 793750 h 1406525"/>
                    <a:gd name="connsiteX49" fmla="*/ 425450 w 2143125"/>
                    <a:gd name="connsiteY49" fmla="*/ 831850 h 1406525"/>
                    <a:gd name="connsiteX50" fmla="*/ 425450 w 2143125"/>
                    <a:gd name="connsiteY50" fmla="*/ 876300 h 1406525"/>
                    <a:gd name="connsiteX51" fmla="*/ 422275 w 2143125"/>
                    <a:gd name="connsiteY51" fmla="*/ 904875 h 1406525"/>
                    <a:gd name="connsiteX52" fmla="*/ 412750 w 2143125"/>
                    <a:gd name="connsiteY52" fmla="*/ 968375 h 1406525"/>
                    <a:gd name="connsiteX53" fmla="*/ 396875 w 2143125"/>
                    <a:gd name="connsiteY53" fmla="*/ 1016000 h 1406525"/>
                    <a:gd name="connsiteX54" fmla="*/ 358775 w 2143125"/>
                    <a:gd name="connsiteY54" fmla="*/ 1031875 h 1406525"/>
                    <a:gd name="connsiteX55" fmla="*/ 301625 w 2143125"/>
                    <a:gd name="connsiteY55" fmla="*/ 1022350 h 1406525"/>
                    <a:gd name="connsiteX56" fmla="*/ 273050 w 2143125"/>
                    <a:gd name="connsiteY56" fmla="*/ 1006475 h 1406525"/>
                    <a:gd name="connsiteX57" fmla="*/ 222250 w 2143125"/>
                    <a:gd name="connsiteY57" fmla="*/ 984250 h 1406525"/>
                    <a:gd name="connsiteX58" fmla="*/ 187325 w 2143125"/>
                    <a:gd name="connsiteY58" fmla="*/ 962025 h 1406525"/>
                    <a:gd name="connsiteX59" fmla="*/ 152400 w 2143125"/>
                    <a:gd name="connsiteY59" fmla="*/ 936625 h 1406525"/>
                    <a:gd name="connsiteX60" fmla="*/ 104775 w 2143125"/>
                    <a:gd name="connsiteY60" fmla="*/ 885825 h 1406525"/>
                    <a:gd name="connsiteX61" fmla="*/ 57150 w 2143125"/>
                    <a:gd name="connsiteY61" fmla="*/ 822325 h 1406525"/>
                    <a:gd name="connsiteX62" fmla="*/ 0 w 2143125"/>
                    <a:gd name="connsiteY62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409700 w 2143125"/>
                    <a:gd name="connsiteY17" fmla="*/ 863600 h 1406525"/>
                    <a:gd name="connsiteX18" fmla="*/ 1377950 w 2143125"/>
                    <a:gd name="connsiteY18" fmla="*/ 777875 h 1406525"/>
                    <a:gd name="connsiteX19" fmla="*/ 1362075 w 2143125"/>
                    <a:gd name="connsiteY19" fmla="*/ 736600 h 1406525"/>
                    <a:gd name="connsiteX20" fmla="*/ 1333500 w 2143125"/>
                    <a:gd name="connsiteY20" fmla="*/ 666750 h 1406525"/>
                    <a:gd name="connsiteX21" fmla="*/ 1304925 w 2143125"/>
                    <a:gd name="connsiteY21" fmla="*/ 600075 h 1406525"/>
                    <a:gd name="connsiteX22" fmla="*/ 1260475 w 2143125"/>
                    <a:gd name="connsiteY22" fmla="*/ 517525 h 1406525"/>
                    <a:gd name="connsiteX23" fmla="*/ 1241425 w 2143125"/>
                    <a:gd name="connsiteY23" fmla="*/ 501650 h 1406525"/>
                    <a:gd name="connsiteX24" fmla="*/ 1212850 w 2143125"/>
                    <a:gd name="connsiteY24" fmla="*/ 492125 h 1406525"/>
                    <a:gd name="connsiteX25" fmla="*/ 1158875 w 2143125"/>
                    <a:gd name="connsiteY25" fmla="*/ 508000 h 1406525"/>
                    <a:gd name="connsiteX26" fmla="*/ 1133475 w 2143125"/>
                    <a:gd name="connsiteY26" fmla="*/ 546100 h 1406525"/>
                    <a:gd name="connsiteX27" fmla="*/ 1120775 w 2143125"/>
                    <a:gd name="connsiteY27" fmla="*/ 568325 h 1406525"/>
                    <a:gd name="connsiteX28" fmla="*/ 1111250 w 2143125"/>
                    <a:gd name="connsiteY28" fmla="*/ 600075 h 1406525"/>
                    <a:gd name="connsiteX29" fmla="*/ 1104900 w 2143125"/>
                    <a:gd name="connsiteY29" fmla="*/ 635000 h 1406525"/>
                    <a:gd name="connsiteX30" fmla="*/ 1095375 w 2143125"/>
                    <a:gd name="connsiteY30" fmla="*/ 660400 h 1406525"/>
                    <a:gd name="connsiteX31" fmla="*/ 1092200 w 2143125"/>
                    <a:gd name="connsiteY31" fmla="*/ 673100 h 1406525"/>
                    <a:gd name="connsiteX32" fmla="*/ 1089025 w 2143125"/>
                    <a:gd name="connsiteY32" fmla="*/ 682625 h 1406525"/>
                    <a:gd name="connsiteX33" fmla="*/ 1076325 w 2143125"/>
                    <a:gd name="connsiteY33" fmla="*/ 720725 h 1406525"/>
                    <a:gd name="connsiteX34" fmla="*/ 1035050 w 2143125"/>
                    <a:gd name="connsiteY34" fmla="*/ 822325 h 1406525"/>
                    <a:gd name="connsiteX35" fmla="*/ 996950 w 2143125"/>
                    <a:gd name="connsiteY35" fmla="*/ 933450 h 1406525"/>
                    <a:gd name="connsiteX36" fmla="*/ 965200 w 2143125"/>
                    <a:gd name="connsiteY36" fmla="*/ 974725 h 1406525"/>
                    <a:gd name="connsiteX37" fmla="*/ 930275 w 2143125"/>
                    <a:gd name="connsiteY37" fmla="*/ 1025525 h 1406525"/>
                    <a:gd name="connsiteX38" fmla="*/ 828675 w 2143125"/>
                    <a:gd name="connsiteY38" fmla="*/ 1031875 h 1406525"/>
                    <a:gd name="connsiteX39" fmla="*/ 742950 w 2143125"/>
                    <a:gd name="connsiteY39" fmla="*/ 968375 h 1406525"/>
                    <a:gd name="connsiteX40" fmla="*/ 692150 w 2143125"/>
                    <a:gd name="connsiteY40" fmla="*/ 895350 h 1406525"/>
                    <a:gd name="connsiteX41" fmla="*/ 647700 w 2143125"/>
                    <a:gd name="connsiteY41" fmla="*/ 844550 h 1406525"/>
                    <a:gd name="connsiteX42" fmla="*/ 596900 w 2143125"/>
                    <a:gd name="connsiteY42" fmla="*/ 790575 h 1406525"/>
                    <a:gd name="connsiteX43" fmla="*/ 523875 w 2143125"/>
                    <a:gd name="connsiteY43" fmla="*/ 711200 h 1406525"/>
                    <a:gd name="connsiteX44" fmla="*/ 473075 w 2143125"/>
                    <a:gd name="connsiteY44" fmla="*/ 695325 h 1406525"/>
                    <a:gd name="connsiteX45" fmla="*/ 434975 w 2143125"/>
                    <a:gd name="connsiteY45" fmla="*/ 717550 h 1406525"/>
                    <a:gd name="connsiteX46" fmla="*/ 431800 w 2143125"/>
                    <a:gd name="connsiteY46" fmla="*/ 755650 h 1406525"/>
                    <a:gd name="connsiteX47" fmla="*/ 425450 w 2143125"/>
                    <a:gd name="connsiteY47" fmla="*/ 793750 h 1406525"/>
                    <a:gd name="connsiteX48" fmla="*/ 425450 w 2143125"/>
                    <a:gd name="connsiteY48" fmla="*/ 831850 h 1406525"/>
                    <a:gd name="connsiteX49" fmla="*/ 425450 w 2143125"/>
                    <a:gd name="connsiteY49" fmla="*/ 876300 h 1406525"/>
                    <a:gd name="connsiteX50" fmla="*/ 422275 w 2143125"/>
                    <a:gd name="connsiteY50" fmla="*/ 904875 h 1406525"/>
                    <a:gd name="connsiteX51" fmla="*/ 412750 w 2143125"/>
                    <a:gd name="connsiteY51" fmla="*/ 968375 h 1406525"/>
                    <a:gd name="connsiteX52" fmla="*/ 396875 w 2143125"/>
                    <a:gd name="connsiteY52" fmla="*/ 1016000 h 1406525"/>
                    <a:gd name="connsiteX53" fmla="*/ 358775 w 2143125"/>
                    <a:gd name="connsiteY53" fmla="*/ 1031875 h 1406525"/>
                    <a:gd name="connsiteX54" fmla="*/ 301625 w 2143125"/>
                    <a:gd name="connsiteY54" fmla="*/ 1022350 h 1406525"/>
                    <a:gd name="connsiteX55" fmla="*/ 273050 w 2143125"/>
                    <a:gd name="connsiteY55" fmla="*/ 1006475 h 1406525"/>
                    <a:gd name="connsiteX56" fmla="*/ 222250 w 2143125"/>
                    <a:gd name="connsiteY56" fmla="*/ 984250 h 1406525"/>
                    <a:gd name="connsiteX57" fmla="*/ 187325 w 2143125"/>
                    <a:gd name="connsiteY57" fmla="*/ 962025 h 1406525"/>
                    <a:gd name="connsiteX58" fmla="*/ 152400 w 2143125"/>
                    <a:gd name="connsiteY58" fmla="*/ 936625 h 1406525"/>
                    <a:gd name="connsiteX59" fmla="*/ 104775 w 2143125"/>
                    <a:gd name="connsiteY59" fmla="*/ 885825 h 1406525"/>
                    <a:gd name="connsiteX60" fmla="*/ 57150 w 2143125"/>
                    <a:gd name="connsiteY60" fmla="*/ 822325 h 1406525"/>
                    <a:gd name="connsiteX61" fmla="*/ 0 w 2143125"/>
                    <a:gd name="connsiteY61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77950 w 2143125"/>
                    <a:gd name="connsiteY17" fmla="*/ 777875 h 1406525"/>
                    <a:gd name="connsiteX18" fmla="*/ 1362075 w 2143125"/>
                    <a:gd name="connsiteY18" fmla="*/ 736600 h 1406525"/>
                    <a:gd name="connsiteX19" fmla="*/ 1333500 w 2143125"/>
                    <a:gd name="connsiteY19" fmla="*/ 666750 h 1406525"/>
                    <a:gd name="connsiteX20" fmla="*/ 1304925 w 2143125"/>
                    <a:gd name="connsiteY20" fmla="*/ 600075 h 1406525"/>
                    <a:gd name="connsiteX21" fmla="*/ 1260475 w 2143125"/>
                    <a:gd name="connsiteY21" fmla="*/ 517525 h 1406525"/>
                    <a:gd name="connsiteX22" fmla="*/ 1241425 w 2143125"/>
                    <a:gd name="connsiteY22" fmla="*/ 501650 h 1406525"/>
                    <a:gd name="connsiteX23" fmla="*/ 1212850 w 2143125"/>
                    <a:gd name="connsiteY23" fmla="*/ 492125 h 1406525"/>
                    <a:gd name="connsiteX24" fmla="*/ 1158875 w 2143125"/>
                    <a:gd name="connsiteY24" fmla="*/ 508000 h 1406525"/>
                    <a:gd name="connsiteX25" fmla="*/ 1133475 w 2143125"/>
                    <a:gd name="connsiteY25" fmla="*/ 546100 h 1406525"/>
                    <a:gd name="connsiteX26" fmla="*/ 1120775 w 2143125"/>
                    <a:gd name="connsiteY26" fmla="*/ 568325 h 1406525"/>
                    <a:gd name="connsiteX27" fmla="*/ 1111250 w 2143125"/>
                    <a:gd name="connsiteY27" fmla="*/ 600075 h 1406525"/>
                    <a:gd name="connsiteX28" fmla="*/ 1104900 w 2143125"/>
                    <a:gd name="connsiteY28" fmla="*/ 635000 h 1406525"/>
                    <a:gd name="connsiteX29" fmla="*/ 1095375 w 2143125"/>
                    <a:gd name="connsiteY29" fmla="*/ 660400 h 1406525"/>
                    <a:gd name="connsiteX30" fmla="*/ 1092200 w 2143125"/>
                    <a:gd name="connsiteY30" fmla="*/ 673100 h 1406525"/>
                    <a:gd name="connsiteX31" fmla="*/ 1089025 w 2143125"/>
                    <a:gd name="connsiteY31" fmla="*/ 682625 h 1406525"/>
                    <a:gd name="connsiteX32" fmla="*/ 1076325 w 2143125"/>
                    <a:gd name="connsiteY32" fmla="*/ 720725 h 1406525"/>
                    <a:gd name="connsiteX33" fmla="*/ 1035050 w 2143125"/>
                    <a:gd name="connsiteY33" fmla="*/ 822325 h 1406525"/>
                    <a:gd name="connsiteX34" fmla="*/ 996950 w 2143125"/>
                    <a:gd name="connsiteY34" fmla="*/ 933450 h 1406525"/>
                    <a:gd name="connsiteX35" fmla="*/ 965200 w 2143125"/>
                    <a:gd name="connsiteY35" fmla="*/ 974725 h 1406525"/>
                    <a:gd name="connsiteX36" fmla="*/ 930275 w 2143125"/>
                    <a:gd name="connsiteY36" fmla="*/ 1025525 h 1406525"/>
                    <a:gd name="connsiteX37" fmla="*/ 828675 w 2143125"/>
                    <a:gd name="connsiteY37" fmla="*/ 1031875 h 1406525"/>
                    <a:gd name="connsiteX38" fmla="*/ 742950 w 2143125"/>
                    <a:gd name="connsiteY38" fmla="*/ 968375 h 1406525"/>
                    <a:gd name="connsiteX39" fmla="*/ 692150 w 2143125"/>
                    <a:gd name="connsiteY39" fmla="*/ 895350 h 1406525"/>
                    <a:gd name="connsiteX40" fmla="*/ 647700 w 2143125"/>
                    <a:gd name="connsiteY40" fmla="*/ 844550 h 1406525"/>
                    <a:gd name="connsiteX41" fmla="*/ 596900 w 2143125"/>
                    <a:gd name="connsiteY41" fmla="*/ 790575 h 1406525"/>
                    <a:gd name="connsiteX42" fmla="*/ 523875 w 2143125"/>
                    <a:gd name="connsiteY42" fmla="*/ 711200 h 1406525"/>
                    <a:gd name="connsiteX43" fmla="*/ 473075 w 2143125"/>
                    <a:gd name="connsiteY43" fmla="*/ 695325 h 1406525"/>
                    <a:gd name="connsiteX44" fmla="*/ 434975 w 2143125"/>
                    <a:gd name="connsiteY44" fmla="*/ 717550 h 1406525"/>
                    <a:gd name="connsiteX45" fmla="*/ 431800 w 2143125"/>
                    <a:gd name="connsiteY45" fmla="*/ 755650 h 1406525"/>
                    <a:gd name="connsiteX46" fmla="*/ 425450 w 2143125"/>
                    <a:gd name="connsiteY46" fmla="*/ 793750 h 1406525"/>
                    <a:gd name="connsiteX47" fmla="*/ 425450 w 2143125"/>
                    <a:gd name="connsiteY47" fmla="*/ 831850 h 1406525"/>
                    <a:gd name="connsiteX48" fmla="*/ 425450 w 2143125"/>
                    <a:gd name="connsiteY48" fmla="*/ 876300 h 1406525"/>
                    <a:gd name="connsiteX49" fmla="*/ 422275 w 2143125"/>
                    <a:gd name="connsiteY49" fmla="*/ 904875 h 1406525"/>
                    <a:gd name="connsiteX50" fmla="*/ 412750 w 2143125"/>
                    <a:gd name="connsiteY50" fmla="*/ 968375 h 1406525"/>
                    <a:gd name="connsiteX51" fmla="*/ 396875 w 2143125"/>
                    <a:gd name="connsiteY51" fmla="*/ 1016000 h 1406525"/>
                    <a:gd name="connsiteX52" fmla="*/ 358775 w 2143125"/>
                    <a:gd name="connsiteY52" fmla="*/ 1031875 h 1406525"/>
                    <a:gd name="connsiteX53" fmla="*/ 301625 w 2143125"/>
                    <a:gd name="connsiteY53" fmla="*/ 1022350 h 1406525"/>
                    <a:gd name="connsiteX54" fmla="*/ 273050 w 2143125"/>
                    <a:gd name="connsiteY54" fmla="*/ 1006475 h 1406525"/>
                    <a:gd name="connsiteX55" fmla="*/ 222250 w 2143125"/>
                    <a:gd name="connsiteY55" fmla="*/ 984250 h 1406525"/>
                    <a:gd name="connsiteX56" fmla="*/ 187325 w 2143125"/>
                    <a:gd name="connsiteY56" fmla="*/ 962025 h 1406525"/>
                    <a:gd name="connsiteX57" fmla="*/ 152400 w 2143125"/>
                    <a:gd name="connsiteY57" fmla="*/ 936625 h 1406525"/>
                    <a:gd name="connsiteX58" fmla="*/ 104775 w 2143125"/>
                    <a:gd name="connsiteY58" fmla="*/ 885825 h 1406525"/>
                    <a:gd name="connsiteX59" fmla="*/ 57150 w 2143125"/>
                    <a:gd name="connsiteY59" fmla="*/ 822325 h 1406525"/>
                    <a:gd name="connsiteX60" fmla="*/ 0 w 2143125"/>
                    <a:gd name="connsiteY60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62075 w 2143125"/>
                    <a:gd name="connsiteY18" fmla="*/ 736600 h 1406525"/>
                    <a:gd name="connsiteX19" fmla="*/ 1333500 w 2143125"/>
                    <a:gd name="connsiteY19" fmla="*/ 666750 h 1406525"/>
                    <a:gd name="connsiteX20" fmla="*/ 1304925 w 2143125"/>
                    <a:gd name="connsiteY20" fmla="*/ 600075 h 1406525"/>
                    <a:gd name="connsiteX21" fmla="*/ 1260475 w 2143125"/>
                    <a:gd name="connsiteY21" fmla="*/ 517525 h 1406525"/>
                    <a:gd name="connsiteX22" fmla="*/ 1241425 w 2143125"/>
                    <a:gd name="connsiteY22" fmla="*/ 501650 h 1406525"/>
                    <a:gd name="connsiteX23" fmla="*/ 1212850 w 2143125"/>
                    <a:gd name="connsiteY23" fmla="*/ 492125 h 1406525"/>
                    <a:gd name="connsiteX24" fmla="*/ 1158875 w 2143125"/>
                    <a:gd name="connsiteY24" fmla="*/ 508000 h 1406525"/>
                    <a:gd name="connsiteX25" fmla="*/ 1133475 w 2143125"/>
                    <a:gd name="connsiteY25" fmla="*/ 546100 h 1406525"/>
                    <a:gd name="connsiteX26" fmla="*/ 1120775 w 2143125"/>
                    <a:gd name="connsiteY26" fmla="*/ 568325 h 1406525"/>
                    <a:gd name="connsiteX27" fmla="*/ 1111250 w 2143125"/>
                    <a:gd name="connsiteY27" fmla="*/ 600075 h 1406525"/>
                    <a:gd name="connsiteX28" fmla="*/ 1104900 w 2143125"/>
                    <a:gd name="connsiteY28" fmla="*/ 635000 h 1406525"/>
                    <a:gd name="connsiteX29" fmla="*/ 1095375 w 2143125"/>
                    <a:gd name="connsiteY29" fmla="*/ 660400 h 1406525"/>
                    <a:gd name="connsiteX30" fmla="*/ 1092200 w 2143125"/>
                    <a:gd name="connsiteY30" fmla="*/ 673100 h 1406525"/>
                    <a:gd name="connsiteX31" fmla="*/ 1089025 w 2143125"/>
                    <a:gd name="connsiteY31" fmla="*/ 682625 h 1406525"/>
                    <a:gd name="connsiteX32" fmla="*/ 1076325 w 2143125"/>
                    <a:gd name="connsiteY32" fmla="*/ 720725 h 1406525"/>
                    <a:gd name="connsiteX33" fmla="*/ 1035050 w 2143125"/>
                    <a:gd name="connsiteY33" fmla="*/ 822325 h 1406525"/>
                    <a:gd name="connsiteX34" fmla="*/ 996950 w 2143125"/>
                    <a:gd name="connsiteY34" fmla="*/ 933450 h 1406525"/>
                    <a:gd name="connsiteX35" fmla="*/ 965200 w 2143125"/>
                    <a:gd name="connsiteY35" fmla="*/ 974725 h 1406525"/>
                    <a:gd name="connsiteX36" fmla="*/ 930275 w 2143125"/>
                    <a:gd name="connsiteY36" fmla="*/ 1025525 h 1406525"/>
                    <a:gd name="connsiteX37" fmla="*/ 828675 w 2143125"/>
                    <a:gd name="connsiteY37" fmla="*/ 1031875 h 1406525"/>
                    <a:gd name="connsiteX38" fmla="*/ 742950 w 2143125"/>
                    <a:gd name="connsiteY38" fmla="*/ 968375 h 1406525"/>
                    <a:gd name="connsiteX39" fmla="*/ 692150 w 2143125"/>
                    <a:gd name="connsiteY39" fmla="*/ 895350 h 1406525"/>
                    <a:gd name="connsiteX40" fmla="*/ 647700 w 2143125"/>
                    <a:gd name="connsiteY40" fmla="*/ 844550 h 1406525"/>
                    <a:gd name="connsiteX41" fmla="*/ 596900 w 2143125"/>
                    <a:gd name="connsiteY41" fmla="*/ 790575 h 1406525"/>
                    <a:gd name="connsiteX42" fmla="*/ 523875 w 2143125"/>
                    <a:gd name="connsiteY42" fmla="*/ 711200 h 1406525"/>
                    <a:gd name="connsiteX43" fmla="*/ 473075 w 2143125"/>
                    <a:gd name="connsiteY43" fmla="*/ 695325 h 1406525"/>
                    <a:gd name="connsiteX44" fmla="*/ 434975 w 2143125"/>
                    <a:gd name="connsiteY44" fmla="*/ 717550 h 1406525"/>
                    <a:gd name="connsiteX45" fmla="*/ 431800 w 2143125"/>
                    <a:gd name="connsiteY45" fmla="*/ 755650 h 1406525"/>
                    <a:gd name="connsiteX46" fmla="*/ 425450 w 2143125"/>
                    <a:gd name="connsiteY46" fmla="*/ 793750 h 1406525"/>
                    <a:gd name="connsiteX47" fmla="*/ 425450 w 2143125"/>
                    <a:gd name="connsiteY47" fmla="*/ 831850 h 1406525"/>
                    <a:gd name="connsiteX48" fmla="*/ 425450 w 2143125"/>
                    <a:gd name="connsiteY48" fmla="*/ 876300 h 1406525"/>
                    <a:gd name="connsiteX49" fmla="*/ 422275 w 2143125"/>
                    <a:gd name="connsiteY49" fmla="*/ 904875 h 1406525"/>
                    <a:gd name="connsiteX50" fmla="*/ 412750 w 2143125"/>
                    <a:gd name="connsiteY50" fmla="*/ 968375 h 1406525"/>
                    <a:gd name="connsiteX51" fmla="*/ 396875 w 2143125"/>
                    <a:gd name="connsiteY51" fmla="*/ 1016000 h 1406525"/>
                    <a:gd name="connsiteX52" fmla="*/ 358775 w 2143125"/>
                    <a:gd name="connsiteY52" fmla="*/ 1031875 h 1406525"/>
                    <a:gd name="connsiteX53" fmla="*/ 301625 w 2143125"/>
                    <a:gd name="connsiteY53" fmla="*/ 1022350 h 1406525"/>
                    <a:gd name="connsiteX54" fmla="*/ 273050 w 2143125"/>
                    <a:gd name="connsiteY54" fmla="*/ 1006475 h 1406525"/>
                    <a:gd name="connsiteX55" fmla="*/ 222250 w 2143125"/>
                    <a:gd name="connsiteY55" fmla="*/ 984250 h 1406525"/>
                    <a:gd name="connsiteX56" fmla="*/ 187325 w 2143125"/>
                    <a:gd name="connsiteY56" fmla="*/ 962025 h 1406525"/>
                    <a:gd name="connsiteX57" fmla="*/ 152400 w 2143125"/>
                    <a:gd name="connsiteY57" fmla="*/ 936625 h 1406525"/>
                    <a:gd name="connsiteX58" fmla="*/ 104775 w 2143125"/>
                    <a:gd name="connsiteY58" fmla="*/ 885825 h 1406525"/>
                    <a:gd name="connsiteX59" fmla="*/ 57150 w 2143125"/>
                    <a:gd name="connsiteY59" fmla="*/ 822325 h 1406525"/>
                    <a:gd name="connsiteX60" fmla="*/ 0 w 2143125"/>
                    <a:gd name="connsiteY60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33500 w 2143125"/>
                    <a:gd name="connsiteY19" fmla="*/ 666750 h 1406525"/>
                    <a:gd name="connsiteX20" fmla="*/ 1304925 w 2143125"/>
                    <a:gd name="connsiteY20" fmla="*/ 600075 h 1406525"/>
                    <a:gd name="connsiteX21" fmla="*/ 1260475 w 2143125"/>
                    <a:gd name="connsiteY21" fmla="*/ 517525 h 1406525"/>
                    <a:gd name="connsiteX22" fmla="*/ 1241425 w 2143125"/>
                    <a:gd name="connsiteY22" fmla="*/ 501650 h 1406525"/>
                    <a:gd name="connsiteX23" fmla="*/ 1212850 w 2143125"/>
                    <a:gd name="connsiteY23" fmla="*/ 492125 h 1406525"/>
                    <a:gd name="connsiteX24" fmla="*/ 1158875 w 2143125"/>
                    <a:gd name="connsiteY24" fmla="*/ 508000 h 1406525"/>
                    <a:gd name="connsiteX25" fmla="*/ 1133475 w 2143125"/>
                    <a:gd name="connsiteY25" fmla="*/ 546100 h 1406525"/>
                    <a:gd name="connsiteX26" fmla="*/ 1120775 w 2143125"/>
                    <a:gd name="connsiteY26" fmla="*/ 568325 h 1406525"/>
                    <a:gd name="connsiteX27" fmla="*/ 1111250 w 2143125"/>
                    <a:gd name="connsiteY27" fmla="*/ 600075 h 1406525"/>
                    <a:gd name="connsiteX28" fmla="*/ 1104900 w 2143125"/>
                    <a:gd name="connsiteY28" fmla="*/ 635000 h 1406525"/>
                    <a:gd name="connsiteX29" fmla="*/ 1095375 w 2143125"/>
                    <a:gd name="connsiteY29" fmla="*/ 660400 h 1406525"/>
                    <a:gd name="connsiteX30" fmla="*/ 1092200 w 2143125"/>
                    <a:gd name="connsiteY30" fmla="*/ 673100 h 1406525"/>
                    <a:gd name="connsiteX31" fmla="*/ 1089025 w 2143125"/>
                    <a:gd name="connsiteY31" fmla="*/ 682625 h 1406525"/>
                    <a:gd name="connsiteX32" fmla="*/ 1076325 w 2143125"/>
                    <a:gd name="connsiteY32" fmla="*/ 720725 h 1406525"/>
                    <a:gd name="connsiteX33" fmla="*/ 1035050 w 2143125"/>
                    <a:gd name="connsiteY33" fmla="*/ 822325 h 1406525"/>
                    <a:gd name="connsiteX34" fmla="*/ 996950 w 2143125"/>
                    <a:gd name="connsiteY34" fmla="*/ 933450 h 1406525"/>
                    <a:gd name="connsiteX35" fmla="*/ 965200 w 2143125"/>
                    <a:gd name="connsiteY35" fmla="*/ 974725 h 1406525"/>
                    <a:gd name="connsiteX36" fmla="*/ 930275 w 2143125"/>
                    <a:gd name="connsiteY36" fmla="*/ 1025525 h 1406525"/>
                    <a:gd name="connsiteX37" fmla="*/ 828675 w 2143125"/>
                    <a:gd name="connsiteY37" fmla="*/ 1031875 h 1406525"/>
                    <a:gd name="connsiteX38" fmla="*/ 742950 w 2143125"/>
                    <a:gd name="connsiteY38" fmla="*/ 968375 h 1406525"/>
                    <a:gd name="connsiteX39" fmla="*/ 692150 w 2143125"/>
                    <a:gd name="connsiteY39" fmla="*/ 895350 h 1406525"/>
                    <a:gd name="connsiteX40" fmla="*/ 647700 w 2143125"/>
                    <a:gd name="connsiteY40" fmla="*/ 844550 h 1406525"/>
                    <a:gd name="connsiteX41" fmla="*/ 596900 w 2143125"/>
                    <a:gd name="connsiteY41" fmla="*/ 790575 h 1406525"/>
                    <a:gd name="connsiteX42" fmla="*/ 523875 w 2143125"/>
                    <a:gd name="connsiteY42" fmla="*/ 711200 h 1406525"/>
                    <a:gd name="connsiteX43" fmla="*/ 473075 w 2143125"/>
                    <a:gd name="connsiteY43" fmla="*/ 695325 h 1406525"/>
                    <a:gd name="connsiteX44" fmla="*/ 434975 w 2143125"/>
                    <a:gd name="connsiteY44" fmla="*/ 717550 h 1406525"/>
                    <a:gd name="connsiteX45" fmla="*/ 431800 w 2143125"/>
                    <a:gd name="connsiteY45" fmla="*/ 755650 h 1406525"/>
                    <a:gd name="connsiteX46" fmla="*/ 425450 w 2143125"/>
                    <a:gd name="connsiteY46" fmla="*/ 793750 h 1406525"/>
                    <a:gd name="connsiteX47" fmla="*/ 425450 w 2143125"/>
                    <a:gd name="connsiteY47" fmla="*/ 831850 h 1406525"/>
                    <a:gd name="connsiteX48" fmla="*/ 425450 w 2143125"/>
                    <a:gd name="connsiteY48" fmla="*/ 876300 h 1406525"/>
                    <a:gd name="connsiteX49" fmla="*/ 422275 w 2143125"/>
                    <a:gd name="connsiteY49" fmla="*/ 904875 h 1406525"/>
                    <a:gd name="connsiteX50" fmla="*/ 412750 w 2143125"/>
                    <a:gd name="connsiteY50" fmla="*/ 968375 h 1406525"/>
                    <a:gd name="connsiteX51" fmla="*/ 396875 w 2143125"/>
                    <a:gd name="connsiteY51" fmla="*/ 1016000 h 1406525"/>
                    <a:gd name="connsiteX52" fmla="*/ 358775 w 2143125"/>
                    <a:gd name="connsiteY52" fmla="*/ 1031875 h 1406525"/>
                    <a:gd name="connsiteX53" fmla="*/ 301625 w 2143125"/>
                    <a:gd name="connsiteY53" fmla="*/ 1022350 h 1406525"/>
                    <a:gd name="connsiteX54" fmla="*/ 273050 w 2143125"/>
                    <a:gd name="connsiteY54" fmla="*/ 1006475 h 1406525"/>
                    <a:gd name="connsiteX55" fmla="*/ 222250 w 2143125"/>
                    <a:gd name="connsiteY55" fmla="*/ 984250 h 1406525"/>
                    <a:gd name="connsiteX56" fmla="*/ 187325 w 2143125"/>
                    <a:gd name="connsiteY56" fmla="*/ 962025 h 1406525"/>
                    <a:gd name="connsiteX57" fmla="*/ 152400 w 2143125"/>
                    <a:gd name="connsiteY57" fmla="*/ 936625 h 1406525"/>
                    <a:gd name="connsiteX58" fmla="*/ 104775 w 2143125"/>
                    <a:gd name="connsiteY58" fmla="*/ 885825 h 1406525"/>
                    <a:gd name="connsiteX59" fmla="*/ 57150 w 2143125"/>
                    <a:gd name="connsiteY59" fmla="*/ 822325 h 1406525"/>
                    <a:gd name="connsiteX60" fmla="*/ 0 w 2143125"/>
                    <a:gd name="connsiteY60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304925 w 2143125"/>
                    <a:gd name="connsiteY20" fmla="*/ 600075 h 1406525"/>
                    <a:gd name="connsiteX21" fmla="*/ 1260475 w 2143125"/>
                    <a:gd name="connsiteY21" fmla="*/ 517525 h 1406525"/>
                    <a:gd name="connsiteX22" fmla="*/ 1241425 w 2143125"/>
                    <a:gd name="connsiteY22" fmla="*/ 501650 h 1406525"/>
                    <a:gd name="connsiteX23" fmla="*/ 1212850 w 2143125"/>
                    <a:gd name="connsiteY23" fmla="*/ 492125 h 1406525"/>
                    <a:gd name="connsiteX24" fmla="*/ 1158875 w 2143125"/>
                    <a:gd name="connsiteY24" fmla="*/ 508000 h 1406525"/>
                    <a:gd name="connsiteX25" fmla="*/ 1133475 w 2143125"/>
                    <a:gd name="connsiteY25" fmla="*/ 546100 h 1406525"/>
                    <a:gd name="connsiteX26" fmla="*/ 1120775 w 2143125"/>
                    <a:gd name="connsiteY26" fmla="*/ 568325 h 1406525"/>
                    <a:gd name="connsiteX27" fmla="*/ 1111250 w 2143125"/>
                    <a:gd name="connsiteY27" fmla="*/ 600075 h 1406525"/>
                    <a:gd name="connsiteX28" fmla="*/ 1104900 w 2143125"/>
                    <a:gd name="connsiteY28" fmla="*/ 635000 h 1406525"/>
                    <a:gd name="connsiteX29" fmla="*/ 1095375 w 2143125"/>
                    <a:gd name="connsiteY29" fmla="*/ 660400 h 1406525"/>
                    <a:gd name="connsiteX30" fmla="*/ 1092200 w 2143125"/>
                    <a:gd name="connsiteY30" fmla="*/ 673100 h 1406525"/>
                    <a:gd name="connsiteX31" fmla="*/ 1089025 w 2143125"/>
                    <a:gd name="connsiteY31" fmla="*/ 682625 h 1406525"/>
                    <a:gd name="connsiteX32" fmla="*/ 1076325 w 2143125"/>
                    <a:gd name="connsiteY32" fmla="*/ 720725 h 1406525"/>
                    <a:gd name="connsiteX33" fmla="*/ 1035050 w 2143125"/>
                    <a:gd name="connsiteY33" fmla="*/ 822325 h 1406525"/>
                    <a:gd name="connsiteX34" fmla="*/ 996950 w 2143125"/>
                    <a:gd name="connsiteY34" fmla="*/ 933450 h 1406525"/>
                    <a:gd name="connsiteX35" fmla="*/ 965200 w 2143125"/>
                    <a:gd name="connsiteY35" fmla="*/ 974725 h 1406525"/>
                    <a:gd name="connsiteX36" fmla="*/ 930275 w 2143125"/>
                    <a:gd name="connsiteY36" fmla="*/ 1025525 h 1406525"/>
                    <a:gd name="connsiteX37" fmla="*/ 828675 w 2143125"/>
                    <a:gd name="connsiteY37" fmla="*/ 1031875 h 1406525"/>
                    <a:gd name="connsiteX38" fmla="*/ 742950 w 2143125"/>
                    <a:gd name="connsiteY38" fmla="*/ 968375 h 1406525"/>
                    <a:gd name="connsiteX39" fmla="*/ 692150 w 2143125"/>
                    <a:gd name="connsiteY39" fmla="*/ 895350 h 1406525"/>
                    <a:gd name="connsiteX40" fmla="*/ 647700 w 2143125"/>
                    <a:gd name="connsiteY40" fmla="*/ 844550 h 1406525"/>
                    <a:gd name="connsiteX41" fmla="*/ 596900 w 2143125"/>
                    <a:gd name="connsiteY41" fmla="*/ 790575 h 1406525"/>
                    <a:gd name="connsiteX42" fmla="*/ 523875 w 2143125"/>
                    <a:gd name="connsiteY42" fmla="*/ 711200 h 1406525"/>
                    <a:gd name="connsiteX43" fmla="*/ 473075 w 2143125"/>
                    <a:gd name="connsiteY43" fmla="*/ 695325 h 1406525"/>
                    <a:gd name="connsiteX44" fmla="*/ 434975 w 2143125"/>
                    <a:gd name="connsiteY44" fmla="*/ 717550 h 1406525"/>
                    <a:gd name="connsiteX45" fmla="*/ 431800 w 2143125"/>
                    <a:gd name="connsiteY45" fmla="*/ 755650 h 1406525"/>
                    <a:gd name="connsiteX46" fmla="*/ 425450 w 2143125"/>
                    <a:gd name="connsiteY46" fmla="*/ 793750 h 1406525"/>
                    <a:gd name="connsiteX47" fmla="*/ 425450 w 2143125"/>
                    <a:gd name="connsiteY47" fmla="*/ 831850 h 1406525"/>
                    <a:gd name="connsiteX48" fmla="*/ 425450 w 2143125"/>
                    <a:gd name="connsiteY48" fmla="*/ 876300 h 1406525"/>
                    <a:gd name="connsiteX49" fmla="*/ 422275 w 2143125"/>
                    <a:gd name="connsiteY49" fmla="*/ 904875 h 1406525"/>
                    <a:gd name="connsiteX50" fmla="*/ 412750 w 2143125"/>
                    <a:gd name="connsiteY50" fmla="*/ 968375 h 1406525"/>
                    <a:gd name="connsiteX51" fmla="*/ 396875 w 2143125"/>
                    <a:gd name="connsiteY51" fmla="*/ 1016000 h 1406525"/>
                    <a:gd name="connsiteX52" fmla="*/ 358775 w 2143125"/>
                    <a:gd name="connsiteY52" fmla="*/ 1031875 h 1406525"/>
                    <a:gd name="connsiteX53" fmla="*/ 301625 w 2143125"/>
                    <a:gd name="connsiteY53" fmla="*/ 1022350 h 1406525"/>
                    <a:gd name="connsiteX54" fmla="*/ 273050 w 2143125"/>
                    <a:gd name="connsiteY54" fmla="*/ 1006475 h 1406525"/>
                    <a:gd name="connsiteX55" fmla="*/ 222250 w 2143125"/>
                    <a:gd name="connsiteY55" fmla="*/ 984250 h 1406525"/>
                    <a:gd name="connsiteX56" fmla="*/ 187325 w 2143125"/>
                    <a:gd name="connsiteY56" fmla="*/ 962025 h 1406525"/>
                    <a:gd name="connsiteX57" fmla="*/ 152400 w 2143125"/>
                    <a:gd name="connsiteY57" fmla="*/ 936625 h 1406525"/>
                    <a:gd name="connsiteX58" fmla="*/ 104775 w 2143125"/>
                    <a:gd name="connsiteY58" fmla="*/ 885825 h 1406525"/>
                    <a:gd name="connsiteX59" fmla="*/ 57150 w 2143125"/>
                    <a:gd name="connsiteY59" fmla="*/ 822325 h 1406525"/>
                    <a:gd name="connsiteX60" fmla="*/ 0 w 2143125"/>
                    <a:gd name="connsiteY60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60475 w 2143125"/>
                    <a:gd name="connsiteY20" fmla="*/ 517525 h 1406525"/>
                    <a:gd name="connsiteX21" fmla="*/ 1241425 w 2143125"/>
                    <a:gd name="connsiteY21" fmla="*/ 501650 h 1406525"/>
                    <a:gd name="connsiteX22" fmla="*/ 1212850 w 2143125"/>
                    <a:gd name="connsiteY22" fmla="*/ 492125 h 1406525"/>
                    <a:gd name="connsiteX23" fmla="*/ 1158875 w 2143125"/>
                    <a:gd name="connsiteY23" fmla="*/ 508000 h 1406525"/>
                    <a:gd name="connsiteX24" fmla="*/ 1133475 w 2143125"/>
                    <a:gd name="connsiteY24" fmla="*/ 546100 h 1406525"/>
                    <a:gd name="connsiteX25" fmla="*/ 1120775 w 2143125"/>
                    <a:gd name="connsiteY25" fmla="*/ 568325 h 1406525"/>
                    <a:gd name="connsiteX26" fmla="*/ 1111250 w 2143125"/>
                    <a:gd name="connsiteY26" fmla="*/ 600075 h 1406525"/>
                    <a:gd name="connsiteX27" fmla="*/ 1104900 w 2143125"/>
                    <a:gd name="connsiteY27" fmla="*/ 635000 h 1406525"/>
                    <a:gd name="connsiteX28" fmla="*/ 1095375 w 2143125"/>
                    <a:gd name="connsiteY28" fmla="*/ 660400 h 1406525"/>
                    <a:gd name="connsiteX29" fmla="*/ 1092200 w 2143125"/>
                    <a:gd name="connsiteY29" fmla="*/ 673100 h 1406525"/>
                    <a:gd name="connsiteX30" fmla="*/ 1089025 w 2143125"/>
                    <a:gd name="connsiteY30" fmla="*/ 682625 h 1406525"/>
                    <a:gd name="connsiteX31" fmla="*/ 1076325 w 2143125"/>
                    <a:gd name="connsiteY31" fmla="*/ 720725 h 1406525"/>
                    <a:gd name="connsiteX32" fmla="*/ 1035050 w 2143125"/>
                    <a:gd name="connsiteY32" fmla="*/ 822325 h 1406525"/>
                    <a:gd name="connsiteX33" fmla="*/ 996950 w 2143125"/>
                    <a:gd name="connsiteY33" fmla="*/ 933450 h 1406525"/>
                    <a:gd name="connsiteX34" fmla="*/ 965200 w 2143125"/>
                    <a:gd name="connsiteY34" fmla="*/ 974725 h 1406525"/>
                    <a:gd name="connsiteX35" fmla="*/ 930275 w 2143125"/>
                    <a:gd name="connsiteY35" fmla="*/ 1025525 h 1406525"/>
                    <a:gd name="connsiteX36" fmla="*/ 828675 w 2143125"/>
                    <a:gd name="connsiteY36" fmla="*/ 1031875 h 1406525"/>
                    <a:gd name="connsiteX37" fmla="*/ 742950 w 2143125"/>
                    <a:gd name="connsiteY37" fmla="*/ 968375 h 1406525"/>
                    <a:gd name="connsiteX38" fmla="*/ 692150 w 2143125"/>
                    <a:gd name="connsiteY38" fmla="*/ 895350 h 1406525"/>
                    <a:gd name="connsiteX39" fmla="*/ 647700 w 2143125"/>
                    <a:gd name="connsiteY39" fmla="*/ 844550 h 1406525"/>
                    <a:gd name="connsiteX40" fmla="*/ 596900 w 2143125"/>
                    <a:gd name="connsiteY40" fmla="*/ 790575 h 1406525"/>
                    <a:gd name="connsiteX41" fmla="*/ 523875 w 2143125"/>
                    <a:gd name="connsiteY41" fmla="*/ 711200 h 1406525"/>
                    <a:gd name="connsiteX42" fmla="*/ 473075 w 2143125"/>
                    <a:gd name="connsiteY42" fmla="*/ 695325 h 1406525"/>
                    <a:gd name="connsiteX43" fmla="*/ 434975 w 2143125"/>
                    <a:gd name="connsiteY43" fmla="*/ 717550 h 1406525"/>
                    <a:gd name="connsiteX44" fmla="*/ 431800 w 2143125"/>
                    <a:gd name="connsiteY44" fmla="*/ 755650 h 1406525"/>
                    <a:gd name="connsiteX45" fmla="*/ 425450 w 2143125"/>
                    <a:gd name="connsiteY45" fmla="*/ 793750 h 1406525"/>
                    <a:gd name="connsiteX46" fmla="*/ 425450 w 2143125"/>
                    <a:gd name="connsiteY46" fmla="*/ 831850 h 1406525"/>
                    <a:gd name="connsiteX47" fmla="*/ 425450 w 2143125"/>
                    <a:gd name="connsiteY47" fmla="*/ 876300 h 1406525"/>
                    <a:gd name="connsiteX48" fmla="*/ 422275 w 2143125"/>
                    <a:gd name="connsiteY48" fmla="*/ 904875 h 1406525"/>
                    <a:gd name="connsiteX49" fmla="*/ 412750 w 2143125"/>
                    <a:gd name="connsiteY49" fmla="*/ 968375 h 1406525"/>
                    <a:gd name="connsiteX50" fmla="*/ 396875 w 2143125"/>
                    <a:gd name="connsiteY50" fmla="*/ 1016000 h 1406525"/>
                    <a:gd name="connsiteX51" fmla="*/ 358775 w 2143125"/>
                    <a:gd name="connsiteY51" fmla="*/ 1031875 h 1406525"/>
                    <a:gd name="connsiteX52" fmla="*/ 301625 w 2143125"/>
                    <a:gd name="connsiteY52" fmla="*/ 1022350 h 1406525"/>
                    <a:gd name="connsiteX53" fmla="*/ 273050 w 2143125"/>
                    <a:gd name="connsiteY53" fmla="*/ 1006475 h 1406525"/>
                    <a:gd name="connsiteX54" fmla="*/ 222250 w 2143125"/>
                    <a:gd name="connsiteY54" fmla="*/ 984250 h 1406525"/>
                    <a:gd name="connsiteX55" fmla="*/ 187325 w 2143125"/>
                    <a:gd name="connsiteY55" fmla="*/ 962025 h 1406525"/>
                    <a:gd name="connsiteX56" fmla="*/ 152400 w 2143125"/>
                    <a:gd name="connsiteY56" fmla="*/ 936625 h 1406525"/>
                    <a:gd name="connsiteX57" fmla="*/ 104775 w 2143125"/>
                    <a:gd name="connsiteY57" fmla="*/ 885825 h 1406525"/>
                    <a:gd name="connsiteX58" fmla="*/ 57150 w 2143125"/>
                    <a:gd name="connsiteY58" fmla="*/ 822325 h 1406525"/>
                    <a:gd name="connsiteX59" fmla="*/ 0 w 2143125"/>
                    <a:gd name="connsiteY59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41425 w 2143125"/>
                    <a:gd name="connsiteY21" fmla="*/ 501650 h 1406525"/>
                    <a:gd name="connsiteX22" fmla="*/ 1212850 w 2143125"/>
                    <a:gd name="connsiteY22" fmla="*/ 492125 h 1406525"/>
                    <a:gd name="connsiteX23" fmla="*/ 1158875 w 2143125"/>
                    <a:gd name="connsiteY23" fmla="*/ 508000 h 1406525"/>
                    <a:gd name="connsiteX24" fmla="*/ 1133475 w 2143125"/>
                    <a:gd name="connsiteY24" fmla="*/ 546100 h 1406525"/>
                    <a:gd name="connsiteX25" fmla="*/ 1120775 w 2143125"/>
                    <a:gd name="connsiteY25" fmla="*/ 568325 h 1406525"/>
                    <a:gd name="connsiteX26" fmla="*/ 1111250 w 2143125"/>
                    <a:gd name="connsiteY26" fmla="*/ 600075 h 1406525"/>
                    <a:gd name="connsiteX27" fmla="*/ 1104900 w 2143125"/>
                    <a:gd name="connsiteY27" fmla="*/ 635000 h 1406525"/>
                    <a:gd name="connsiteX28" fmla="*/ 1095375 w 2143125"/>
                    <a:gd name="connsiteY28" fmla="*/ 660400 h 1406525"/>
                    <a:gd name="connsiteX29" fmla="*/ 1092200 w 2143125"/>
                    <a:gd name="connsiteY29" fmla="*/ 673100 h 1406525"/>
                    <a:gd name="connsiteX30" fmla="*/ 1089025 w 2143125"/>
                    <a:gd name="connsiteY30" fmla="*/ 682625 h 1406525"/>
                    <a:gd name="connsiteX31" fmla="*/ 1076325 w 2143125"/>
                    <a:gd name="connsiteY31" fmla="*/ 720725 h 1406525"/>
                    <a:gd name="connsiteX32" fmla="*/ 1035050 w 2143125"/>
                    <a:gd name="connsiteY32" fmla="*/ 822325 h 1406525"/>
                    <a:gd name="connsiteX33" fmla="*/ 996950 w 2143125"/>
                    <a:gd name="connsiteY33" fmla="*/ 933450 h 1406525"/>
                    <a:gd name="connsiteX34" fmla="*/ 965200 w 2143125"/>
                    <a:gd name="connsiteY34" fmla="*/ 974725 h 1406525"/>
                    <a:gd name="connsiteX35" fmla="*/ 930275 w 2143125"/>
                    <a:gd name="connsiteY35" fmla="*/ 1025525 h 1406525"/>
                    <a:gd name="connsiteX36" fmla="*/ 828675 w 2143125"/>
                    <a:gd name="connsiteY36" fmla="*/ 1031875 h 1406525"/>
                    <a:gd name="connsiteX37" fmla="*/ 742950 w 2143125"/>
                    <a:gd name="connsiteY37" fmla="*/ 968375 h 1406525"/>
                    <a:gd name="connsiteX38" fmla="*/ 692150 w 2143125"/>
                    <a:gd name="connsiteY38" fmla="*/ 895350 h 1406525"/>
                    <a:gd name="connsiteX39" fmla="*/ 647700 w 2143125"/>
                    <a:gd name="connsiteY39" fmla="*/ 844550 h 1406525"/>
                    <a:gd name="connsiteX40" fmla="*/ 596900 w 2143125"/>
                    <a:gd name="connsiteY40" fmla="*/ 790575 h 1406525"/>
                    <a:gd name="connsiteX41" fmla="*/ 523875 w 2143125"/>
                    <a:gd name="connsiteY41" fmla="*/ 711200 h 1406525"/>
                    <a:gd name="connsiteX42" fmla="*/ 473075 w 2143125"/>
                    <a:gd name="connsiteY42" fmla="*/ 695325 h 1406525"/>
                    <a:gd name="connsiteX43" fmla="*/ 434975 w 2143125"/>
                    <a:gd name="connsiteY43" fmla="*/ 717550 h 1406525"/>
                    <a:gd name="connsiteX44" fmla="*/ 431800 w 2143125"/>
                    <a:gd name="connsiteY44" fmla="*/ 755650 h 1406525"/>
                    <a:gd name="connsiteX45" fmla="*/ 425450 w 2143125"/>
                    <a:gd name="connsiteY45" fmla="*/ 793750 h 1406525"/>
                    <a:gd name="connsiteX46" fmla="*/ 425450 w 2143125"/>
                    <a:gd name="connsiteY46" fmla="*/ 831850 h 1406525"/>
                    <a:gd name="connsiteX47" fmla="*/ 425450 w 2143125"/>
                    <a:gd name="connsiteY47" fmla="*/ 876300 h 1406525"/>
                    <a:gd name="connsiteX48" fmla="*/ 422275 w 2143125"/>
                    <a:gd name="connsiteY48" fmla="*/ 904875 h 1406525"/>
                    <a:gd name="connsiteX49" fmla="*/ 412750 w 2143125"/>
                    <a:gd name="connsiteY49" fmla="*/ 968375 h 1406525"/>
                    <a:gd name="connsiteX50" fmla="*/ 396875 w 2143125"/>
                    <a:gd name="connsiteY50" fmla="*/ 1016000 h 1406525"/>
                    <a:gd name="connsiteX51" fmla="*/ 358775 w 2143125"/>
                    <a:gd name="connsiteY51" fmla="*/ 1031875 h 1406525"/>
                    <a:gd name="connsiteX52" fmla="*/ 301625 w 2143125"/>
                    <a:gd name="connsiteY52" fmla="*/ 1022350 h 1406525"/>
                    <a:gd name="connsiteX53" fmla="*/ 273050 w 2143125"/>
                    <a:gd name="connsiteY53" fmla="*/ 1006475 h 1406525"/>
                    <a:gd name="connsiteX54" fmla="*/ 222250 w 2143125"/>
                    <a:gd name="connsiteY54" fmla="*/ 984250 h 1406525"/>
                    <a:gd name="connsiteX55" fmla="*/ 187325 w 2143125"/>
                    <a:gd name="connsiteY55" fmla="*/ 962025 h 1406525"/>
                    <a:gd name="connsiteX56" fmla="*/ 152400 w 2143125"/>
                    <a:gd name="connsiteY56" fmla="*/ 936625 h 1406525"/>
                    <a:gd name="connsiteX57" fmla="*/ 104775 w 2143125"/>
                    <a:gd name="connsiteY57" fmla="*/ 885825 h 1406525"/>
                    <a:gd name="connsiteX58" fmla="*/ 57150 w 2143125"/>
                    <a:gd name="connsiteY58" fmla="*/ 822325 h 1406525"/>
                    <a:gd name="connsiteX59" fmla="*/ 0 w 2143125"/>
                    <a:gd name="connsiteY59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212850 w 2143125"/>
                    <a:gd name="connsiteY22" fmla="*/ 492125 h 1406525"/>
                    <a:gd name="connsiteX23" fmla="*/ 1158875 w 2143125"/>
                    <a:gd name="connsiteY23" fmla="*/ 508000 h 1406525"/>
                    <a:gd name="connsiteX24" fmla="*/ 1133475 w 2143125"/>
                    <a:gd name="connsiteY24" fmla="*/ 546100 h 1406525"/>
                    <a:gd name="connsiteX25" fmla="*/ 1120775 w 2143125"/>
                    <a:gd name="connsiteY25" fmla="*/ 568325 h 1406525"/>
                    <a:gd name="connsiteX26" fmla="*/ 1111250 w 2143125"/>
                    <a:gd name="connsiteY26" fmla="*/ 600075 h 1406525"/>
                    <a:gd name="connsiteX27" fmla="*/ 1104900 w 2143125"/>
                    <a:gd name="connsiteY27" fmla="*/ 635000 h 1406525"/>
                    <a:gd name="connsiteX28" fmla="*/ 1095375 w 2143125"/>
                    <a:gd name="connsiteY28" fmla="*/ 660400 h 1406525"/>
                    <a:gd name="connsiteX29" fmla="*/ 1092200 w 2143125"/>
                    <a:gd name="connsiteY29" fmla="*/ 673100 h 1406525"/>
                    <a:gd name="connsiteX30" fmla="*/ 1089025 w 2143125"/>
                    <a:gd name="connsiteY30" fmla="*/ 682625 h 1406525"/>
                    <a:gd name="connsiteX31" fmla="*/ 1076325 w 2143125"/>
                    <a:gd name="connsiteY31" fmla="*/ 720725 h 1406525"/>
                    <a:gd name="connsiteX32" fmla="*/ 1035050 w 2143125"/>
                    <a:gd name="connsiteY32" fmla="*/ 822325 h 1406525"/>
                    <a:gd name="connsiteX33" fmla="*/ 996950 w 2143125"/>
                    <a:gd name="connsiteY33" fmla="*/ 933450 h 1406525"/>
                    <a:gd name="connsiteX34" fmla="*/ 965200 w 2143125"/>
                    <a:gd name="connsiteY34" fmla="*/ 974725 h 1406525"/>
                    <a:gd name="connsiteX35" fmla="*/ 930275 w 2143125"/>
                    <a:gd name="connsiteY35" fmla="*/ 1025525 h 1406525"/>
                    <a:gd name="connsiteX36" fmla="*/ 828675 w 2143125"/>
                    <a:gd name="connsiteY36" fmla="*/ 1031875 h 1406525"/>
                    <a:gd name="connsiteX37" fmla="*/ 742950 w 2143125"/>
                    <a:gd name="connsiteY37" fmla="*/ 968375 h 1406525"/>
                    <a:gd name="connsiteX38" fmla="*/ 692150 w 2143125"/>
                    <a:gd name="connsiteY38" fmla="*/ 895350 h 1406525"/>
                    <a:gd name="connsiteX39" fmla="*/ 647700 w 2143125"/>
                    <a:gd name="connsiteY39" fmla="*/ 844550 h 1406525"/>
                    <a:gd name="connsiteX40" fmla="*/ 596900 w 2143125"/>
                    <a:gd name="connsiteY40" fmla="*/ 790575 h 1406525"/>
                    <a:gd name="connsiteX41" fmla="*/ 523875 w 2143125"/>
                    <a:gd name="connsiteY41" fmla="*/ 711200 h 1406525"/>
                    <a:gd name="connsiteX42" fmla="*/ 473075 w 2143125"/>
                    <a:gd name="connsiteY42" fmla="*/ 695325 h 1406525"/>
                    <a:gd name="connsiteX43" fmla="*/ 434975 w 2143125"/>
                    <a:gd name="connsiteY43" fmla="*/ 717550 h 1406525"/>
                    <a:gd name="connsiteX44" fmla="*/ 431800 w 2143125"/>
                    <a:gd name="connsiteY44" fmla="*/ 755650 h 1406525"/>
                    <a:gd name="connsiteX45" fmla="*/ 425450 w 2143125"/>
                    <a:gd name="connsiteY45" fmla="*/ 793750 h 1406525"/>
                    <a:gd name="connsiteX46" fmla="*/ 425450 w 2143125"/>
                    <a:gd name="connsiteY46" fmla="*/ 831850 h 1406525"/>
                    <a:gd name="connsiteX47" fmla="*/ 425450 w 2143125"/>
                    <a:gd name="connsiteY47" fmla="*/ 876300 h 1406525"/>
                    <a:gd name="connsiteX48" fmla="*/ 422275 w 2143125"/>
                    <a:gd name="connsiteY48" fmla="*/ 904875 h 1406525"/>
                    <a:gd name="connsiteX49" fmla="*/ 412750 w 2143125"/>
                    <a:gd name="connsiteY49" fmla="*/ 968375 h 1406525"/>
                    <a:gd name="connsiteX50" fmla="*/ 396875 w 2143125"/>
                    <a:gd name="connsiteY50" fmla="*/ 1016000 h 1406525"/>
                    <a:gd name="connsiteX51" fmla="*/ 358775 w 2143125"/>
                    <a:gd name="connsiteY51" fmla="*/ 1031875 h 1406525"/>
                    <a:gd name="connsiteX52" fmla="*/ 301625 w 2143125"/>
                    <a:gd name="connsiteY52" fmla="*/ 1022350 h 1406525"/>
                    <a:gd name="connsiteX53" fmla="*/ 273050 w 2143125"/>
                    <a:gd name="connsiteY53" fmla="*/ 1006475 h 1406525"/>
                    <a:gd name="connsiteX54" fmla="*/ 222250 w 2143125"/>
                    <a:gd name="connsiteY54" fmla="*/ 984250 h 1406525"/>
                    <a:gd name="connsiteX55" fmla="*/ 187325 w 2143125"/>
                    <a:gd name="connsiteY55" fmla="*/ 962025 h 1406525"/>
                    <a:gd name="connsiteX56" fmla="*/ 152400 w 2143125"/>
                    <a:gd name="connsiteY56" fmla="*/ 936625 h 1406525"/>
                    <a:gd name="connsiteX57" fmla="*/ 104775 w 2143125"/>
                    <a:gd name="connsiteY57" fmla="*/ 885825 h 1406525"/>
                    <a:gd name="connsiteX58" fmla="*/ 57150 w 2143125"/>
                    <a:gd name="connsiteY58" fmla="*/ 822325 h 1406525"/>
                    <a:gd name="connsiteX59" fmla="*/ 0 w 2143125"/>
                    <a:gd name="connsiteY59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58875 w 2143125"/>
                    <a:gd name="connsiteY23" fmla="*/ 508000 h 1406525"/>
                    <a:gd name="connsiteX24" fmla="*/ 1133475 w 2143125"/>
                    <a:gd name="connsiteY24" fmla="*/ 546100 h 1406525"/>
                    <a:gd name="connsiteX25" fmla="*/ 1120775 w 2143125"/>
                    <a:gd name="connsiteY25" fmla="*/ 568325 h 1406525"/>
                    <a:gd name="connsiteX26" fmla="*/ 1111250 w 2143125"/>
                    <a:gd name="connsiteY26" fmla="*/ 600075 h 1406525"/>
                    <a:gd name="connsiteX27" fmla="*/ 1104900 w 2143125"/>
                    <a:gd name="connsiteY27" fmla="*/ 635000 h 1406525"/>
                    <a:gd name="connsiteX28" fmla="*/ 1095375 w 2143125"/>
                    <a:gd name="connsiteY28" fmla="*/ 660400 h 1406525"/>
                    <a:gd name="connsiteX29" fmla="*/ 1092200 w 2143125"/>
                    <a:gd name="connsiteY29" fmla="*/ 673100 h 1406525"/>
                    <a:gd name="connsiteX30" fmla="*/ 1089025 w 2143125"/>
                    <a:gd name="connsiteY30" fmla="*/ 682625 h 1406525"/>
                    <a:gd name="connsiteX31" fmla="*/ 1076325 w 2143125"/>
                    <a:gd name="connsiteY31" fmla="*/ 720725 h 1406525"/>
                    <a:gd name="connsiteX32" fmla="*/ 1035050 w 2143125"/>
                    <a:gd name="connsiteY32" fmla="*/ 822325 h 1406525"/>
                    <a:gd name="connsiteX33" fmla="*/ 996950 w 2143125"/>
                    <a:gd name="connsiteY33" fmla="*/ 933450 h 1406525"/>
                    <a:gd name="connsiteX34" fmla="*/ 965200 w 2143125"/>
                    <a:gd name="connsiteY34" fmla="*/ 974725 h 1406525"/>
                    <a:gd name="connsiteX35" fmla="*/ 930275 w 2143125"/>
                    <a:gd name="connsiteY35" fmla="*/ 1025525 h 1406525"/>
                    <a:gd name="connsiteX36" fmla="*/ 828675 w 2143125"/>
                    <a:gd name="connsiteY36" fmla="*/ 1031875 h 1406525"/>
                    <a:gd name="connsiteX37" fmla="*/ 742950 w 2143125"/>
                    <a:gd name="connsiteY37" fmla="*/ 968375 h 1406525"/>
                    <a:gd name="connsiteX38" fmla="*/ 692150 w 2143125"/>
                    <a:gd name="connsiteY38" fmla="*/ 895350 h 1406525"/>
                    <a:gd name="connsiteX39" fmla="*/ 647700 w 2143125"/>
                    <a:gd name="connsiteY39" fmla="*/ 844550 h 1406525"/>
                    <a:gd name="connsiteX40" fmla="*/ 596900 w 2143125"/>
                    <a:gd name="connsiteY40" fmla="*/ 790575 h 1406525"/>
                    <a:gd name="connsiteX41" fmla="*/ 523875 w 2143125"/>
                    <a:gd name="connsiteY41" fmla="*/ 711200 h 1406525"/>
                    <a:gd name="connsiteX42" fmla="*/ 473075 w 2143125"/>
                    <a:gd name="connsiteY42" fmla="*/ 695325 h 1406525"/>
                    <a:gd name="connsiteX43" fmla="*/ 434975 w 2143125"/>
                    <a:gd name="connsiteY43" fmla="*/ 717550 h 1406525"/>
                    <a:gd name="connsiteX44" fmla="*/ 431800 w 2143125"/>
                    <a:gd name="connsiteY44" fmla="*/ 755650 h 1406525"/>
                    <a:gd name="connsiteX45" fmla="*/ 425450 w 2143125"/>
                    <a:gd name="connsiteY45" fmla="*/ 793750 h 1406525"/>
                    <a:gd name="connsiteX46" fmla="*/ 425450 w 2143125"/>
                    <a:gd name="connsiteY46" fmla="*/ 831850 h 1406525"/>
                    <a:gd name="connsiteX47" fmla="*/ 425450 w 2143125"/>
                    <a:gd name="connsiteY47" fmla="*/ 876300 h 1406525"/>
                    <a:gd name="connsiteX48" fmla="*/ 422275 w 2143125"/>
                    <a:gd name="connsiteY48" fmla="*/ 904875 h 1406525"/>
                    <a:gd name="connsiteX49" fmla="*/ 412750 w 2143125"/>
                    <a:gd name="connsiteY49" fmla="*/ 968375 h 1406525"/>
                    <a:gd name="connsiteX50" fmla="*/ 396875 w 2143125"/>
                    <a:gd name="connsiteY50" fmla="*/ 1016000 h 1406525"/>
                    <a:gd name="connsiteX51" fmla="*/ 358775 w 2143125"/>
                    <a:gd name="connsiteY51" fmla="*/ 1031875 h 1406525"/>
                    <a:gd name="connsiteX52" fmla="*/ 301625 w 2143125"/>
                    <a:gd name="connsiteY52" fmla="*/ 1022350 h 1406525"/>
                    <a:gd name="connsiteX53" fmla="*/ 273050 w 2143125"/>
                    <a:gd name="connsiteY53" fmla="*/ 1006475 h 1406525"/>
                    <a:gd name="connsiteX54" fmla="*/ 222250 w 2143125"/>
                    <a:gd name="connsiteY54" fmla="*/ 984250 h 1406525"/>
                    <a:gd name="connsiteX55" fmla="*/ 187325 w 2143125"/>
                    <a:gd name="connsiteY55" fmla="*/ 962025 h 1406525"/>
                    <a:gd name="connsiteX56" fmla="*/ 152400 w 2143125"/>
                    <a:gd name="connsiteY56" fmla="*/ 936625 h 1406525"/>
                    <a:gd name="connsiteX57" fmla="*/ 104775 w 2143125"/>
                    <a:gd name="connsiteY57" fmla="*/ 885825 h 1406525"/>
                    <a:gd name="connsiteX58" fmla="*/ 57150 w 2143125"/>
                    <a:gd name="connsiteY58" fmla="*/ 822325 h 1406525"/>
                    <a:gd name="connsiteX59" fmla="*/ 0 w 2143125"/>
                    <a:gd name="connsiteY59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120775 w 2143125"/>
                    <a:gd name="connsiteY25" fmla="*/ 568325 h 1406525"/>
                    <a:gd name="connsiteX26" fmla="*/ 1111250 w 2143125"/>
                    <a:gd name="connsiteY26" fmla="*/ 600075 h 1406525"/>
                    <a:gd name="connsiteX27" fmla="*/ 1104900 w 2143125"/>
                    <a:gd name="connsiteY27" fmla="*/ 635000 h 1406525"/>
                    <a:gd name="connsiteX28" fmla="*/ 1095375 w 2143125"/>
                    <a:gd name="connsiteY28" fmla="*/ 660400 h 1406525"/>
                    <a:gd name="connsiteX29" fmla="*/ 1092200 w 2143125"/>
                    <a:gd name="connsiteY29" fmla="*/ 673100 h 1406525"/>
                    <a:gd name="connsiteX30" fmla="*/ 1089025 w 2143125"/>
                    <a:gd name="connsiteY30" fmla="*/ 682625 h 1406525"/>
                    <a:gd name="connsiteX31" fmla="*/ 1076325 w 2143125"/>
                    <a:gd name="connsiteY31" fmla="*/ 720725 h 1406525"/>
                    <a:gd name="connsiteX32" fmla="*/ 1035050 w 2143125"/>
                    <a:gd name="connsiteY32" fmla="*/ 822325 h 1406525"/>
                    <a:gd name="connsiteX33" fmla="*/ 996950 w 2143125"/>
                    <a:gd name="connsiteY33" fmla="*/ 933450 h 1406525"/>
                    <a:gd name="connsiteX34" fmla="*/ 965200 w 2143125"/>
                    <a:gd name="connsiteY34" fmla="*/ 974725 h 1406525"/>
                    <a:gd name="connsiteX35" fmla="*/ 930275 w 2143125"/>
                    <a:gd name="connsiteY35" fmla="*/ 1025525 h 1406525"/>
                    <a:gd name="connsiteX36" fmla="*/ 828675 w 2143125"/>
                    <a:gd name="connsiteY36" fmla="*/ 1031875 h 1406525"/>
                    <a:gd name="connsiteX37" fmla="*/ 742950 w 2143125"/>
                    <a:gd name="connsiteY37" fmla="*/ 968375 h 1406525"/>
                    <a:gd name="connsiteX38" fmla="*/ 692150 w 2143125"/>
                    <a:gd name="connsiteY38" fmla="*/ 895350 h 1406525"/>
                    <a:gd name="connsiteX39" fmla="*/ 647700 w 2143125"/>
                    <a:gd name="connsiteY39" fmla="*/ 844550 h 1406525"/>
                    <a:gd name="connsiteX40" fmla="*/ 596900 w 2143125"/>
                    <a:gd name="connsiteY40" fmla="*/ 790575 h 1406525"/>
                    <a:gd name="connsiteX41" fmla="*/ 523875 w 2143125"/>
                    <a:gd name="connsiteY41" fmla="*/ 711200 h 1406525"/>
                    <a:gd name="connsiteX42" fmla="*/ 473075 w 2143125"/>
                    <a:gd name="connsiteY42" fmla="*/ 695325 h 1406525"/>
                    <a:gd name="connsiteX43" fmla="*/ 434975 w 2143125"/>
                    <a:gd name="connsiteY43" fmla="*/ 717550 h 1406525"/>
                    <a:gd name="connsiteX44" fmla="*/ 431800 w 2143125"/>
                    <a:gd name="connsiteY44" fmla="*/ 755650 h 1406525"/>
                    <a:gd name="connsiteX45" fmla="*/ 425450 w 2143125"/>
                    <a:gd name="connsiteY45" fmla="*/ 793750 h 1406525"/>
                    <a:gd name="connsiteX46" fmla="*/ 425450 w 2143125"/>
                    <a:gd name="connsiteY46" fmla="*/ 831850 h 1406525"/>
                    <a:gd name="connsiteX47" fmla="*/ 425450 w 2143125"/>
                    <a:gd name="connsiteY47" fmla="*/ 876300 h 1406525"/>
                    <a:gd name="connsiteX48" fmla="*/ 422275 w 2143125"/>
                    <a:gd name="connsiteY48" fmla="*/ 904875 h 1406525"/>
                    <a:gd name="connsiteX49" fmla="*/ 412750 w 2143125"/>
                    <a:gd name="connsiteY49" fmla="*/ 968375 h 1406525"/>
                    <a:gd name="connsiteX50" fmla="*/ 396875 w 2143125"/>
                    <a:gd name="connsiteY50" fmla="*/ 1016000 h 1406525"/>
                    <a:gd name="connsiteX51" fmla="*/ 358775 w 2143125"/>
                    <a:gd name="connsiteY51" fmla="*/ 1031875 h 1406525"/>
                    <a:gd name="connsiteX52" fmla="*/ 301625 w 2143125"/>
                    <a:gd name="connsiteY52" fmla="*/ 1022350 h 1406525"/>
                    <a:gd name="connsiteX53" fmla="*/ 273050 w 2143125"/>
                    <a:gd name="connsiteY53" fmla="*/ 1006475 h 1406525"/>
                    <a:gd name="connsiteX54" fmla="*/ 222250 w 2143125"/>
                    <a:gd name="connsiteY54" fmla="*/ 984250 h 1406525"/>
                    <a:gd name="connsiteX55" fmla="*/ 187325 w 2143125"/>
                    <a:gd name="connsiteY55" fmla="*/ 962025 h 1406525"/>
                    <a:gd name="connsiteX56" fmla="*/ 152400 w 2143125"/>
                    <a:gd name="connsiteY56" fmla="*/ 936625 h 1406525"/>
                    <a:gd name="connsiteX57" fmla="*/ 104775 w 2143125"/>
                    <a:gd name="connsiteY57" fmla="*/ 885825 h 1406525"/>
                    <a:gd name="connsiteX58" fmla="*/ 57150 w 2143125"/>
                    <a:gd name="connsiteY58" fmla="*/ 822325 h 1406525"/>
                    <a:gd name="connsiteX59" fmla="*/ 0 w 2143125"/>
                    <a:gd name="connsiteY59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111250 w 2143125"/>
                    <a:gd name="connsiteY26" fmla="*/ 600075 h 1406525"/>
                    <a:gd name="connsiteX27" fmla="*/ 1104900 w 2143125"/>
                    <a:gd name="connsiteY27" fmla="*/ 635000 h 1406525"/>
                    <a:gd name="connsiteX28" fmla="*/ 1095375 w 2143125"/>
                    <a:gd name="connsiteY28" fmla="*/ 660400 h 1406525"/>
                    <a:gd name="connsiteX29" fmla="*/ 1092200 w 2143125"/>
                    <a:gd name="connsiteY29" fmla="*/ 673100 h 1406525"/>
                    <a:gd name="connsiteX30" fmla="*/ 1089025 w 2143125"/>
                    <a:gd name="connsiteY30" fmla="*/ 682625 h 1406525"/>
                    <a:gd name="connsiteX31" fmla="*/ 1076325 w 2143125"/>
                    <a:gd name="connsiteY31" fmla="*/ 720725 h 1406525"/>
                    <a:gd name="connsiteX32" fmla="*/ 1035050 w 2143125"/>
                    <a:gd name="connsiteY32" fmla="*/ 822325 h 1406525"/>
                    <a:gd name="connsiteX33" fmla="*/ 996950 w 2143125"/>
                    <a:gd name="connsiteY33" fmla="*/ 933450 h 1406525"/>
                    <a:gd name="connsiteX34" fmla="*/ 965200 w 2143125"/>
                    <a:gd name="connsiteY34" fmla="*/ 974725 h 1406525"/>
                    <a:gd name="connsiteX35" fmla="*/ 930275 w 2143125"/>
                    <a:gd name="connsiteY35" fmla="*/ 1025525 h 1406525"/>
                    <a:gd name="connsiteX36" fmla="*/ 828675 w 2143125"/>
                    <a:gd name="connsiteY36" fmla="*/ 1031875 h 1406525"/>
                    <a:gd name="connsiteX37" fmla="*/ 742950 w 2143125"/>
                    <a:gd name="connsiteY37" fmla="*/ 968375 h 1406525"/>
                    <a:gd name="connsiteX38" fmla="*/ 692150 w 2143125"/>
                    <a:gd name="connsiteY38" fmla="*/ 895350 h 1406525"/>
                    <a:gd name="connsiteX39" fmla="*/ 647700 w 2143125"/>
                    <a:gd name="connsiteY39" fmla="*/ 844550 h 1406525"/>
                    <a:gd name="connsiteX40" fmla="*/ 596900 w 2143125"/>
                    <a:gd name="connsiteY40" fmla="*/ 790575 h 1406525"/>
                    <a:gd name="connsiteX41" fmla="*/ 523875 w 2143125"/>
                    <a:gd name="connsiteY41" fmla="*/ 711200 h 1406525"/>
                    <a:gd name="connsiteX42" fmla="*/ 473075 w 2143125"/>
                    <a:gd name="connsiteY42" fmla="*/ 695325 h 1406525"/>
                    <a:gd name="connsiteX43" fmla="*/ 434975 w 2143125"/>
                    <a:gd name="connsiteY43" fmla="*/ 717550 h 1406525"/>
                    <a:gd name="connsiteX44" fmla="*/ 431800 w 2143125"/>
                    <a:gd name="connsiteY44" fmla="*/ 755650 h 1406525"/>
                    <a:gd name="connsiteX45" fmla="*/ 425450 w 2143125"/>
                    <a:gd name="connsiteY45" fmla="*/ 793750 h 1406525"/>
                    <a:gd name="connsiteX46" fmla="*/ 425450 w 2143125"/>
                    <a:gd name="connsiteY46" fmla="*/ 831850 h 1406525"/>
                    <a:gd name="connsiteX47" fmla="*/ 425450 w 2143125"/>
                    <a:gd name="connsiteY47" fmla="*/ 876300 h 1406525"/>
                    <a:gd name="connsiteX48" fmla="*/ 422275 w 2143125"/>
                    <a:gd name="connsiteY48" fmla="*/ 904875 h 1406525"/>
                    <a:gd name="connsiteX49" fmla="*/ 412750 w 2143125"/>
                    <a:gd name="connsiteY49" fmla="*/ 968375 h 1406525"/>
                    <a:gd name="connsiteX50" fmla="*/ 396875 w 2143125"/>
                    <a:gd name="connsiteY50" fmla="*/ 1016000 h 1406525"/>
                    <a:gd name="connsiteX51" fmla="*/ 358775 w 2143125"/>
                    <a:gd name="connsiteY51" fmla="*/ 1031875 h 1406525"/>
                    <a:gd name="connsiteX52" fmla="*/ 301625 w 2143125"/>
                    <a:gd name="connsiteY52" fmla="*/ 1022350 h 1406525"/>
                    <a:gd name="connsiteX53" fmla="*/ 273050 w 2143125"/>
                    <a:gd name="connsiteY53" fmla="*/ 1006475 h 1406525"/>
                    <a:gd name="connsiteX54" fmla="*/ 222250 w 2143125"/>
                    <a:gd name="connsiteY54" fmla="*/ 984250 h 1406525"/>
                    <a:gd name="connsiteX55" fmla="*/ 187325 w 2143125"/>
                    <a:gd name="connsiteY55" fmla="*/ 962025 h 1406525"/>
                    <a:gd name="connsiteX56" fmla="*/ 152400 w 2143125"/>
                    <a:gd name="connsiteY56" fmla="*/ 936625 h 1406525"/>
                    <a:gd name="connsiteX57" fmla="*/ 104775 w 2143125"/>
                    <a:gd name="connsiteY57" fmla="*/ 885825 h 1406525"/>
                    <a:gd name="connsiteX58" fmla="*/ 57150 w 2143125"/>
                    <a:gd name="connsiteY58" fmla="*/ 822325 h 1406525"/>
                    <a:gd name="connsiteX59" fmla="*/ 0 w 2143125"/>
                    <a:gd name="connsiteY59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111250 w 2143125"/>
                    <a:gd name="connsiteY26" fmla="*/ 600075 h 1406525"/>
                    <a:gd name="connsiteX27" fmla="*/ 1095375 w 2143125"/>
                    <a:gd name="connsiteY27" fmla="*/ 660400 h 1406525"/>
                    <a:gd name="connsiteX28" fmla="*/ 1092200 w 2143125"/>
                    <a:gd name="connsiteY28" fmla="*/ 673100 h 1406525"/>
                    <a:gd name="connsiteX29" fmla="*/ 1089025 w 2143125"/>
                    <a:gd name="connsiteY29" fmla="*/ 682625 h 1406525"/>
                    <a:gd name="connsiteX30" fmla="*/ 1076325 w 2143125"/>
                    <a:gd name="connsiteY30" fmla="*/ 720725 h 1406525"/>
                    <a:gd name="connsiteX31" fmla="*/ 1035050 w 2143125"/>
                    <a:gd name="connsiteY31" fmla="*/ 822325 h 1406525"/>
                    <a:gd name="connsiteX32" fmla="*/ 996950 w 2143125"/>
                    <a:gd name="connsiteY32" fmla="*/ 933450 h 1406525"/>
                    <a:gd name="connsiteX33" fmla="*/ 965200 w 2143125"/>
                    <a:gd name="connsiteY33" fmla="*/ 974725 h 1406525"/>
                    <a:gd name="connsiteX34" fmla="*/ 930275 w 2143125"/>
                    <a:gd name="connsiteY34" fmla="*/ 1025525 h 1406525"/>
                    <a:gd name="connsiteX35" fmla="*/ 828675 w 2143125"/>
                    <a:gd name="connsiteY35" fmla="*/ 1031875 h 1406525"/>
                    <a:gd name="connsiteX36" fmla="*/ 742950 w 2143125"/>
                    <a:gd name="connsiteY36" fmla="*/ 968375 h 1406525"/>
                    <a:gd name="connsiteX37" fmla="*/ 692150 w 2143125"/>
                    <a:gd name="connsiteY37" fmla="*/ 895350 h 1406525"/>
                    <a:gd name="connsiteX38" fmla="*/ 647700 w 2143125"/>
                    <a:gd name="connsiteY38" fmla="*/ 844550 h 1406525"/>
                    <a:gd name="connsiteX39" fmla="*/ 596900 w 2143125"/>
                    <a:gd name="connsiteY39" fmla="*/ 790575 h 1406525"/>
                    <a:gd name="connsiteX40" fmla="*/ 523875 w 2143125"/>
                    <a:gd name="connsiteY40" fmla="*/ 711200 h 1406525"/>
                    <a:gd name="connsiteX41" fmla="*/ 473075 w 2143125"/>
                    <a:gd name="connsiteY41" fmla="*/ 695325 h 1406525"/>
                    <a:gd name="connsiteX42" fmla="*/ 434975 w 2143125"/>
                    <a:gd name="connsiteY42" fmla="*/ 717550 h 1406525"/>
                    <a:gd name="connsiteX43" fmla="*/ 431800 w 2143125"/>
                    <a:gd name="connsiteY43" fmla="*/ 755650 h 1406525"/>
                    <a:gd name="connsiteX44" fmla="*/ 425450 w 2143125"/>
                    <a:gd name="connsiteY44" fmla="*/ 793750 h 1406525"/>
                    <a:gd name="connsiteX45" fmla="*/ 425450 w 2143125"/>
                    <a:gd name="connsiteY45" fmla="*/ 831850 h 1406525"/>
                    <a:gd name="connsiteX46" fmla="*/ 425450 w 2143125"/>
                    <a:gd name="connsiteY46" fmla="*/ 876300 h 1406525"/>
                    <a:gd name="connsiteX47" fmla="*/ 422275 w 2143125"/>
                    <a:gd name="connsiteY47" fmla="*/ 904875 h 1406525"/>
                    <a:gd name="connsiteX48" fmla="*/ 412750 w 2143125"/>
                    <a:gd name="connsiteY48" fmla="*/ 968375 h 1406525"/>
                    <a:gd name="connsiteX49" fmla="*/ 396875 w 2143125"/>
                    <a:gd name="connsiteY49" fmla="*/ 1016000 h 1406525"/>
                    <a:gd name="connsiteX50" fmla="*/ 358775 w 2143125"/>
                    <a:gd name="connsiteY50" fmla="*/ 1031875 h 1406525"/>
                    <a:gd name="connsiteX51" fmla="*/ 301625 w 2143125"/>
                    <a:gd name="connsiteY51" fmla="*/ 1022350 h 1406525"/>
                    <a:gd name="connsiteX52" fmla="*/ 273050 w 2143125"/>
                    <a:gd name="connsiteY52" fmla="*/ 1006475 h 1406525"/>
                    <a:gd name="connsiteX53" fmla="*/ 222250 w 2143125"/>
                    <a:gd name="connsiteY53" fmla="*/ 984250 h 1406525"/>
                    <a:gd name="connsiteX54" fmla="*/ 187325 w 2143125"/>
                    <a:gd name="connsiteY54" fmla="*/ 962025 h 1406525"/>
                    <a:gd name="connsiteX55" fmla="*/ 152400 w 2143125"/>
                    <a:gd name="connsiteY55" fmla="*/ 936625 h 1406525"/>
                    <a:gd name="connsiteX56" fmla="*/ 104775 w 2143125"/>
                    <a:gd name="connsiteY56" fmla="*/ 885825 h 1406525"/>
                    <a:gd name="connsiteX57" fmla="*/ 57150 w 2143125"/>
                    <a:gd name="connsiteY57" fmla="*/ 822325 h 1406525"/>
                    <a:gd name="connsiteX58" fmla="*/ 0 w 2143125"/>
                    <a:gd name="connsiteY58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111250 w 2143125"/>
                    <a:gd name="connsiteY26" fmla="*/ 600075 h 1406525"/>
                    <a:gd name="connsiteX27" fmla="*/ 1092200 w 2143125"/>
                    <a:gd name="connsiteY27" fmla="*/ 673100 h 1406525"/>
                    <a:gd name="connsiteX28" fmla="*/ 1089025 w 2143125"/>
                    <a:gd name="connsiteY28" fmla="*/ 682625 h 1406525"/>
                    <a:gd name="connsiteX29" fmla="*/ 1076325 w 2143125"/>
                    <a:gd name="connsiteY29" fmla="*/ 720725 h 1406525"/>
                    <a:gd name="connsiteX30" fmla="*/ 1035050 w 2143125"/>
                    <a:gd name="connsiteY30" fmla="*/ 822325 h 1406525"/>
                    <a:gd name="connsiteX31" fmla="*/ 996950 w 2143125"/>
                    <a:gd name="connsiteY31" fmla="*/ 933450 h 1406525"/>
                    <a:gd name="connsiteX32" fmla="*/ 965200 w 2143125"/>
                    <a:gd name="connsiteY32" fmla="*/ 974725 h 1406525"/>
                    <a:gd name="connsiteX33" fmla="*/ 930275 w 2143125"/>
                    <a:gd name="connsiteY33" fmla="*/ 1025525 h 1406525"/>
                    <a:gd name="connsiteX34" fmla="*/ 828675 w 2143125"/>
                    <a:gd name="connsiteY34" fmla="*/ 1031875 h 1406525"/>
                    <a:gd name="connsiteX35" fmla="*/ 742950 w 2143125"/>
                    <a:gd name="connsiteY35" fmla="*/ 968375 h 1406525"/>
                    <a:gd name="connsiteX36" fmla="*/ 692150 w 2143125"/>
                    <a:gd name="connsiteY36" fmla="*/ 895350 h 1406525"/>
                    <a:gd name="connsiteX37" fmla="*/ 647700 w 2143125"/>
                    <a:gd name="connsiteY37" fmla="*/ 844550 h 1406525"/>
                    <a:gd name="connsiteX38" fmla="*/ 596900 w 2143125"/>
                    <a:gd name="connsiteY38" fmla="*/ 790575 h 1406525"/>
                    <a:gd name="connsiteX39" fmla="*/ 523875 w 2143125"/>
                    <a:gd name="connsiteY39" fmla="*/ 711200 h 1406525"/>
                    <a:gd name="connsiteX40" fmla="*/ 473075 w 2143125"/>
                    <a:gd name="connsiteY40" fmla="*/ 695325 h 1406525"/>
                    <a:gd name="connsiteX41" fmla="*/ 434975 w 2143125"/>
                    <a:gd name="connsiteY41" fmla="*/ 717550 h 1406525"/>
                    <a:gd name="connsiteX42" fmla="*/ 431800 w 2143125"/>
                    <a:gd name="connsiteY42" fmla="*/ 755650 h 1406525"/>
                    <a:gd name="connsiteX43" fmla="*/ 425450 w 2143125"/>
                    <a:gd name="connsiteY43" fmla="*/ 793750 h 1406525"/>
                    <a:gd name="connsiteX44" fmla="*/ 425450 w 2143125"/>
                    <a:gd name="connsiteY44" fmla="*/ 831850 h 1406525"/>
                    <a:gd name="connsiteX45" fmla="*/ 425450 w 2143125"/>
                    <a:gd name="connsiteY45" fmla="*/ 876300 h 1406525"/>
                    <a:gd name="connsiteX46" fmla="*/ 422275 w 2143125"/>
                    <a:gd name="connsiteY46" fmla="*/ 904875 h 1406525"/>
                    <a:gd name="connsiteX47" fmla="*/ 412750 w 2143125"/>
                    <a:gd name="connsiteY47" fmla="*/ 968375 h 1406525"/>
                    <a:gd name="connsiteX48" fmla="*/ 396875 w 2143125"/>
                    <a:gd name="connsiteY48" fmla="*/ 1016000 h 1406525"/>
                    <a:gd name="connsiteX49" fmla="*/ 358775 w 2143125"/>
                    <a:gd name="connsiteY49" fmla="*/ 1031875 h 1406525"/>
                    <a:gd name="connsiteX50" fmla="*/ 301625 w 2143125"/>
                    <a:gd name="connsiteY50" fmla="*/ 1022350 h 1406525"/>
                    <a:gd name="connsiteX51" fmla="*/ 273050 w 2143125"/>
                    <a:gd name="connsiteY51" fmla="*/ 1006475 h 1406525"/>
                    <a:gd name="connsiteX52" fmla="*/ 222250 w 2143125"/>
                    <a:gd name="connsiteY52" fmla="*/ 984250 h 1406525"/>
                    <a:gd name="connsiteX53" fmla="*/ 187325 w 2143125"/>
                    <a:gd name="connsiteY53" fmla="*/ 962025 h 1406525"/>
                    <a:gd name="connsiteX54" fmla="*/ 152400 w 2143125"/>
                    <a:gd name="connsiteY54" fmla="*/ 936625 h 1406525"/>
                    <a:gd name="connsiteX55" fmla="*/ 104775 w 2143125"/>
                    <a:gd name="connsiteY55" fmla="*/ 885825 h 1406525"/>
                    <a:gd name="connsiteX56" fmla="*/ 57150 w 2143125"/>
                    <a:gd name="connsiteY56" fmla="*/ 822325 h 1406525"/>
                    <a:gd name="connsiteX57" fmla="*/ 0 w 2143125"/>
                    <a:gd name="connsiteY57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111250 w 2143125"/>
                    <a:gd name="connsiteY26" fmla="*/ 600075 h 1406525"/>
                    <a:gd name="connsiteX27" fmla="*/ 1092200 w 2143125"/>
                    <a:gd name="connsiteY27" fmla="*/ 673100 h 1406525"/>
                    <a:gd name="connsiteX28" fmla="*/ 1040938 w 2143125"/>
                    <a:gd name="connsiteY28" fmla="*/ 666126 h 1406525"/>
                    <a:gd name="connsiteX29" fmla="*/ 1076325 w 2143125"/>
                    <a:gd name="connsiteY29" fmla="*/ 720725 h 1406525"/>
                    <a:gd name="connsiteX30" fmla="*/ 1035050 w 2143125"/>
                    <a:gd name="connsiteY30" fmla="*/ 822325 h 1406525"/>
                    <a:gd name="connsiteX31" fmla="*/ 996950 w 2143125"/>
                    <a:gd name="connsiteY31" fmla="*/ 933450 h 1406525"/>
                    <a:gd name="connsiteX32" fmla="*/ 965200 w 2143125"/>
                    <a:gd name="connsiteY32" fmla="*/ 974725 h 1406525"/>
                    <a:gd name="connsiteX33" fmla="*/ 930275 w 2143125"/>
                    <a:gd name="connsiteY33" fmla="*/ 1025525 h 1406525"/>
                    <a:gd name="connsiteX34" fmla="*/ 828675 w 2143125"/>
                    <a:gd name="connsiteY34" fmla="*/ 1031875 h 1406525"/>
                    <a:gd name="connsiteX35" fmla="*/ 742950 w 2143125"/>
                    <a:gd name="connsiteY35" fmla="*/ 968375 h 1406525"/>
                    <a:gd name="connsiteX36" fmla="*/ 692150 w 2143125"/>
                    <a:gd name="connsiteY36" fmla="*/ 895350 h 1406525"/>
                    <a:gd name="connsiteX37" fmla="*/ 647700 w 2143125"/>
                    <a:gd name="connsiteY37" fmla="*/ 844550 h 1406525"/>
                    <a:gd name="connsiteX38" fmla="*/ 596900 w 2143125"/>
                    <a:gd name="connsiteY38" fmla="*/ 790575 h 1406525"/>
                    <a:gd name="connsiteX39" fmla="*/ 523875 w 2143125"/>
                    <a:gd name="connsiteY39" fmla="*/ 711200 h 1406525"/>
                    <a:gd name="connsiteX40" fmla="*/ 473075 w 2143125"/>
                    <a:gd name="connsiteY40" fmla="*/ 695325 h 1406525"/>
                    <a:gd name="connsiteX41" fmla="*/ 434975 w 2143125"/>
                    <a:gd name="connsiteY41" fmla="*/ 717550 h 1406525"/>
                    <a:gd name="connsiteX42" fmla="*/ 431800 w 2143125"/>
                    <a:gd name="connsiteY42" fmla="*/ 755650 h 1406525"/>
                    <a:gd name="connsiteX43" fmla="*/ 425450 w 2143125"/>
                    <a:gd name="connsiteY43" fmla="*/ 793750 h 1406525"/>
                    <a:gd name="connsiteX44" fmla="*/ 425450 w 2143125"/>
                    <a:gd name="connsiteY44" fmla="*/ 831850 h 1406525"/>
                    <a:gd name="connsiteX45" fmla="*/ 425450 w 2143125"/>
                    <a:gd name="connsiteY45" fmla="*/ 876300 h 1406525"/>
                    <a:gd name="connsiteX46" fmla="*/ 422275 w 2143125"/>
                    <a:gd name="connsiteY46" fmla="*/ 904875 h 1406525"/>
                    <a:gd name="connsiteX47" fmla="*/ 412750 w 2143125"/>
                    <a:gd name="connsiteY47" fmla="*/ 968375 h 1406525"/>
                    <a:gd name="connsiteX48" fmla="*/ 396875 w 2143125"/>
                    <a:gd name="connsiteY48" fmla="*/ 1016000 h 1406525"/>
                    <a:gd name="connsiteX49" fmla="*/ 358775 w 2143125"/>
                    <a:gd name="connsiteY49" fmla="*/ 1031875 h 1406525"/>
                    <a:gd name="connsiteX50" fmla="*/ 301625 w 2143125"/>
                    <a:gd name="connsiteY50" fmla="*/ 1022350 h 1406525"/>
                    <a:gd name="connsiteX51" fmla="*/ 273050 w 2143125"/>
                    <a:gd name="connsiteY51" fmla="*/ 1006475 h 1406525"/>
                    <a:gd name="connsiteX52" fmla="*/ 222250 w 2143125"/>
                    <a:gd name="connsiteY52" fmla="*/ 984250 h 1406525"/>
                    <a:gd name="connsiteX53" fmla="*/ 187325 w 2143125"/>
                    <a:gd name="connsiteY53" fmla="*/ 962025 h 1406525"/>
                    <a:gd name="connsiteX54" fmla="*/ 152400 w 2143125"/>
                    <a:gd name="connsiteY54" fmla="*/ 936625 h 1406525"/>
                    <a:gd name="connsiteX55" fmla="*/ 104775 w 2143125"/>
                    <a:gd name="connsiteY55" fmla="*/ 885825 h 1406525"/>
                    <a:gd name="connsiteX56" fmla="*/ 57150 w 2143125"/>
                    <a:gd name="connsiteY56" fmla="*/ 822325 h 1406525"/>
                    <a:gd name="connsiteX57" fmla="*/ 0 w 2143125"/>
                    <a:gd name="connsiteY57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92200 w 2143125"/>
                    <a:gd name="connsiteY27" fmla="*/ 673100 h 1406525"/>
                    <a:gd name="connsiteX28" fmla="*/ 1040938 w 2143125"/>
                    <a:gd name="connsiteY28" fmla="*/ 666126 h 1406525"/>
                    <a:gd name="connsiteX29" fmla="*/ 1076325 w 2143125"/>
                    <a:gd name="connsiteY29" fmla="*/ 720725 h 1406525"/>
                    <a:gd name="connsiteX30" fmla="*/ 1035050 w 2143125"/>
                    <a:gd name="connsiteY30" fmla="*/ 822325 h 1406525"/>
                    <a:gd name="connsiteX31" fmla="*/ 996950 w 2143125"/>
                    <a:gd name="connsiteY31" fmla="*/ 933450 h 1406525"/>
                    <a:gd name="connsiteX32" fmla="*/ 965200 w 2143125"/>
                    <a:gd name="connsiteY32" fmla="*/ 974725 h 1406525"/>
                    <a:gd name="connsiteX33" fmla="*/ 930275 w 2143125"/>
                    <a:gd name="connsiteY33" fmla="*/ 1025525 h 1406525"/>
                    <a:gd name="connsiteX34" fmla="*/ 828675 w 2143125"/>
                    <a:gd name="connsiteY34" fmla="*/ 1031875 h 1406525"/>
                    <a:gd name="connsiteX35" fmla="*/ 742950 w 2143125"/>
                    <a:gd name="connsiteY35" fmla="*/ 968375 h 1406525"/>
                    <a:gd name="connsiteX36" fmla="*/ 692150 w 2143125"/>
                    <a:gd name="connsiteY36" fmla="*/ 895350 h 1406525"/>
                    <a:gd name="connsiteX37" fmla="*/ 647700 w 2143125"/>
                    <a:gd name="connsiteY37" fmla="*/ 844550 h 1406525"/>
                    <a:gd name="connsiteX38" fmla="*/ 596900 w 2143125"/>
                    <a:gd name="connsiteY38" fmla="*/ 790575 h 1406525"/>
                    <a:gd name="connsiteX39" fmla="*/ 523875 w 2143125"/>
                    <a:gd name="connsiteY39" fmla="*/ 711200 h 1406525"/>
                    <a:gd name="connsiteX40" fmla="*/ 473075 w 2143125"/>
                    <a:gd name="connsiteY40" fmla="*/ 695325 h 1406525"/>
                    <a:gd name="connsiteX41" fmla="*/ 434975 w 2143125"/>
                    <a:gd name="connsiteY41" fmla="*/ 717550 h 1406525"/>
                    <a:gd name="connsiteX42" fmla="*/ 431800 w 2143125"/>
                    <a:gd name="connsiteY42" fmla="*/ 755650 h 1406525"/>
                    <a:gd name="connsiteX43" fmla="*/ 425450 w 2143125"/>
                    <a:gd name="connsiteY43" fmla="*/ 793750 h 1406525"/>
                    <a:gd name="connsiteX44" fmla="*/ 425450 w 2143125"/>
                    <a:gd name="connsiteY44" fmla="*/ 831850 h 1406525"/>
                    <a:gd name="connsiteX45" fmla="*/ 425450 w 2143125"/>
                    <a:gd name="connsiteY45" fmla="*/ 876300 h 1406525"/>
                    <a:gd name="connsiteX46" fmla="*/ 422275 w 2143125"/>
                    <a:gd name="connsiteY46" fmla="*/ 904875 h 1406525"/>
                    <a:gd name="connsiteX47" fmla="*/ 412750 w 2143125"/>
                    <a:gd name="connsiteY47" fmla="*/ 968375 h 1406525"/>
                    <a:gd name="connsiteX48" fmla="*/ 396875 w 2143125"/>
                    <a:gd name="connsiteY48" fmla="*/ 1016000 h 1406525"/>
                    <a:gd name="connsiteX49" fmla="*/ 358775 w 2143125"/>
                    <a:gd name="connsiteY49" fmla="*/ 1031875 h 1406525"/>
                    <a:gd name="connsiteX50" fmla="*/ 301625 w 2143125"/>
                    <a:gd name="connsiteY50" fmla="*/ 1022350 h 1406525"/>
                    <a:gd name="connsiteX51" fmla="*/ 273050 w 2143125"/>
                    <a:gd name="connsiteY51" fmla="*/ 1006475 h 1406525"/>
                    <a:gd name="connsiteX52" fmla="*/ 222250 w 2143125"/>
                    <a:gd name="connsiteY52" fmla="*/ 984250 h 1406525"/>
                    <a:gd name="connsiteX53" fmla="*/ 187325 w 2143125"/>
                    <a:gd name="connsiteY53" fmla="*/ 962025 h 1406525"/>
                    <a:gd name="connsiteX54" fmla="*/ 152400 w 2143125"/>
                    <a:gd name="connsiteY54" fmla="*/ 936625 h 1406525"/>
                    <a:gd name="connsiteX55" fmla="*/ 104775 w 2143125"/>
                    <a:gd name="connsiteY55" fmla="*/ 885825 h 1406525"/>
                    <a:gd name="connsiteX56" fmla="*/ 57150 w 2143125"/>
                    <a:gd name="connsiteY56" fmla="*/ 822325 h 1406525"/>
                    <a:gd name="connsiteX57" fmla="*/ 0 w 2143125"/>
                    <a:gd name="connsiteY57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1076325 w 2143125"/>
                    <a:gd name="connsiteY28" fmla="*/ 720725 h 1406525"/>
                    <a:gd name="connsiteX29" fmla="*/ 1035050 w 2143125"/>
                    <a:gd name="connsiteY29" fmla="*/ 822325 h 1406525"/>
                    <a:gd name="connsiteX30" fmla="*/ 996950 w 2143125"/>
                    <a:gd name="connsiteY30" fmla="*/ 933450 h 1406525"/>
                    <a:gd name="connsiteX31" fmla="*/ 965200 w 2143125"/>
                    <a:gd name="connsiteY31" fmla="*/ 974725 h 1406525"/>
                    <a:gd name="connsiteX32" fmla="*/ 930275 w 2143125"/>
                    <a:gd name="connsiteY32" fmla="*/ 1025525 h 1406525"/>
                    <a:gd name="connsiteX33" fmla="*/ 828675 w 2143125"/>
                    <a:gd name="connsiteY33" fmla="*/ 1031875 h 1406525"/>
                    <a:gd name="connsiteX34" fmla="*/ 742950 w 2143125"/>
                    <a:gd name="connsiteY34" fmla="*/ 968375 h 1406525"/>
                    <a:gd name="connsiteX35" fmla="*/ 692150 w 2143125"/>
                    <a:gd name="connsiteY35" fmla="*/ 895350 h 1406525"/>
                    <a:gd name="connsiteX36" fmla="*/ 647700 w 2143125"/>
                    <a:gd name="connsiteY36" fmla="*/ 844550 h 1406525"/>
                    <a:gd name="connsiteX37" fmla="*/ 596900 w 2143125"/>
                    <a:gd name="connsiteY37" fmla="*/ 790575 h 1406525"/>
                    <a:gd name="connsiteX38" fmla="*/ 523875 w 2143125"/>
                    <a:gd name="connsiteY38" fmla="*/ 711200 h 1406525"/>
                    <a:gd name="connsiteX39" fmla="*/ 473075 w 2143125"/>
                    <a:gd name="connsiteY39" fmla="*/ 695325 h 1406525"/>
                    <a:gd name="connsiteX40" fmla="*/ 434975 w 2143125"/>
                    <a:gd name="connsiteY40" fmla="*/ 717550 h 1406525"/>
                    <a:gd name="connsiteX41" fmla="*/ 431800 w 2143125"/>
                    <a:gd name="connsiteY41" fmla="*/ 755650 h 1406525"/>
                    <a:gd name="connsiteX42" fmla="*/ 425450 w 2143125"/>
                    <a:gd name="connsiteY42" fmla="*/ 793750 h 1406525"/>
                    <a:gd name="connsiteX43" fmla="*/ 425450 w 2143125"/>
                    <a:gd name="connsiteY43" fmla="*/ 831850 h 1406525"/>
                    <a:gd name="connsiteX44" fmla="*/ 425450 w 2143125"/>
                    <a:gd name="connsiteY44" fmla="*/ 876300 h 1406525"/>
                    <a:gd name="connsiteX45" fmla="*/ 422275 w 2143125"/>
                    <a:gd name="connsiteY45" fmla="*/ 904875 h 1406525"/>
                    <a:gd name="connsiteX46" fmla="*/ 412750 w 2143125"/>
                    <a:gd name="connsiteY46" fmla="*/ 968375 h 1406525"/>
                    <a:gd name="connsiteX47" fmla="*/ 396875 w 2143125"/>
                    <a:gd name="connsiteY47" fmla="*/ 1016000 h 1406525"/>
                    <a:gd name="connsiteX48" fmla="*/ 358775 w 2143125"/>
                    <a:gd name="connsiteY48" fmla="*/ 1031875 h 1406525"/>
                    <a:gd name="connsiteX49" fmla="*/ 301625 w 2143125"/>
                    <a:gd name="connsiteY49" fmla="*/ 1022350 h 1406525"/>
                    <a:gd name="connsiteX50" fmla="*/ 273050 w 2143125"/>
                    <a:gd name="connsiteY50" fmla="*/ 1006475 h 1406525"/>
                    <a:gd name="connsiteX51" fmla="*/ 222250 w 2143125"/>
                    <a:gd name="connsiteY51" fmla="*/ 984250 h 1406525"/>
                    <a:gd name="connsiteX52" fmla="*/ 187325 w 2143125"/>
                    <a:gd name="connsiteY52" fmla="*/ 962025 h 1406525"/>
                    <a:gd name="connsiteX53" fmla="*/ 152400 w 2143125"/>
                    <a:gd name="connsiteY53" fmla="*/ 936625 h 1406525"/>
                    <a:gd name="connsiteX54" fmla="*/ 104775 w 2143125"/>
                    <a:gd name="connsiteY54" fmla="*/ 885825 h 1406525"/>
                    <a:gd name="connsiteX55" fmla="*/ 57150 w 2143125"/>
                    <a:gd name="connsiteY55" fmla="*/ 822325 h 1406525"/>
                    <a:gd name="connsiteX56" fmla="*/ 0 w 2143125"/>
                    <a:gd name="connsiteY56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1035050 w 2143125"/>
                    <a:gd name="connsiteY28" fmla="*/ 822325 h 1406525"/>
                    <a:gd name="connsiteX29" fmla="*/ 996950 w 2143125"/>
                    <a:gd name="connsiteY29" fmla="*/ 933450 h 1406525"/>
                    <a:gd name="connsiteX30" fmla="*/ 965200 w 2143125"/>
                    <a:gd name="connsiteY30" fmla="*/ 974725 h 1406525"/>
                    <a:gd name="connsiteX31" fmla="*/ 930275 w 2143125"/>
                    <a:gd name="connsiteY31" fmla="*/ 1025525 h 1406525"/>
                    <a:gd name="connsiteX32" fmla="*/ 828675 w 2143125"/>
                    <a:gd name="connsiteY32" fmla="*/ 1031875 h 1406525"/>
                    <a:gd name="connsiteX33" fmla="*/ 742950 w 2143125"/>
                    <a:gd name="connsiteY33" fmla="*/ 968375 h 1406525"/>
                    <a:gd name="connsiteX34" fmla="*/ 692150 w 2143125"/>
                    <a:gd name="connsiteY34" fmla="*/ 895350 h 1406525"/>
                    <a:gd name="connsiteX35" fmla="*/ 647700 w 2143125"/>
                    <a:gd name="connsiteY35" fmla="*/ 844550 h 1406525"/>
                    <a:gd name="connsiteX36" fmla="*/ 596900 w 2143125"/>
                    <a:gd name="connsiteY36" fmla="*/ 790575 h 1406525"/>
                    <a:gd name="connsiteX37" fmla="*/ 523875 w 2143125"/>
                    <a:gd name="connsiteY37" fmla="*/ 711200 h 1406525"/>
                    <a:gd name="connsiteX38" fmla="*/ 473075 w 2143125"/>
                    <a:gd name="connsiteY38" fmla="*/ 695325 h 1406525"/>
                    <a:gd name="connsiteX39" fmla="*/ 434975 w 2143125"/>
                    <a:gd name="connsiteY39" fmla="*/ 717550 h 1406525"/>
                    <a:gd name="connsiteX40" fmla="*/ 431800 w 2143125"/>
                    <a:gd name="connsiteY40" fmla="*/ 755650 h 1406525"/>
                    <a:gd name="connsiteX41" fmla="*/ 425450 w 2143125"/>
                    <a:gd name="connsiteY41" fmla="*/ 793750 h 1406525"/>
                    <a:gd name="connsiteX42" fmla="*/ 425450 w 2143125"/>
                    <a:gd name="connsiteY42" fmla="*/ 831850 h 1406525"/>
                    <a:gd name="connsiteX43" fmla="*/ 425450 w 2143125"/>
                    <a:gd name="connsiteY43" fmla="*/ 876300 h 1406525"/>
                    <a:gd name="connsiteX44" fmla="*/ 422275 w 2143125"/>
                    <a:gd name="connsiteY44" fmla="*/ 904875 h 1406525"/>
                    <a:gd name="connsiteX45" fmla="*/ 412750 w 2143125"/>
                    <a:gd name="connsiteY45" fmla="*/ 968375 h 1406525"/>
                    <a:gd name="connsiteX46" fmla="*/ 396875 w 2143125"/>
                    <a:gd name="connsiteY46" fmla="*/ 1016000 h 1406525"/>
                    <a:gd name="connsiteX47" fmla="*/ 358775 w 2143125"/>
                    <a:gd name="connsiteY47" fmla="*/ 1031875 h 1406525"/>
                    <a:gd name="connsiteX48" fmla="*/ 301625 w 2143125"/>
                    <a:gd name="connsiteY48" fmla="*/ 1022350 h 1406525"/>
                    <a:gd name="connsiteX49" fmla="*/ 273050 w 2143125"/>
                    <a:gd name="connsiteY49" fmla="*/ 1006475 h 1406525"/>
                    <a:gd name="connsiteX50" fmla="*/ 222250 w 2143125"/>
                    <a:gd name="connsiteY50" fmla="*/ 984250 h 1406525"/>
                    <a:gd name="connsiteX51" fmla="*/ 187325 w 2143125"/>
                    <a:gd name="connsiteY51" fmla="*/ 962025 h 1406525"/>
                    <a:gd name="connsiteX52" fmla="*/ 152400 w 2143125"/>
                    <a:gd name="connsiteY52" fmla="*/ 936625 h 1406525"/>
                    <a:gd name="connsiteX53" fmla="*/ 104775 w 2143125"/>
                    <a:gd name="connsiteY53" fmla="*/ 885825 h 1406525"/>
                    <a:gd name="connsiteX54" fmla="*/ 57150 w 2143125"/>
                    <a:gd name="connsiteY54" fmla="*/ 822325 h 1406525"/>
                    <a:gd name="connsiteX55" fmla="*/ 0 w 2143125"/>
                    <a:gd name="connsiteY5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96950 w 2143125"/>
                    <a:gd name="connsiteY29" fmla="*/ 933450 h 1406525"/>
                    <a:gd name="connsiteX30" fmla="*/ 965200 w 2143125"/>
                    <a:gd name="connsiteY30" fmla="*/ 974725 h 1406525"/>
                    <a:gd name="connsiteX31" fmla="*/ 930275 w 2143125"/>
                    <a:gd name="connsiteY31" fmla="*/ 1025525 h 1406525"/>
                    <a:gd name="connsiteX32" fmla="*/ 828675 w 2143125"/>
                    <a:gd name="connsiteY32" fmla="*/ 1031875 h 1406525"/>
                    <a:gd name="connsiteX33" fmla="*/ 742950 w 2143125"/>
                    <a:gd name="connsiteY33" fmla="*/ 968375 h 1406525"/>
                    <a:gd name="connsiteX34" fmla="*/ 692150 w 2143125"/>
                    <a:gd name="connsiteY34" fmla="*/ 895350 h 1406525"/>
                    <a:gd name="connsiteX35" fmla="*/ 647700 w 2143125"/>
                    <a:gd name="connsiteY35" fmla="*/ 844550 h 1406525"/>
                    <a:gd name="connsiteX36" fmla="*/ 596900 w 2143125"/>
                    <a:gd name="connsiteY36" fmla="*/ 790575 h 1406525"/>
                    <a:gd name="connsiteX37" fmla="*/ 523875 w 2143125"/>
                    <a:gd name="connsiteY37" fmla="*/ 711200 h 1406525"/>
                    <a:gd name="connsiteX38" fmla="*/ 473075 w 2143125"/>
                    <a:gd name="connsiteY38" fmla="*/ 695325 h 1406525"/>
                    <a:gd name="connsiteX39" fmla="*/ 434975 w 2143125"/>
                    <a:gd name="connsiteY39" fmla="*/ 717550 h 1406525"/>
                    <a:gd name="connsiteX40" fmla="*/ 431800 w 2143125"/>
                    <a:gd name="connsiteY40" fmla="*/ 755650 h 1406525"/>
                    <a:gd name="connsiteX41" fmla="*/ 425450 w 2143125"/>
                    <a:gd name="connsiteY41" fmla="*/ 793750 h 1406525"/>
                    <a:gd name="connsiteX42" fmla="*/ 425450 w 2143125"/>
                    <a:gd name="connsiteY42" fmla="*/ 831850 h 1406525"/>
                    <a:gd name="connsiteX43" fmla="*/ 425450 w 2143125"/>
                    <a:gd name="connsiteY43" fmla="*/ 876300 h 1406525"/>
                    <a:gd name="connsiteX44" fmla="*/ 422275 w 2143125"/>
                    <a:gd name="connsiteY44" fmla="*/ 904875 h 1406525"/>
                    <a:gd name="connsiteX45" fmla="*/ 412750 w 2143125"/>
                    <a:gd name="connsiteY45" fmla="*/ 968375 h 1406525"/>
                    <a:gd name="connsiteX46" fmla="*/ 396875 w 2143125"/>
                    <a:gd name="connsiteY46" fmla="*/ 1016000 h 1406525"/>
                    <a:gd name="connsiteX47" fmla="*/ 358775 w 2143125"/>
                    <a:gd name="connsiteY47" fmla="*/ 1031875 h 1406525"/>
                    <a:gd name="connsiteX48" fmla="*/ 301625 w 2143125"/>
                    <a:gd name="connsiteY48" fmla="*/ 1022350 h 1406525"/>
                    <a:gd name="connsiteX49" fmla="*/ 273050 w 2143125"/>
                    <a:gd name="connsiteY49" fmla="*/ 1006475 h 1406525"/>
                    <a:gd name="connsiteX50" fmla="*/ 222250 w 2143125"/>
                    <a:gd name="connsiteY50" fmla="*/ 984250 h 1406525"/>
                    <a:gd name="connsiteX51" fmla="*/ 187325 w 2143125"/>
                    <a:gd name="connsiteY51" fmla="*/ 962025 h 1406525"/>
                    <a:gd name="connsiteX52" fmla="*/ 152400 w 2143125"/>
                    <a:gd name="connsiteY52" fmla="*/ 936625 h 1406525"/>
                    <a:gd name="connsiteX53" fmla="*/ 104775 w 2143125"/>
                    <a:gd name="connsiteY53" fmla="*/ 885825 h 1406525"/>
                    <a:gd name="connsiteX54" fmla="*/ 57150 w 2143125"/>
                    <a:gd name="connsiteY54" fmla="*/ 822325 h 1406525"/>
                    <a:gd name="connsiteX55" fmla="*/ 0 w 2143125"/>
                    <a:gd name="connsiteY5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965200 w 2143125"/>
                    <a:gd name="connsiteY30" fmla="*/ 974725 h 1406525"/>
                    <a:gd name="connsiteX31" fmla="*/ 930275 w 2143125"/>
                    <a:gd name="connsiteY31" fmla="*/ 1025525 h 1406525"/>
                    <a:gd name="connsiteX32" fmla="*/ 828675 w 2143125"/>
                    <a:gd name="connsiteY32" fmla="*/ 1031875 h 1406525"/>
                    <a:gd name="connsiteX33" fmla="*/ 742950 w 2143125"/>
                    <a:gd name="connsiteY33" fmla="*/ 968375 h 1406525"/>
                    <a:gd name="connsiteX34" fmla="*/ 692150 w 2143125"/>
                    <a:gd name="connsiteY34" fmla="*/ 895350 h 1406525"/>
                    <a:gd name="connsiteX35" fmla="*/ 647700 w 2143125"/>
                    <a:gd name="connsiteY35" fmla="*/ 844550 h 1406525"/>
                    <a:gd name="connsiteX36" fmla="*/ 596900 w 2143125"/>
                    <a:gd name="connsiteY36" fmla="*/ 790575 h 1406525"/>
                    <a:gd name="connsiteX37" fmla="*/ 523875 w 2143125"/>
                    <a:gd name="connsiteY37" fmla="*/ 711200 h 1406525"/>
                    <a:gd name="connsiteX38" fmla="*/ 473075 w 2143125"/>
                    <a:gd name="connsiteY38" fmla="*/ 695325 h 1406525"/>
                    <a:gd name="connsiteX39" fmla="*/ 434975 w 2143125"/>
                    <a:gd name="connsiteY39" fmla="*/ 717550 h 1406525"/>
                    <a:gd name="connsiteX40" fmla="*/ 431800 w 2143125"/>
                    <a:gd name="connsiteY40" fmla="*/ 755650 h 1406525"/>
                    <a:gd name="connsiteX41" fmla="*/ 425450 w 2143125"/>
                    <a:gd name="connsiteY41" fmla="*/ 793750 h 1406525"/>
                    <a:gd name="connsiteX42" fmla="*/ 425450 w 2143125"/>
                    <a:gd name="connsiteY42" fmla="*/ 831850 h 1406525"/>
                    <a:gd name="connsiteX43" fmla="*/ 425450 w 2143125"/>
                    <a:gd name="connsiteY43" fmla="*/ 876300 h 1406525"/>
                    <a:gd name="connsiteX44" fmla="*/ 422275 w 2143125"/>
                    <a:gd name="connsiteY44" fmla="*/ 904875 h 1406525"/>
                    <a:gd name="connsiteX45" fmla="*/ 412750 w 2143125"/>
                    <a:gd name="connsiteY45" fmla="*/ 968375 h 1406525"/>
                    <a:gd name="connsiteX46" fmla="*/ 396875 w 2143125"/>
                    <a:gd name="connsiteY46" fmla="*/ 1016000 h 1406525"/>
                    <a:gd name="connsiteX47" fmla="*/ 358775 w 2143125"/>
                    <a:gd name="connsiteY47" fmla="*/ 1031875 h 1406525"/>
                    <a:gd name="connsiteX48" fmla="*/ 301625 w 2143125"/>
                    <a:gd name="connsiteY48" fmla="*/ 1022350 h 1406525"/>
                    <a:gd name="connsiteX49" fmla="*/ 273050 w 2143125"/>
                    <a:gd name="connsiteY49" fmla="*/ 1006475 h 1406525"/>
                    <a:gd name="connsiteX50" fmla="*/ 222250 w 2143125"/>
                    <a:gd name="connsiteY50" fmla="*/ 984250 h 1406525"/>
                    <a:gd name="connsiteX51" fmla="*/ 187325 w 2143125"/>
                    <a:gd name="connsiteY51" fmla="*/ 962025 h 1406525"/>
                    <a:gd name="connsiteX52" fmla="*/ 152400 w 2143125"/>
                    <a:gd name="connsiteY52" fmla="*/ 936625 h 1406525"/>
                    <a:gd name="connsiteX53" fmla="*/ 104775 w 2143125"/>
                    <a:gd name="connsiteY53" fmla="*/ 885825 h 1406525"/>
                    <a:gd name="connsiteX54" fmla="*/ 57150 w 2143125"/>
                    <a:gd name="connsiteY54" fmla="*/ 822325 h 1406525"/>
                    <a:gd name="connsiteX55" fmla="*/ 0 w 2143125"/>
                    <a:gd name="connsiteY5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930275 w 2143125"/>
                    <a:gd name="connsiteY31" fmla="*/ 1025525 h 1406525"/>
                    <a:gd name="connsiteX32" fmla="*/ 828675 w 2143125"/>
                    <a:gd name="connsiteY32" fmla="*/ 1031875 h 1406525"/>
                    <a:gd name="connsiteX33" fmla="*/ 742950 w 2143125"/>
                    <a:gd name="connsiteY33" fmla="*/ 968375 h 1406525"/>
                    <a:gd name="connsiteX34" fmla="*/ 692150 w 2143125"/>
                    <a:gd name="connsiteY34" fmla="*/ 895350 h 1406525"/>
                    <a:gd name="connsiteX35" fmla="*/ 647700 w 2143125"/>
                    <a:gd name="connsiteY35" fmla="*/ 844550 h 1406525"/>
                    <a:gd name="connsiteX36" fmla="*/ 596900 w 2143125"/>
                    <a:gd name="connsiteY36" fmla="*/ 790575 h 1406525"/>
                    <a:gd name="connsiteX37" fmla="*/ 523875 w 2143125"/>
                    <a:gd name="connsiteY37" fmla="*/ 711200 h 1406525"/>
                    <a:gd name="connsiteX38" fmla="*/ 473075 w 2143125"/>
                    <a:gd name="connsiteY38" fmla="*/ 695325 h 1406525"/>
                    <a:gd name="connsiteX39" fmla="*/ 434975 w 2143125"/>
                    <a:gd name="connsiteY39" fmla="*/ 717550 h 1406525"/>
                    <a:gd name="connsiteX40" fmla="*/ 431800 w 2143125"/>
                    <a:gd name="connsiteY40" fmla="*/ 755650 h 1406525"/>
                    <a:gd name="connsiteX41" fmla="*/ 425450 w 2143125"/>
                    <a:gd name="connsiteY41" fmla="*/ 793750 h 1406525"/>
                    <a:gd name="connsiteX42" fmla="*/ 425450 w 2143125"/>
                    <a:gd name="connsiteY42" fmla="*/ 831850 h 1406525"/>
                    <a:gd name="connsiteX43" fmla="*/ 425450 w 2143125"/>
                    <a:gd name="connsiteY43" fmla="*/ 876300 h 1406525"/>
                    <a:gd name="connsiteX44" fmla="*/ 422275 w 2143125"/>
                    <a:gd name="connsiteY44" fmla="*/ 904875 h 1406525"/>
                    <a:gd name="connsiteX45" fmla="*/ 412750 w 2143125"/>
                    <a:gd name="connsiteY45" fmla="*/ 968375 h 1406525"/>
                    <a:gd name="connsiteX46" fmla="*/ 396875 w 2143125"/>
                    <a:gd name="connsiteY46" fmla="*/ 1016000 h 1406525"/>
                    <a:gd name="connsiteX47" fmla="*/ 358775 w 2143125"/>
                    <a:gd name="connsiteY47" fmla="*/ 1031875 h 1406525"/>
                    <a:gd name="connsiteX48" fmla="*/ 301625 w 2143125"/>
                    <a:gd name="connsiteY48" fmla="*/ 1022350 h 1406525"/>
                    <a:gd name="connsiteX49" fmla="*/ 273050 w 2143125"/>
                    <a:gd name="connsiteY49" fmla="*/ 1006475 h 1406525"/>
                    <a:gd name="connsiteX50" fmla="*/ 222250 w 2143125"/>
                    <a:gd name="connsiteY50" fmla="*/ 984250 h 1406525"/>
                    <a:gd name="connsiteX51" fmla="*/ 187325 w 2143125"/>
                    <a:gd name="connsiteY51" fmla="*/ 962025 h 1406525"/>
                    <a:gd name="connsiteX52" fmla="*/ 152400 w 2143125"/>
                    <a:gd name="connsiteY52" fmla="*/ 936625 h 1406525"/>
                    <a:gd name="connsiteX53" fmla="*/ 104775 w 2143125"/>
                    <a:gd name="connsiteY53" fmla="*/ 885825 h 1406525"/>
                    <a:gd name="connsiteX54" fmla="*/ 57150 w 2143125"/>
                    <a:gd name="connsiteY54" fmla="*/ 822325 h 1406525"/>
                    <a:gd name="connsiteX55" fmla="*/ 0 w 2143125"/>
                    <a:gd name="connsiteY55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28675 w 2143125"/>
                    <a:gd name="connsiteY31" fmla="*/ 1031875 h 1406525"/>
                    <a:gd name="connsiteX32" fmla="*/ 742950 w 2143125"/>
                    <a:gd name="connsiteY32" fmla="*/ 968375 h 1406525"/>
                    <a:gd name="connsiteX33" fmla="*/ 692150 w 2143125"/>
                    <a:gd name="connsiteY33" fmla="*/ 895350 h 1406525"/>
                    <a:gd name="connsiteX34" fmla="*/ 647700 w 2143125"/>
                    <a:gd name="connsiteY34" fmla="*/ 844550 h 1406525"/>
                    <a:gd name="connsiteX35" fmla="*/ 596900 w 2143125"/>
                    <a:gd name="connsiteY35" fmla="*/ 790575 h 1406525"/>
                    <a:gd name="connsiteX36" fmla="*/ 523875 w 2143125"/>
                    <a:gd name="connsiteY36" fmla="*/ 711200 h 1406525"/>
                    <a:gd name="connsiteX37" fmla="*/ 473075 w 2143125"/>
                    <a:gd name="connsiteY37" fmla="*/ 695325 h 1406525"/>
                    <a:gd name="connsiteX38" fmla="*/ 434975 w 2143125"/>
                    <a:gd name="connsiteY38" fmla="*/ 717550 h 1406525"/>
                    <a:gd name="connsiteX39" fmla="*/ 431800 w 2143125"/>
                    <a:gd name="connsiteY39" fmla="*/ 755650 h 1406525"/>
                    <a:gd name="connsiteX40" fmla="*/ 425450 w 2143125"/>
                    <a:gd name="connsiteY40" fmla="*/ 793750 h 1406525"/>
                    <a:gd name="connsiteX41" fmla="*/ 425450 w 2143125"/>
                    <a:gd name="connsiteY41" fmla="*/ 831850 h 1406525"/>
                    <a:gd name="connsiteX42" fmla="*/ 425450 w 2143125"/>
                    <a:gd name="connsiteY42" fmla="*/ 876300 h 1406525"/>
                    <a:gd name="connsiteX43" fmla="*/ 422275 w 2143125"/>
                    <a:gd name="connsiteY43" fmla="*/ 904875 h 1406525"/>
                    <a:gd name="connsiteX44" fmla="*/ 412750 w 2143125"/>
                    <a:gd name="connsiteY44" fmla="*/ 968375 h 1406525"/>
                    <a:gd name="connsiteX45" fmla="*/ 396875 w 2143125"/>
                    <a:gd name="connsiteY45" fmla="*/ 1016000 h 1406525"/>
                    <a:gd name="connsiteX46" fmla="*/ 358775 w 2143125"/>
                    <a:gd name="connsiteY46" fmla="*/ 1031875 h 1406525"/>
                    <a:gd name="connsiteX47" fmla="*/ 301625 w 2143125"/>
                    <a:gd name="connsiteY47" fmla="*/ 1022350 h 1406525"/>
                    <a:gd name="connsiteX48" fmla="*/ 273050 w 2143125"/>
                    <a:gd name="connsiteY48" fmla="*/ 1006475 h 1406525"/>
                    <a:gd name="connsiteX49" fmla="*/ 222250 w 2143125"/>
                    <a:gd name="connsiteY49" fmla="*/ 984250 h 1406525"/>
                    <a:gd name="connsiteX50" fmla="*/ 187325 w 2143125"/>
                    <a:gd name="connsiteY50" fmla="*/ 962025 h 1406525"/>
                    <a:gd name="connsiteX51" fmla="*/ 152400 w 2143125"/>
                    <a:gd name="connsiteY51" fmla="*/ 936625 h 1406525"/>
                    <a:gd name="connsiteX52" fmla="*/ 104775 w 2143125"/>
                    <a:gd name="connsiteY52" fmla="*/ 885825 h 1406525"/>
                    <a:gd name="connsiteX53" fmla="*/ 57150 w 2143125"/>
                    <a:gd name="connsiteY53" fmla="*/ 822325 h 1406525"/>
                    <a:gd name="connsiteX54" fmla="*/ 0 w 2143125"/>
                    <a:gd name="connsiteY54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42950 w 2143125"/>
                    <a:gd name="connsiteY32" fmla="*/ 968375 h 1406525"/>
                    <a:gd name="connsiteX33" fmla="*/ 692150 w 2143125"/>
                    <a:gd name="connsiteY33" fmla="*/ 895350 h 1406525"/>
                    <a:gd name="connsiteX34" fmla="*/ 647700 w 2143125"/>
                    <a:gd name="connsiteY34" fmla="*/ 844550 h 1406525"/>
                    <a:gd name="connsiteX35" fmla="*/ 596900 w 2143125"/>
                    <a:gd name="connsiteY35" fmla="*/ 790575 h 1406525"/>
                    <a:gd name="connsiteX36" fmla="*/ 523875 w 2143125"/>
                    <a:gd name="connsiteY36" fmla="*/ 711200 h 1406525"/>
                    <a:gd name="connsiteX37" fmla="*/ 473075 w 2143125"/>
                    <a:gd name="connsiteY37" fmla="*/ 695325 h 1406525"/>
                    <a:gd name="connsiteX38" fmla="*/ 434975 w 2143125"/>
                    <a:gd name="connsiteY38" fmla="*/ 717550 h 1406525"/>
                    <a:gd name="connsiteX39" fmla="*/ 431800 w 2143125"/>
                    <a:gd name="connsiteY39" fmla="*/ 755650 h 1406525"/>
                    <a:gd name="connsiteX40" fmla="*/ 425450 w 2143125"/>
                    <a:gd name="connsiteY40" fmla="*/ 793750 h 1406525"/>
                    <a:gd name="connsiteX41" fmla="*/ 425450 w 2143125"/>
                    <a:gd name="connsiteY41" fmla="*/ 831850 h 1406525"/>
                    <a:gd name="connsiteX42" fmla="*/ 425450 w 2143125"/>
                    <a:gd name="connsiteY42" fmla="*/ 876300 h 1406525"/>
                    <a:gd name="connsiteX43" fmla="*/ 422275 w 2143125"/>
                    <a:gd name="connsiteY43" fmla="*/ 904875 h 1406525"/>
                    <a:gd name="connsiteX44" fmla="*/ 412750 w 2143125"/>
                    <a:gd name="connsiteY44" fmla="*/ 968375 h 1406525"/>
                    <a:gd name="connsiteX45" fmla="*/ 396875 w 2143125"/>
                    <a:gd name="connsiteY45" fmla="*/ 1016000 h 1406525"/>
                    <a:gd name="connsiteX46" fmla="*/ 358775 w 2143125"/>
                    <a:gd name="connsiteY46" fmla="*/ 1031875 h 1406525"/>
                    <a:gd name="connsiteX47" fmla="*/ 301625 w 2143125"/>
                    <a:gd name="connsiteY47" fmla="*/ 1022350 h 1406525"/>
                    <a:gd name="connsiteX48" fmla="*/ 273050 w 2143125"/>
                    <a:gd name="connsiteY48" fmla="*/ 1006475 h 1406525"/>
                    <a:gd name="connsiteX49" fmla="*/ 222250 w 2143125"/>
                    <a:gd name="connsiteY49" fmla="*/ 984250 h 1406525"/>
                    <a:gd name="connsiteX50" fmla="*/ 187325 w 2143125"/>
                    <a:gd name="connsiteY50" fmla="*/ 962025 h 1406525"/>
                    <a:gd name="connsiteX51" fmla="*/ 152400 w 2143125"/>
                    <a:gd name="connsiteY51" fmla="*/ 936625 h 1406525"/>
                    <a:gd name="connsiteX52" fmla="*/ 104775 w 2143125"/>
                    <a:gd name="connsiteY52" fmla="*/ 885825 h 1406525"/>
                    <a:gd name="connsiteX53" fmla="*/ 57150 w 2143125"/>
                    <a:gd name="connsiteY53" fmla="*/ 822325 h 1406525"/>
                    <a:gd name="connsiteX54" fmla="*/ 0 w 2143125"/>
                    <a:gd name="connsiteY54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92150 w 2143125"/>
                    <a:gd name="connsiteY33" fmla="*/ 895350 h 1406525"/>
                    <a:gd name="connsiteX34" fmla="*/ 647700 w 2143125"/>
                    <a:gd name="connsiteY34" fmla="*/ 844550 h 1406525"/>
                    <a:gd name="connsiteX35" fmla="*/ 596900 w 2143125"/>
                    <a:gd name="connsiteY35" fmla="*/ 790575 h 1406525"/>
                    <a:gd name="connsiteX36" fmla="*/ 523875 w 2143125"/>
                    <a:gd name="connsiteY36" fmla="*/ 711200 h 1406525"/>
                    <a:gd name="connsiteX37" fmla="*/ 473075 w 2143125"/>
                    <a:gd name="connsiteY37" fmla="*/ 695325 h 1406525"/>
                    <a:gd name="connsiteX38" fmla="*/ 434975 w 2143125"/>
                    <a:gd name="connsiteY38" fmla="*/ 717550 h 1406525"/>
                    <a:gd name="connsiteX39" fmla="*/ 431800 w 2143125"/>
                    <a:gd name="connsiteY39" fmla="*/ 755650 h 1406525"/>
                    <a:gd name="connsiteX40" fmla="*/ 425450 w 2143125"/>
                    <a:gd name="connsiteY40" fmla="*/ 793750 h 1406525"/>
                    <a:gd name="connsiteX41" fmla="*/ 425450 w 2143125"/>
                    <a:gd name="connsiteY41" fmla="*/ 831850 h 1406525"/>
                    <a:gd name="connsiteX42" fmla="*/ 425450 w 2143125"/>
                    <a:gd name="connsiteY42" fmla="*/ 876300 h 1406525"/>
                    <a:gd name="connsiteX43" fmla="*/ 422275 w 2143125"/>
                    <a:gd name="connsiteY43" fmla="*/ 904875 h 1406525"/>
                    <a:gd name="connsiteX44" fmla="*/ 412750 w 2143125"/>
                    <a:gd name="connsiteY44" fmla="*/ 968375 h 1406525"/>
                    <a:gd name="connsiteX45" fmla="*/ 396875 w 2143125"/>
                    <a:gd name="connsiteY45" fmla="*/ 1016000 h 1406525"/>
                    <a:gd name="connsiteX46" fmla="*/ 358775 w 2143125"/>
                    <a:gd name="connsiteY46" fmla="*/ 1031875 h 1406525"/>
                    <a:gd name="connsiteX47" fmla="*/ 301625 w 2143125"/>
                    <a:gd name="connsiteY47" fmla="*/ 1022350 h 1406525"/>
                    <a:gd name="connsiteX48" fmla="*/ 273050 w 2143125"/>
                    <a:gd name="connsiteY48" fmla="*/ 1006475 h 1406525"/>
                    <a:gd name="connsiteX49" fmla="*/ 222250 w 2143125"/>
                    <a:gd name="connsiteY49" fmla="*/ 984250 h 1406525"/>
                    <a:gd name="connsiteX50" fmla="*/ 187325 w 2143125"/>
                    <a:gd name="connsiteY50" fmla="*/ 962025 h 1406525"/>
                    <a:gd name="connsiteX51" fmla="*/ 152400 w 2143125"/>
                    <a:gd name="connsiteY51" fmla="*/ 936625 h 1406525"/>
                    <a:gd name="connsiteX52" fmla="*/ 104775 w 2143125"/>
                    <a:gd name="connsiteY52" fmla="*/ 885825 h 1406525"/>
                    <a:gd name="connsiteX53" fmla="*/ 57150 w 2143125"/>
                    <a:gd name="connsiteY53" fmla="*/ 822325 h 1406525"/>
                    <a:gd name="connsiteX54" fmla="*/ 0 w 2143125"/>
                    <a:gd name="connsiteY54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647700 w 2143125"/>
                    <a:gd name="connsiteY34" fmla="*/ 844550 h 1406525"/>
                    <a:gd name="connsiteX35" fmla="*/ 596900 w 2143125"/>
                    <a:gd name="connsiteY35" fmla="*/ 790575 h 1406525"/>
                    <a:gd name="connsiteX36" fmla="*/ 523875 w 2143125"/>
                    <a:gd name="connsiteY36" fmla="*/ 711200 h 1406525"/>
                    <a:gd name="connsiteX37" fmla="*/ 473075 w 2143125"/>
                    <a:gd name="connsiteY37" fmla="*/ 695325 h 1406525"/>
                    <a:gd name="connsiteX38" fmla="*/ 434975 w 2143125"/>
                    <a:gd name="connsiteY38" fmla="*/ 717550 h 1406525"/>
                    <a:gd name="connsiteX39" fmla="*/ 431800 w 2143125"/>
                    <a:gd name="connsiteY39" fmla="*/ 755650 h 1406525"/>
                    <a:gd name="connsiteX40" fmla="*/ 425450 w 2143125"/>
                    <a:gd name="connsiteY40" fmla="*/ 793750 h 1406525"/>
                    <a:gd name="connsiteX41" fmla="*/ 425450 w 2143125"/>
                    <a:gd name="connsiteY41" fmla="*/ 831850 h 1406525"/>
                    <a:gd name="connsiteX42" fmla="*/ 425450 w 2143125"/>
                    <a:gd name="connsiteY42" fmla="*/ 876300 h 1406525"/>
                    <a:gd name="connsiteX43" fmla="*/ 422275 w 2143125"/>
                    <a:gd name="connsiteY43" fmla="*/ 904875 h 1406525"/>
                    <a:gd name="connsiteX44" fmla="*/ 412750 w 2143125"/>
                    <a:gd name="connsiteY44" fmla="*/ 968375 h 1406525"/>
                    <a:gd name="connsiteX45" fmla="*/ 396875 w 2143125"/>
                    <a:gd name="connsiteY45" fmla="*/ 1016000 h 1406525"/>
                    <a:gd name="connsiteX46" fmla="*/ 358775 w 2143125"/>
                    <a:gd name="connsiteY46" fmla="*/ 1031875 h 1406525"/>
                    <a:gd name="connsiteX47" fmla="*/ 301625 w 2143125"/>
                    <a:gd name="connsiteY47" fmla="*/ 1022350 h 1406525"/>
                    <a:gd name="connsiteX48" fmla="*/ 273050 w 2143125"/>
                    <a:gd name="connsiteY48" fmla="*/ 1006475 h 1406525"/>
                    <a:gd name="connsiteX49" fmla="*/ 222250 w 2143125"/>
                    <a:gd name="connsiteY49" fmla="*/ 984250 h 1406525"/>
                    <a:gd name="connsiteX50" fmla="*/ 187325 w 2143125"/>
                    <a:gd name="connsiteY50" fmla="*/ 962025 h 1406525"/>
                    <a:gd name="connsiteX51" fmla="*/ 152400 w 2143125"/>
                    <a:gd name="connsiteY51" fmla="*/ 936625 h 1406525"/>
                    <a:gd name="connsiteX52" fmla="*/ 104775 w 2143125"/>
                    <a:gd name="connsiteY52" fmla="*/ 885825 h 1406525"/>
                    <a:gd name="connsiteX53" fmla="*/ 57150 w 2143125"/>
                    <a:gd name="connsiteY53" fmla="*/ 822325 h 1406525"/>
                    <a:gd name="connsiteX54" fmla="*/ 0 w 2143125"/>
                    <a:gd name="connsiteY54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596900 w 2143125"/>
                    <a:gd name="connsiteY35" fmla="*/ 790575 h 1406525"/>
                    <a:gd name="connsiteX36" fmla="*/ 523875 w 2143125"/>
                    <a:gd name="connsiteY36" fmla="*/ 711200 h 1406525"/>
                    <a:gd name="connsiteX37" fmla="*/ 473075 w 2143125"/>
                    <a:gd name="connsiteY37" fmla="*/ 695325 h 1406525"/>
                    <a:gd name="connsiteX38" fmla="*/ 434975 w 2143125"/>
                    <a:gd name="connsiteY38" fmla="*/ 717550 h 1406525"/>
                    <a:gd name="connsiteX39" fmla="*/ 431800 w 2143125"/>
                    <a:gd name="connsiteY39" fmla="*/ 755650 h 1406525"/>
                    <a:gd name="connsiteX40" fmla="*/ 425450 w 2143125"/>
                    <a:gd name="connsiteY40" fmla="*/ 793750 h 1406525"/>
                    <a:gd name="connsiteX41" fmla="*/ 425450 w 2143125"/>
                    <a:gd name="connsiteY41" fmla="*/ 831850 h 1406525"/>
                    <a:gd name="connsiteX42" fmla="*/ 425450 w 2143125"/>
                    <a:gd name="connsiteY42" fmla="*/ 876300 h 1406525"/>
                    <a:gd name="connsiteX43" fmla="*/ 422275 w 2143125"/>
                    <a:gd name="connsiteY43" fmla="*/ 904875 h 1406525"/>
                    <a:gd name="connsiteX44" fmla="*/ 412750 w 2143125"/>
                    <a:gd name="connsiteY44" fmla="*/ 968375 h 1406525"/>
                    <a:gd name="connsiteX45" fmla="*/ 396875 w 2143125"/>
                    <a:gd name="connsiteY45" fmla="*/ 1016000 h 1406525"/>
                    <a:gd name="connsiteX46" fmla="*/ 358775 w 2143125"/>
                    <a:gd name="connsiteY46" fmla="*/ 1031875 h 1406525"/>
                    <a:gd name="connsiteX47" fmla="*/ 301625 w 2143125"/>
                    <a:gd name="connsiteY47" fmla="*/ 1022350 h 1406525"/>
                    <a:gd name="connsiteX48" fmla="*/ 273050 w 2143125"/>
                    <a:gd name="connsiteY48" fmla="*/ 1006475 h 1406525"/>
                    <a:gd name="connsiteX49" fmla="*/ 222250 w 2143125"/>
                    <a:gd name="connsiteY49" fmla="*/ 984250 h 1406525"/>
                    <a:gd name="connsiteX50" fmla="*/ 187325 w 2143125"/>
                    <a:gd name="connsiteY50" fmla="*/ 962025 h 1406525"/>
                    <a:gd name="connsiteX51" fmla="*/ 152400 w 2143125"/>
                    <a:gd name="connsiteY51" fmla="*/ 936625 h 1406525"/>
                    <a:gd name="connsiteX52" fmla="*/ 104775 w 2143125"/>
                    <a:gd name="connsiteY52" fmla="*/ 885825 h 1406525"/>
                    <a:gd name="connsiteX53" fmla="*/ 57150 w 2143125"/>
                    <a:gd name="connsiteY53" fmla="*/ 822325 h 1406525"/>
                    <a:gd name="connsiteX54" fmla="*/ 0 w 2143125"/>
                    <a:gd name="connsiteY54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523875 w 2143125"/>
                    <a:gd name="connsiteY36" fmla="*/ 711200 h 1406525"/>
                    <a:gd name="connsiteX37" fmla="*/ 473075 w 2143125"/>
                    <a:gd name="connsiteY37" fmla="*/ 695325 h 1406525"/>
                    <a:gd name="connsiteX38" fmla="*/ 434975 w 2143125"/>
                    <a:gd name="connsiteY38" fmla="*/ 717550 h 1406525"/>
                    <a:gd name="connsiteX39" fmla="*/ 431800 w 2143125"/>
                    <a:gd name="connsiteY39" fmla="*/ 755650 h 1406525"/>
                    <a:gd name="connsiteX40" fmla="*/ 425450 w 2143125"/>
                    <a:gd name="connsiteY40" fmla="*/ 793750 h 1406525"/>
                    <a:gd name="connsiteX41" fmla="*/ 425450 w 2143125"/>
                    <a:gd name="connsiteY41" fmla="*/ 831850 h 1406525"/>
                    <a:gd name="connsiteX42" fmla="*/ 425450 w 2143125"/>
                    <a:gd name="connsiteY42" fmla="*/ 876300 h 1406525"/>
                    <a:gd name="connsiteX43" fmla="*/ 422275 w 2143125"/>
                    <a:gd name="connsiteY43" fmla="*/ 904875 h 1406525"/>
                    <a:gd name="connsiteX44" fmla="*/ 412750 w 2143125"/>
                    <a:gd name="connsiteY44" fmla="*/ 968375 h 1406525"/>
                    <a:gd name="connsiteX45" fmla="*/ 396875 w 2143125"/>
                    <a:gd name="connsiteY45" fmla="*/ 1016000 h 1406525"/>
                    <a:gd name="connsiteX46" fmla="*/ 358775 w 2143125"/>
                    <a:gd name="connsiteY46" fmla="*/ 1031875 h 1406525"/>
                    <a:gd name="connsiteX47" fmla="*/ 301625 w 2143125"/>
                    <a:gd name="connsiteY47" fmla="*/ 1022350 h 1406525"/>
                    <a:gd name="connsiteX48" fmla="*/ 273050 w 2143125"/>
                    <a:gd name="connsiteY48" fmla="*/ 1006475 h 1406525"/>
                    <a:gd name="connsiteX49" fmla="*/ 222250 w 2143125"/>
                    <a:gd name="connsiteY49" fmla="*/ 984250 h 1406525"/>
                    <a:gd name="connsiteX50" fmla="*/ 187325 w 2143125"/>
                    <a:gd name="connsiteY50" fmla="*/ 962025 h 1406525"/>
                    <a:gd name="connsiteX51" fmla="*/ 152400 w 2143125"/>
                    <a:gd name="connsiteY51" fmla="*/ 936625 h 1406525"/>
                    <a:gd name="connsiteX52" fmla="*/ 104775 w 2143125"/>
                    <a:gd name="connsiteY52" fmla="*/ 885825 h 1406525"/>
                    <a:gd name="connsiteX53" fmla="*/ 57150 w 2143125"/>
                    <a:gd name="connsiteY53" fmla="*/ 822325 h 1406525"/>
                    <a:gd name="connsiteX54" fmla="*/ 0 w 2143125"/>
                    <a:gd name="connsiteY54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73075 w 2143125"/>
                    <a:gd name="connsiteY36" fmla="*/ 695325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25450 w 2143125"/>
                    <a:gd name="connsiteY41" fmla="*/ 876300 h 1406525"/>
                    <a:gd name="connsiteX42" fmla="*/ 422275 w 2143125"/>
                    <a:gd name="connsiteY42" fmla="*/ 904875 h 1406525"/>
                    <a:gd name="connsiteX43" fmla="*/ 412750 w 2143125"/>
                    <a:gd name="connsiteY43" fmla="*/ 968375 h 1406525"/>
                    <a:gd name="connsiteX44" fmla="*/ 396875 w 2143125"/>
                    <a:gd name="connsiteY44" fmla="*/ 1016000 h 1406525"/>
                    <a:gd name="connsiteX45" fmla="*/ 358775 w 2143125"/>
                    <a:gd name="connsiteY45" fmla="*/ 1031875 h 1406525"/>
                    <a:gd name="connsiteX46" fmla="*/ 301625 w 2143125"/>
                    <a:gd name="connsiteY46" fmla="*/ 1022350 h 1406525"/>
                    <a:gd name="connsiteX47" fmla="*/ 273050 w 2143125"/>
                    <a:gd name="connsiteY47" fmla="*/ 1006475 h 1406525"/>
                    <a:gd name="connsiteX48" fmla="*/ 222250 w 2143125"/>
                    <a:gd name="connsiteY48" fmla="*/ 984250 h 1406525"/>
                    <a:gd name="connsiteX49" fmla="*/ 187325 w 2143125"/>
                    <a:gd name="connsiteY49" fmla="*/ 962025 h 1406525"/>
                    <a:gd name="connsiteX50" fmla="*/ 152400 w 2143125"/>
                    <a:gd name="connsiteY50" fmla="*/ 936625 h 1406525"/>
                    <a:gd name="connsiteX51" fmla="*/ 104775 w 2143125"/>
                    <a:gd name="connsiteY51" fmla="*/ 885825 h 1406525"/>
                    <a:gd name="connsiteX52" fmla="*/ 57150 w 2143125"/>
                    <a:gd name="connsiteY52" fmla="*/ 822325 h 1406525"/>
                    <a:gd name="connsiteX53" fmla="*/ 0 w 2143125"/>
                    <a:gd name="connsiteY53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25450 w 2143125"/>
                    <a:gd name="connsiteY41" fmla="*/ 876300 h 1406525"/>
                    <a:gd name="connsiteX42" fmla="*/ 422275 w 2143125"/>
                    <a:gd name="connsiteY42" fmla="*/ 904875 h 1406525"/>
                    <a:gd name="connsiteX43" fmla="*/ 412750 w 2143125"/>
                    <a:gd name="connsiteY43" fmla="*/ 968375 h 1406525"/>
                    <a:gd name="connsiteX44" fmla="*/ 396875 w 2143125"/>
                    <a:gd name="connsiteY44" fmla="*/ 1016000 h 1406525"/>
                    <a:gd name="connsiteX45" fmla="*/ 358775 w 2143125"/>
                    <a:gd name="connsiteY45" fmla="*/ 1031875 h 1406525"/>
                    <a:gd name="connsiteX46" fmla="*/ 301625 w 2143125"/>
                    <a:gd name="connsiteY46" fmla="*/ 1022350 h 1406525"/>
                    <a:gd name="connsiteX47" fmla="*/ 273050 w 2143125"/>
                    <a:gd name="connsiteY47" fmla="*/ 1006475 h 1406525"/>
                    <a:gd name="connsiteX48" fmla="*/ 222250 w 2143125"/>
                    <a:gd name="connsiteY48" fmla="*/ 984250 h 1406525"/>
                    <a:gd name="connsiteX49" fmla="*/ 187325 w 2143125"/>
                    <a:gd name="connsiteY49" fmla="*/ 962025 h 1406525"/>
                    <a:gd name="connsiteX50" fmla="*/ 152400 w 2143125"/>
                    <a:gd name="connsiteY50" fmla="*/ 936625 h 1406525"/>
                    <a:gd name="connsiteX51" fmla="*/ 104775 w 2143125"/>
                    <a:gd name="connsiteY51" fmla="*/ 885825 h 1406525"/>
                    <a:gd name="connsiteX52" fmla="*/ 57150 w 2143125"/>
                    <a:gd name="connsiteY52" fmla="*/ 822325 h 1406525"/>
                    <a:gd name="connsiteX53" fmla="*/ 0 w 2143125"/>
                    <a:gd name="connsiteY53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25450 w 2143125"/>
                    <a:gd name="connsiteY41" fmla="*/ 876300 h 1406525"/>
                    <a:gd name="connsiteX42" fmla="*/ 372098 w 2143125"/>
                    <a:gd name="connsiteY42" fmla="*/ 884251 h 1406525"/>
                    <a:gd name="connsiteX43" fmla="*/ 412750 w 2143125"/>
                    <a:gd name="connsiteY43" fmla="*/ 968375 h 1406525"/>
                    <a:gd name="connsiteX44" fmla="*/ 396875 w 2143125"/>
                    <a:gd name="connsiteY44" fmla="*/ 1016000 h 1406525"/>
                    <a:gd name="connsiteX45" fmla="*/ 358775 w 2143125"/>
                    <a:gd name="connsiteY45" fmla="*/ 1031875 h 1406525"/>
                    <a:gd name="connsiteX46" fmla="*/ 301625 w 2143125"/>
                    <a:gd name="connsiteY46" fmla="*/ 1022350 h 1406525"/>
                    <a:gd name="connsiteX47" fmla="*/ 273050 w 2143125"/>
                    <a:gd name="connsiteY47" fmla="*/ 1006475 h 1406525"/>
                    <a:gd name="connsiteX48" fmla="*/ 222250 w 2143125"/>
                    <a:gd name="connsiteY48" fmla="*/ 984250 h 1406525"/>
                    <a:gd name="connsiteX49" fmla="*/ 187325 w 2143125"/>
                    <a:gd name="connsiteY49" fmla="*/ 962025 h 1406525"/>
                    <a:gd name="connsiteX50" fmla="*/ 152400 w 2143125"/>
                    <a:gd name="connsiteY50" fmla="*/ 936625 h 1406525"/>
                    <a:gd name="connsiteX51" fmla="*/ 104775 w 2143125"/>
                    <a:gd name="connsiteY51" fmla="*/ 885825 h 1406525"/>
                    <a:gd name="connsiteX52" fmla="*/ 57150 w 2143125"/>
                    <a:gd name="connsiteY52" fmla="*/ 822325 h 1406525"/>
                    <a:gd name="connsiteX53" fmla="*/ 0 w 2143125"/>
                    <a:gd name="connsiteY53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06634 w 2143125"/>
                    <a:gd name="connsiteY41" fmla="*/ 859800 h 1406525"/>
                    <a:gd name="connsiteX42" fmla="*/ 372098 w 2143125"/>
                    <a:gd name="connsiteY42" fmla="*/ 884251 h 1406525"/>
                    <a:gd name="connsiteX43" fmla="*/ 412750 w 2143125"/>
                    <a:gd name="connsiteY43" fmla="*/ 968375 h 1406525"/>
                    <a:gd name="connsiteX44" fmla="*/ 396875 w 2143125"/>
                    <a:gd name="connsiteY44" fmla="*/ 1016000 h 1406525"/>
                    <a:gd name="connsiteX45" fmla="*/ 358775 w 2143125"/>
                    <a:gd name="connsiteY45" fmla="*/ 1031875 h 1406525"/>
                    <a:gd name="connsiteX46" fmla="*/ 301625 w 2143125"/>
                    <a:gd name="connsiteY46" fmla="*/ 1022350 h 1406525"/>
                    <a:gd name="connsiteX47" fmla="*/ 273050 w 2143125"/>
                    <a:gd name="connsiteY47" fmla="*/ 1006475 h 1406525"/>
                    <a:gd name="connsiteX48" fmla="*/ 222250 w 2143125"/>
                    <a:gd name="connsiteY48" fmla="*/ 984250 h 1406525"/>
                    <a:gd name="connsiteX49" fmla="*/ 187325 w 2143125"/>
                    <a:gd name="connsiteY49" fmla="*/ 962025 h 1406525"/>
                    <a:gd name="connsiteX50" fmla="*/ 152400 w 2143125"/>
                    <a:gd name="connsiteY50" fmla="*/ 936625 h 1406525"/>
                    <a:gd name="connsiteX51" fmla="*/ 104775 w 2143125"/>
                    <a:gd name="connsiteY51" fmla="*/ 885825 h 1406525"/>
                    <a:gd name="connsiteX52" fmla="*/ 57150 w 2143125"/>
                    <a:gd name="connsiteY52" fmla="*/ 822325 h 1406525"/>
                    <a:gd name="connsiteX53" fmla="*/ 0 w 2143125"/>
                    <a:gd name="connsiteY53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06634 w 2143125"/>
                    <a:gd name="connsiteY41" fmla="*/ 859800 h 1406525"/>
                    <a:gd name="connsiteX42" fmla="*/ 372098 w 2143125"/>
                    <a:gd name="connsiteY42" fmla="*/ 884251 h 1406525"/>
                    <a:gd name="connsiteX43" fmla="*/ 306122 w 2143125"/>
                    <a:gd name="connsiteY43" fmla="*/ 848754 h 1406525"/>
                    <a:gd name="connsiteX44" fmla="*/ 396875 w 2143125"/>
                    <a:gd name="connsiteY44" fmla="*/ 1016000 h 1406525"/>
                    <a:gd name="connsiteX45" fmla="*/ 358775 w 2143125"/>
                    <a:gd name="connsiteY45" fmla="*/ 1031875 h 1406525"/>
                    <a:gd name="connsiteX46" fmla="*/ 301625 w 2143125"/>
                    <a:gd name="connsiteY46" fmla="*/ 1022350 h 1406525"/>
                    <a:gd name="connsiteX47" fmla="*/ 273050 w 2143125"/>
                    <a:gd name="connsiteY47" fmla="*/ 1006475 h 1406525"/>
                    <a:gd name="connsiteX48" fmla="*/ 222250 w 2143125"/>
                    <a:gd name="connsiteY48" fmla="*/ 984250 h 1406525"/>
                    <a:gd name="connsiteX49" fmla="*/ 187325 w 2143125"/>
                    <a:gd name="connsiteY49" fmla="*/ 962025 h 1406525"/>
                    <a:gd name="connsiteX50" fmla="*/ 152400 w 2143125"/>
                    <a:gd name="connsiteY50" fmla="*/ 936625 h 1406525"/>
                    <a:gd name="connsiteX51" fmla="*/ 104775 w 2143125"/>
                    <a:gd name="connsiteY51" fmla="*/ 885825 h 1406525"/>
                    <a:gd name="connsiteX52" fmla="*/ 57150 w 2143125"/>
                    <a:gd name="connsiteY52" fmla="*/ 822325 h 1406525"/>
                    <a:gd name="connsiteX53" fmla="*/ 0 w 2143125"/>
                    <a:gd name="connsiteY53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06634 w 2143125"/>
                    <a:gd name="connsiteY41" fmla="*/ 859800 h 1406525"/>
                    <a:gd name="connsiteX42" fmla="*/ 372098 w 2143125"/>
                    <a:gd name="connsiteY42" fmla="*/ 884251 h 1406525"/>
                    <a:gd name="connsiteX43" fmla="*/ 306122 w 2143125"/>
                    <a:gd name="connsiteY43" fmla="*/ 848754 h 1406525"/>
                    <a:gd name="connsiteX44" fmla="*/ 206619 w 2143125"/>
                    <a:gd name="connsiteY44" fmla="*/ 764382 h 1406525"/>
                    <a:gd name="connsiteX45" fmla="*/ 358775 w 2143125"/>
                    <a:gd name="connsiteY45" fmla="*/ 1031875 h 1406525"/>
                    <a:gd name="connsiteX46" fmla="*/ 301625 w 2143125"/>
                    <a:gd name="connsiteY46" fmla="*/ 1022350 h 1406525"/>
                    <a:gd name="connsiteX47" fmla="*/ 273050 w 2143125"/>
                    <a:gd name="connsiteY47" fmla="*/ 1006475 h 1406525"/>
                    <a:gd name="connsiteX48" fmla="*/ 222250 w 2143125"/>
                    <a:gd name="connsiteY48" fmla="*/ 984250 h 1406525"/>
                    <a:gd name="connsiteX49" fmla="*/ 187325 w 2143125"/>
                    <a:gd name="connsiteY49" fmla="*/ 962025 h 1406525"/>
                    <a:gd name="connsiteX50" fmla="*/ 152400 w 2143125"/>
                    <a:gd name="connsiteY50" fmla="*/ 936625 h 1406525"/>
                    <a:gd name="connsiteX51" fmla="*/ 104775 w 2143125"/>
                    <a:gd name="connsiteY51" fmla="*/ 885825 h 1406525"/>
                    <a:gd name="connsiteX52" fmla="*/ 57150 w 2143125"/>
                    <a:gd name="connsiteY52" fmla="*/ 822325 h 1406525"/>
                    <a:gd name="connsiteX53" fmla="*/ 0 w 2143125"/>
                    <a:gd name="connsiteY53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06634 w 2143125"/>
                    <a:gd name="connsiteY41" fmla="*/ 859800 h 1406525"/>
                    <a:gd name="connsiteX42" fmla="*/ 372098 w 2143125"/>
                    <a:gd name="connsiteY42" fmla="*/ 884251 h 1406525"/>
                    <a:gd name="connsiteX43" fmla="*/ 306122 w 2143125"/>
                    <a:gd name="connsiteY43" fmla="*/ 848754 h 1406525"/>
                    <a:gd name="connsiteX44" fmla="*/ 206619 w 2143125"/>
                    <a:gd name="connsiteY44" fmla="*/ 764382 h 1406525"/>
                    <a:gd name="connsiteX45" fmla="*/ 68164 w 2143125"/>
                    <a:gd name="connsiteY45" fmla="*/ 578139 h 1406525"/>
                    <a:gd name="connsiteX46" fmla="*/ 301625 w 2143125"/>
                    <a:gd name="connsiteY46" fmla="*/ 1022350 h 1406525"/>
                    <a:gd name="connsiteX47" fmla="*/ 273050 w 2143125"/>
                    <a:gd name="connsiteY47" fmla="*/ 1006475 h 1406525"/>
                    <a:gd name="connsiteX48" fmla="*/ 222250 w 2143125"/>
                    <a:gd name="connsiteY48" fmla="*/ 984250 h 1406525"/>
                    <a:gd name="connsiteX49" fmla="*/ 187325 w 2143125"/>
                    <a:gd name="connsiteY49" fmla="*/ 962025 h 1406525"/>
                    <a:gd name="connsiteX50" fmla="*/ 152400 w 2143125"/>
                    <a:gd name="connsiteY50" fmla="*/ 936625 h 1406525"/>
                    <a:gd name="connsiteX51" fmla="*/ 104775 w 2143125"/>
                    <a:gd name="connsiteY51" fmla="*/ 885825 h 1406525"/>
                    <a:gd name="connsiteX52" fmla="*/ 57150 w 2143125"/>
                    <a:gd name="connsiteY52" fmla="*/ 822325 h 1406525"/>
                    <a:gd name="connsiteX53" fmla="*/ 0 w 2143125"/>
                    <a:gd name="connsiteY53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06634 w 2143125"/>
                    <a:gd name="connsiteY41" fmla="*/ 859800 h 1406525"/>
                    <a:gd name="connsiteX42" fmla="*/ 372098 w 2143125"/>
                    <a:gd name="connsiteY42" fmla="*/ 884251 h 1406525"/>
                    <a:gd name="connsiteX43" fmla="*/ 306122 w 2143125"/>
                    <a:gd name="connsiteY43" fmla="*/ 848754 h 1406525"/>
                    <a:gd name="connsiteX44" fmla="*/ 206619 w 2143125"/>
                    <a:gd name="connsiteY44" fmla="*/ 764382 h 1406525"/>
                    <a:gd name="connsiteX45" fmla="*/ 68164 w 2143125"/>
                    <a:gd name="connsiteY45" fmla="*/ 578139 h 1406525"/>
                    <a:gd name="connsiteX46" fmla="*/ 273050 w 2143125"/>
                    <a:gd name="connsiteY46" fmla="*/ 1006475 h 1406525"/>
                    <a:gd name="connsiteX47" fmla="*/ 222250 w 2143125"/>
                    <a:gd name="connsiteY47" fmla="*/ 984250 h 1406525"/>
                    <a:gd name="connsiteX48" fmla="*/ 187325 w 2143125"/>
                    <a:gd name="connsiteY48" fmla="*/ 962025 h 1406525"/>
                    <a:gd name="connsiteX49" fmla="*/ 152400 w 2143125"/>
                    <a:gd name="connsiteY49" fmla="*/ 936625 h 1406525"/>
                    <a:gd name="connsiteX50" fmla="*/ 104775 w 2143125"/>
                    <a:gd name="connsiteY50" fmla="*/ 885825 h 1406525"/>
                    <a:gd name="connsiteX51" fmla="*/ 57150 w 2143125"/>
                    <a:gd name="connsiteY51" fmla="*/ 822325 h 1406525"/>
                    <a:gd name="connsiteX52" fmla="*/ 0 w 2143125"/>
                    <a:gd name="connsiteY52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06634 w 2143125"/>
                    <a:gd name="connsiteY41" fmla="*/ 859800 h 1406525"/>
                    <a:gd name="connsiteX42" fmla="*/ 372098 w 2143125"/>
                    <a:gd name="connsiteY42" fmla="*/ 884251 h 1406525"/>
                    <a:gd name="connsiteX43" fmla="*/ 306122 w 2143125"/>
                    <a:gd name="connsiteY43" fmla="*/ 848754 h 1406525"/>
                    <a:gd name="connsiteX44" fmla="*/ 206619 w 2143125"/>
                    <a:gd name="connsiteY44" fmla="*/ 764382 h 1406525"/>
                    <a:gd name="connsiteX45" fmla="*/ 68164 w 2143125"/>
                    <a:gd name="connsiteY45" fmla="*/ 578139 h 1406525"/>
                    <a:gd name="connsiteX46" fmla="*/ 222250 w 2143125"/>
                    <a:gd name="connsiteY46" fmla="*/ 984250 h 1406525"/>
                    <a:gd name="connsiteX47" fmla="*/ 187325 w 2143125"/>
                    <a:gd name="connsiteY47" fmla="*/ 962025 h 1406525"/>
                    <a:gd name="connsiteX48" fmla="*/ 152400 w 2143125"/>
                    <a:gd name="connsiteY48" fmla="*/ 936625 h 1406525"/>
                    <a:gd name="connsiteX49" fmla="*/ 104775 w 2143125"/>
                    <a:gd name="connsiteY49" fmla="*/ 885825 h 1406525"/>
                    <a:gd name="connsiteX50" fmla="*/ 57150 w 2143125"/>
                    <a:gd name="connsiteY50" fmla="*/ 822325 h 1406525"/>
                    <a:gd name="connsiteX51" fmla="*/ 0 w 2143125"/>
                    <a:gd name="connsiteY51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06634 w 2143125"/>
                    <a:gd name="connsiteY41" fmla="*/ 859800 h 1406525"/>
                    <a:gd name="connsiteX42" fmla="*/ 372098 w 2143125"/>
                    <a:gd name="connsiteY42" fmla="*/ 884251 h 1406525"/>
                    <a:gd name="connsiteX43" fmla="*/ 306122 w 2143125"/>
                    <a:gd name="connsiteY43" fmla="*/ 848754 h 1406525"/>
                    <a:gd name="connsiteX44" fmla="*/ 206619 w 2143125"/>
                    <a:gd name="connsiteY44" fmla="*/ 764382 h 1406525"/>
                    <a:gd name="connsiteX45" fmla="*/ 68164 w 2143125"/>
                    <a:gd name="connsiteY45" fmla="*/ 578139 h 1406525"/>
                    <a:gd name="connsiteX46" fmla="*/ 187325 w 2143125"/>
                    <a:gd name="connsiteY46" fmla="*/ 962025 h 1406525"/>
                    <a:gd name="connsiteX47" fmla="*/ 152400 w 2143125"/>
                    <a:gd name="connsiteY47" fmla="*/ 936625 h 1406525"/>
                    <a:gd name="connsiteX48" fmla="*/ 104775 w 2143125"/>
                    <a:gd name="connsiteY48" fmla="*/ 885825 h 1406525"/>
                    <a:gd name="connsiteX49" fmla="*/ 57150 w 2143125"/>
                    <a:gd name="connsiteY49" fmla="*/ 822325 h 1406525"/>
                    <a:gd name="connsiteX50" fmla="*/ 0 w 2143125"/>
                    <a:gd name="connsiteY50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06634 w 2143125"/>
                    <a:gd name="connsiteY41" fmla="*/ 859800 h 1406525"/>
                    <a:gd name="connsiteX42" fmla="*/ 372098 w 2143125"/>
                    <a:gd name="connsiteY42" fmla="*/ 884251 h 1406525"/>
                    <a:gd name="connsiteX43" fmla="*/ 306122 w 2143125"/>
                    <a:gd name="connsiteY43" fmla="*/ 848754 h 1406525"/>
                    <a:gd name="connsiteX44" fmla="*/ 206619 w 2143125"/>
                    <a:gd name="connsiteY44" fmla="*/ 764382 h 1406525"/>
                    <a:gd name="connsiteX45" fmla="*/ 68164 w 2143125"/>
                    <a:gd name="connsiteY45" fmla="*/ 578139 h 1406525"/>
                    <a:gd name="connsiteX46" fmla="*/ 20067 w 2143125"/>
                    <a:gd name="connsiteY46" fmla="*/ 491789 h 1406525"/>
                    <a:gd name="connsiteX47" fmla="*/ 152400 w 2143125"/>
                    <a:gd name="connsiteY47" fmla="*/ 936625 h 1406525"/>
                    <a:gd name="connsiteX48" fmla="*/ 104775 w 2143125"/>
                    <a:gd name="connsiteY48" fmla="*/ 885825 h 1406525"/>
                    <a:gd name="connsiteX49" fmla="*/ 57150 w 2143125"/>
                    <a:gd name="connsiteY49" fmla="*/ 822325 h 1406525"/>
                    <a:gd name="connsiteX50" fmla="*/ 0 w 2143125"/>
                    <a:gd name="connsiteY50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06634 w 2143125"/>
                    <a:gd name="connsiteY41" fmla="*/ 859800 h 1406525"/>
                    <a:gd name="connsiteX42" fmla="*/ 372098 w 2143125"/>
                    <a:gd name="connsiteY42" fmla="*/ 884251 h 1406525"/>
                    <a:gd name="connsiteX43" fmla="*/ 306122 w 2143125"/>
                    <a:gd name="connsiteY43" fmla="*/ 848754 h 1406525"/>
                    <a:gd name="connsiteX44" fmla="*/ 206619 w 2143125"/>
                    <a:gd name="connsiteY44" fmla="*/ 764382 h 1406525"/>
                    <a:gd name="connsiteX45" fmla="*/ 68164 w 2143125"/>
                    <a:gd name="connsiteY45" fmla="*/ 578139 h 1406525"/>
                    <a:gd name="connsiteX46" fmla="*/ 20067 w 2143125"/>
                    <a:gd name="connsiteY46" fmla="*/ 491789 h 1406525"/>
                    <a:gd name="connsiteX47" fmla="*/ 104775 w 2143125"/>
                    <a:gd name="connsiteY47" fmla="*/ 885825 h 1406525"/>
                    <a:gd name="connsiteX48" fmla="*/ 57150 w 2143125"/>
                    <a:gd name="connsiteY48" fmla="*/ 822325 h 1406525"/>
                    <a:gd name="connsiteX49" fmla="*/ 0 w 2143125"/>
                    <a:gd name="connsiteY49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06634 w 2143125"/>
                    <a:gd name="connsiteY41" fmla="*/ 859800 h 1406525"/>
                    <a:gd name="connsiteX42" fmla="*/ 372098 w 2143125"/>
                    <a:gd name="connsiteY42" fmla="*/ 884251 h 1406525"/>
                    <a:gd name="connsiteX43" fmla="*/ 306122 w 2143125"/>
                    <a:gd name="connsiteY43" fmla="*/ 848754 h 1406525"/>
                    <a:gd name="connsiteX44" fmla="*/ 206619 w 2143125"/>
                    <a:gd name="connsiteY44" fmla="*/ 764382 h 1406525"/>
                    <a:gd name="connsiteX45" fmla="*/ 68164 w 2143125"/>
                    <a:gd name="connsiteY45" fmla="*/ 578139 h 1406525"/>
                    <a:gd name="connsiteX46" fmla="*/ 20067 w 2143125"/>
                    <a:gd name="connsiteY46" fmla="*/ 491789 h 1406525"/>
                    <a:gd name="connsiteX47" fmla="*/ 57150 w 2143125"/>
                    <a:gd name="connsiteY47" fmla="*/ 822325 h 1406525"/>
                    <a:gd name="connsiteX48" fmla="*/ 0 w 2143125"/>
                    <a:gd name="connsiteY48" fmla="*/ 768350 h 1406525"/>
                    <a:gd name="connsiteX0" fmla="*/ 0 w 2143125"/>
                    <a:gd name="connsiteY0" fmla="*/ 768350 h 1406525"/>
                    <a:gd name="connsiteX1" fmla="*/ 6350 w 2143125"/>
                    <a:gd name="connsiteY1" fmla="*/ 1403350 h 1406525"/>
                    <a:gd name="connsiteX2" fmla="*/ 2143125 w 2143125"/>
                    <a:gd name="connsiteY2" fmla="*/ 1406525 h 1406525"/>
                    <a:gd name="connsiteX3" fmla="*/ 2139950 w 2143125"/>
                    <a:gd name="connsiteY3" fmla="*/ 0 h 1406525"/>
                    <a:gd name="connsiteX4" fmla="*/ 2101850 w 2143125"/>
                    <a:gd name="connsiteY4" fmla="*/ 15875 h 1406525"/>
                    <a:gd name="connsiteX5" fmla="*/ 2044700 w 2143125"/>
                    <a:gd name="connsiteY5" fmla="*/ 60325 h 1406525"/>
                    <a:gd name="connsiteX6" fmla="*/ 2008768 w 2143125"/>
                    <a:gd name="connsiteY6" fmla="*/ 84476 h 1406525"/>
                    <a:gd name="connsiteX7" fmla="*/ 1947748 w 2143125"/>
                    <a:gd name="connsiteY7" fmla="*/ 124503 h 1406525"/>
                    <a:gd name="connsiteX8" fmla="*/ 1875575 w 2143125"/>
                    <a:gd name="connsiteY8" fmla="*/ 249629 h 1406525"/>
                    <a:gd name="connsiteX9" fmla="*/ 1798212 w 2143125"/>
                    <a:gd name="connsiteY9" fmla="*/ 417904 h 1406525"/>
                    <a:gd name="connsiteX10" fmla="*/ 1748574 w 2143125"/>
                    <a:gd name="connsiteY10" fmla="*/ 498555 h 1406525"/>
                    <a:gd name="connsiteX11" fmla="*/ 1724337 w 2143125"/>
                    <a:gd name="connsiteY11" fmla="*/ 556952 h 1406525"/>
                    <a:gd name="connsiteX12" fmla="*/ 1675861 w 2143125"/>
                    <a:gd name="connsiteY12" fmla="*/ 652828 h 1406525"/>
                    <a:gd name="connsiteX13" fmla="*/ 1610659 w 2143125"/>
                    <a:gd name="connsiteY13" fmla="*/ 723951 h 1406525"/>
                    <a:gd name="connsiteX14" fmla="*/ 1547393 w 2143125"/>
                    <a:gd name="connsiteY14" fmla="*/ 762080 h 1406525"/>
                    <a:gd name="connsiteX15" fmla="*/ 1487534 w 2143125"/>
                    <a:gd name="connsiteY15" fmla="*/ 740205 h 1406525"/>
                    <a:gd name="connsiteX16" fmla="*/ 1446259 w 2143125"/>
                    <a:gd name="connsiteY16" fmla="*/ 697708 h 1406525"/>
                    <a:gd name="connsiteX17" fmla="*/ 1398857 w 2143125"/>
                    <a:gd name="connsiteY17" fmla="*/ 621129 h 1406525"/>
                    <a:gd name="connsiteX18" fmla="*/ 1349531 w 2143125"/>
                    <a:gd name="connsiteY18" fmla="*/ 546855 h 1406525"/>
                    <a:gd name="connsiteX19" fmla="*/ 1306320 w 2143125"/>
                    <a:gd name="connsiteY19" fmla="*/ 477006 h 1406525"/>
                    <a:gd name="connsiteX20" fmla="*/ 1256294 w 2143125"/>
                    <a:gd name="connsiteY20" fmla="*/ 422652 h 1406525"/>
                    <a:gd name="connsiteX21" fmla="*/ 1222608 w 2143125"/>
                    <a:gd name="connsiteY21" fmla="*/ 382029 h 1406525"/>
                    <a:gd name="connsiteX22" fmla="*/ 1185671 w 2143125"/>
                    <a:gd name="connsiteY22" fmla="*/ 409627 h 1406525"/>
                    <a:gd name="connsiteX23" fmla="*/ 1137967 w 2143125"/>
                    <a:gd name="connsiteY23" fmla="*/ 466753 h 1406525"/>
                    <a:gd name="connsiteX24" fmla="*/ 1133475 w 2143125"/>
                    <a:gd name="connsiteY24" fmla="*/ 546100 h 1406525"/>
                    <a:gd name="connsiteX25" fmla="*/ 1091504 w 2143125"/>
                    <a:gd name="connsiteY25" fmla="*/ 555952 h 1406525"/>
                    <a:gd name="connsiteX26" fmla="*/ 1069436 w 2143125"/>
                    <a:gd name="connsiteY26" fmla="*/ 600076 h 1406525"/>
                    <a:gd name="connsiteX27" fmla="*/ 1040938 w 2143125"/>
                    <a:gd name="connsiteY27" fmla="*/ 666126 h 1406525"/>
                    <a:gd name="connsiteX28" fmla="*/ 997418 w 2143125"/>
                    <a:gd name="connsiteY28" fmla="*/ 781077 h 1406525"/>
                    <a:gd name="connsiteX29" fmla="*/ 942590 w 2143125"/>
                    <a:gd name="connsiteY29" fmla="*/ 867452 h 1406525"/>
                    <a:gd name="connsiteX30" fmla="*/ 892025 w 2143125"/>
                    <a:gd name="connsiteY30" fmla="*/ 892228 h 1406525"/>
                    <a:gd name="connsiteX31" fmla="*/ 811949 w 2143125"/>
                    <a:gd name="connsiteY31" fmla="*/ 854505 h 1406525"/>
                    <a:gd name="connsiteX32" fmla="*/ 715770 w 2143125"/>
                    <a:gd name="connsiteY32" fmla="*/ 758005 h 1406525"/>
                    <a:gd name="connsiteX33" fmla="*/ 618975 w 2143125"/>
                    <a:gd name="connsiteY33" fmla="*/ 631357 h 1406525"/>
                    <a:gd name="connsiteX34" fmla="*/ 515984 w 2143125"/>
                    <a:gd name="connsiteY34" fmla="*/ 543433 h 1406525"/>
                    <a:gd name="connsiteX35" fmla="*/ 461003 w 2143125"/>
                    <a:gd name="connsiteY35" fmla="*/ 621453 h 1406525"/>
                    <a:gd name="connsiteX36" fmla="*/ 452168 w 2143125"/>
                    <a:gd name="connsiteY36" fmla="*/ 682951 h 1406525"/>
                    <a:gd name="connsiteX37" fmla="*/ 434975 w 2143125"/>
                    <a:gd name="connsiteY37" fmla="*/ 717550 h 1406525"/>
                    <a:gd name="connsiteX38" fmla="*/ 431800 w 2143125"/>
                    <a:gd name="connsiteY38" fmla="*/ 755650 h 1406525"/>
                    <a:gd name="connsiteX39" fmla="*/ 425450 w 2143125"/>
                    <a:gd name="connsiteY39" fmla="*/ 793750 h 1406525"/>
                    <a:gd name="connsiteX40" fmla="*/ 425450 w 2143125"/>
                    <a:gd name="connsiteY40" fmla="*/ 831850 h 1406525"/>
                    <a:gd name="connsiteX41" fmla="*/ 406634 w 2143125"/>
                    <a:gd name="connsiteY41" fmla="*/ 859800 h 1406525"/>
                    <a:gd name="connsiteX42" fmla="*/ 372098 w 2143125"/>
                    <a:gd name="connsiteY42" fmla="*/ 884251 h 1406525"/>
                    <a:gd name="connsiteX43" fmla="*/ 306122 w 2143125"/>
                    <a:gd name="connsiteY43" fmla="*/ 848754 h 1406525"/>
                    <a:gd name="connsiteX44" fmla="*/ 206619 w 2143125"/>
                    <a:gd name="connsiteY44" fmla="*/ 764382 h 1406525"/>
                    <a:gd name="connsiteX45" fmla="*/ 68164 w 2143125"/>
                    <a:gd name="connsiteY45" fmla="*/ 578139 h 1406525"/>
                    <a:gd name="connsiteX46" fmla="*/ 20067 w 2143125"/>
                    <a:gd name="connsiteY46" fmla="*/ 491789 h 1406525"/>
                    <a:gd name="connsiteX47" fmla="*/ 0 w 2143125"/>
                    <a:gd name="connsiteY47" fmla="*/ 768350 h 1406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2143125" h="1406525">
                      <a:moveTo>
                        <a:pt x="0" y="768350"/>
                      </a:moveTo>
                      <a:cubicBezTo>
                        <a:pt x="2117" y="980017"/>
                        <a:pt x="4233" y="1191683"/>
                        <a:pt x="6350" y="1403350"/>
                      </a:cubicBezTo>
                      <a:lnTo>
                        <a:pt x="2143125" y="1406525"/>
                      </a:lnTo>
                      <a:cubicBezTo>
                        <a:pt x="2142067" y="937683"/>
                        <a:pt x="2141008" y="468842"/>
                        <a:pt x="2139950" y="0"/>
                      </a:cubicBezTo>
                      <a:lnTo>
                        <a:pt x="2101850" y="15875"/>
                      </a:lnTo>
                      <a:lnTo>
                        <a:pt x="2044700" y="60325"/>
                      </a:lnTo>
                      <a:lnTo>
                        <a:pt x="2008768" y="84476"/>
                      </a:lnTo>
                      <a:cubicBezTo>
                        <a:pt x="1992609" y="95172"/>
                        <a:pt x="1970644" y="102477"/>
                        <a:pt x="1947748" y="124503"/>
                      </a:cubicBezTo>
                      <a:lnTo>
                        <a:pt x="1875575" y="249629"/>
                      </a:lnTo>
                      <a:lnTo>
                        <a:pt x="1798212" y="417904"/>
                      </a:lnTo>
                      <a:lnTo>
                        <a:pt x="1748574" y="498555"/>
                      </a:lnTo>
                      <a:cubicBezTo>
                        <a:pt x="1748858" y="548270"/>
                        <a:pt x="1724053" y="507237"/>
                        <a:pt x="1724337" y="556952"/>
                      </a:cubicBezTo>
                      <a:cubicBezTo>
                        <a:pt x="1711521" y="578539"/>
                        <a:pt x="1694807" y="629120"/>
                        <a:pt x="1675861" y="652828"/>
                      </a:cubicBezTo>
                      <a:cubicBezTo>
                        <a:pt x="1656915" y="676536"/>
                        <a:pt x="1615693" y="680993"/>
                        <a:pt x="1610659" y="723951"/>
                      </a:cubicBezTo>
                      <a:lnTo>
                        <a:pt x="1547393" y="762080"/>
                      </a:lnTo>
                      <a:lnTo>
                        <a:pt x="1487534" y="740205"/>
                      </a:lnTo>
                      <a:lnTo>
                        <a:pt x="1446259" y="697708"/>
                      </a:lnTo>
                      <a:cubicBezTo>
                        <a:pt x="1427995" y="703986"/>
                        <a:pt x="1412888" y="614647"/>
                        <a:pt x="1398857" y="621129"/>
                      </a:cubicBezTo>
                      <a:lnTo>
                        <a:pt x="1349531" y="546855"/>
                      </a:lnTo>
                      <a:lnTo>
                        <a:pt x="1306320" y="477006"/>
                      </a:lnTo>
                      <a:lnTo>
                        <a:pt x="1256294" y="422652"/>
                      </a:lnTo>
                      <a:lnTo>
                        <a:pt x="1222608" y="382029"/>
                      </a:lnTo>
                      <a:lnTo>
                        <a:pt x="1185671" y="409627"/>
                      </a:lnTo>
                      <a:lnTo>
                        <a:pt x="1137967" y="466753"/>
                      </a:lnTo>
                      <a:cubicBezTo>
                        <a:pt x="1114385" y="500442"/>
                        <a:pt x="1142427" y="528195"/>
                        <a:pt x="1133475" y="546100"/>
                      </a:cubicBezTo>
                      <a:lnTo>
                        <a:pt x="1091504" y="555952"/>
                      </a:lnTo>
                      <a:cubicBezTo>
                        <a:pt x="1081236" y="583334"/>
                        <a:pt x="1069436" y="584684"/>
                        <a:pt x="1069436" y="600076"/>
                      </a:cubicBezTo>
                      <a:lnTo>
                        <a:pt x="1040938" y="666126"/>
                      </a:lnTo>
                      <a:lnTo>
                        <a:pt x="997418" y="781077"/>
                      </a:lnTo>
                      <a:lnTo>
                        <a:pt x="942590" y="867452"/>
                      </a:lnTo>
                      <a:lnTo>
                        <a:pt x="892025" y="892228"/>
                      </a:lnTo>
                      <a:lnTo>
                        <a:pt x="811949" y="854505"/>
                      </a:lnTo>
                      <a:lnTo>
                        <a:pt x="715770" y="758005"/>
                      </a:lnTo>
                      <a:lnTo>
                        <a:pt x="618975" y="631357"/>
                      </a:lnTo>
                      <a:lnTo>
                        <a:pt x="515984" y="543433"/>
                      </a:lnTo>
                      <a:lnTo>
                        <a:pt x="461003" y="621453"/>
                      </a:lnTo>
                      <a:lnTo>
                        <a:pt x="452168" y="682951"/>
                      </a:lnTo>
                      <a:lnTo>
                        <a:pt x="434975" y="717550"/>
                      </a:lnTo>
                      <a:lnTo>
                        <a:pt x="431800" y="755650"/>
                      </a:lnTo>
                      <a:lnTo>
                        <a:pt x="425450" y="793750"/>
                      </a:lnTo>
                      <a:lnTo>
                        <a:pt x="425450" y="831850"/>
                      </a:lnTo>
                      <a:lnTo>
                        <a:pt x="406634" y="859800"/>
                      </a:lnTo>
                      <a:lnTo>
                        <a:pt x="372098" y="884251"/>
                      </a:lnTo>
                      <a:lnTo>
                        <a:pt x="306122" y="848754"/>
                      </a:lnTo>
                      <a:lnTo>
                        <a:pt x="206619" y="764382"/>
                      </a:lnTo>
                      <a:lnTo>
                        <a:pt x="68164" y="578139"/>
                      </a:lnTo>
                      <a:lnTo>
                        <a:pt x="20067" y="491789"/>
                      </a:lnTo>
                      <a:lnTo>
                        <a:pt x="0" y="768350"/>
                      </a:lnTo>
                      <a:close/>
                    </a:path>
                  </a:pathLst>
                </a:custGeom>
                <a:gradFill>
                  <a:gsLst>
                    <a:gs pos="67000">
                      <a:srgbClr val="F2FFE5"/>
                    </a:gs>
                    <a:gs pos="11000">
                      <a:srgbClr val="FFFFFF"/>
                    </a:gs>
                  </a:gsLst>
                  <a:lin ang="0" scaled="1"/>
                </a:gra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F92D70BC-B3ED-49EF-974B-A30FDFD843C5}"/>
                    </a:ext>
                  </a:extLst>
                </p:cNvPr>
                <p:cNvSpPr/>
                <p:nvPr/>
              </p:nvSpPr>
              <p:spPr>
                <a:xfrm>
                  <a:off x="9618323" y="2851698"/>
                  <a:ext cx="1670844" cy="2282945"/>
                </a:xfrm>
                <a:custGeom>
                  <a:avLst/>
                  <a:gdLst>
                    <a:gd name="connsiteX0" fmla="*/ 1638300 w 1638300"/>
                    <a:gd name="connsiteY0" fmla="*/ 28575 h 2105025"/>
                    <a:gd name="connsiteX1" fmla="*/ 1628775 w 1638300"/>
                    <a:gd name="connsiteY1" fmla="*/ 2105025 h 2105025"/>
                    <a:gd name="connsiteX2" fmla="*/ 0 w 1638300"/>
                    <a:gd name="connsiteY2" fmla="*/ 2105025 h 2105025"/>
                    <a:gd name="connsiteX3" fmla="*/ 9525 w 1638300"/>
                    <a:gd name="connsiteY3" fmla="*/ 28575 h 2105025"/>
                    <a:gd name="connsiteX4" fmla="*/ 66675 w 1638300"/>
                    <a:gd name="connsiteY4" fmla="*/ 14288 h 2105025"/>
                    <a:gd name="connsiteX5" fmla="*/ 128587 w 1638300"/>
                    <a:gd name="connsiteY5" fmla="*/ 0 h 2105025"/>
                    <a:gd name="connsiteX6" fmla="*/ 204787 w 1638300"/>
                    <a:gd name="connsiteY6" fmla="*/ 23813 h 2105025"/>
                    <a:gd name="connsiteX7" fmla="*/ 257175 w 1638300"/>
                    <a:gd name="connsiteY7" fmla="*/ 52388 h 2105025"/>
                    <a:gd name="connsiteX8" fmla="*/ 295275 w 1638300"/>
                    <a:gd name="connsiteY8" fmla="*/ 71438 h 2105025"/>
                    <a:gd name="connsiteX9" fmla="*/ 352425 w 1638300"/>
                    <a:gd name="connsiteY9" fmla="*/ 104775 h 2105025"/>
                    <a:gd name="connsiteX10" fmla="*/ 404812 w 1638300"/>
                    <a:gd name="connsiteY10" fmla="*/ 171450 h 2105025"/>
                    <a:gd name="connsiteX11" fmla="*/ 447675 w 1638300"/>
                    <a:gd name="connsiteY11" fmla="*/ 204788 h 2105025"/>
                    <a:gd name="connsiteX12" fmla="*/ 481012 w 1638300"/>
                    <a:gd name="connsiteY12" fmla="*/ 233363 h 2105025"/>
                    <a:gd name="connsiteX13" fmla="*/ 504825 w 1638300"/>
                    <a:gd name="connsiteY13" fmla="*/ 252413 h 2105025"/>
                    <a:gd name="connsiteX14" fmla="*/ 542925 w 1638300"/>
                    <a:gd name="connsiteY14" fmla="*/ 280988 h 2105025"/>
                    <a:gd name="connsiteX15" fmla="*/ 614362 w 1638300"/>
                    <a:gd name="connsiteY15" fmla="*/ 338138 h 2105025"/>
                    <a:gd name="connsiteX16" fmla="*/ 661987 w 1638300"/>
                    <a:gd name="connsiteY16" fmla="*/ 371475 h 2105025"/>
                    <a:gd name="connsiteX17" fmla="*/ 700087 w 1638300"/>
                    <a:gd name="connsiteY17" fmla="*/ 414338 h 2105025"/>
                    <a:gd name="connsiteX18" fmla="*/ 742950 w 1638300"/>
                    <a:gd name="connsiteY18" fmla="*/ 433388 h 2105025"/>
                    <a:gd name="connsiteX19" fmla="*/ 781050 w 1638300"/>
                    <a:gd name="connsiteY19" fmla="*/ 447675 h 2105025"/>
                    <a:gd name="connsiteX20" fmla="*/ 852487 w 1638300"/>
                    <a:gd name="connsiteY20" fmla="*/ 461963 h 2105025"/>
                    <a:gd name="connsiteX21" fmla="*/ 952500 w 1638300"/>
                    <a:gd name="connsiteY21" fmla="*/ 471488 h 2105025"/>
                    <a:gd name="connsiteX22" fmla="*/ 1052512 w 1638300"/>
                    <a:gd name="connsiteY22" fmla="*/ 461963 h 2105025"/>
                    <a:gd name="connsiteX23" fmla="*/ 1152525 w 1638300"/>
                    <a:gd name="connsiteY23" fmla="*/ 447675 h 2105025"/>
                    <a:gd name="connsiteX24" fmla="*/ 1243012 w 1638300"/>
                    <a:gd name="connsiteY24" fmla="*/ 423863 h 2105025"/>
                    <a:gd name="connsiteX25" fmla="*/ 1285875 w 1638300"/>
                    <a:gd name="connsiteY25" fmla="*/ 414338 h 2105025"/>
                    <a:gd name="connsiteX26" fmla="*/ 1300162 w 1638300"/>
                    <a:gd name="connsiteY26" fmla="*/ 409575 h 2105025"/>
                    <a:gd name="connsiteX27" fmla="*/ 1333500 w 1638300"/>
                    <a:gd name="connsiteY27" fmla="*/ 390525 h 2105025"/>
                    <a:gd name="connsiteX28" fmla="*/ 1390650 w 1638300"/>
                    <a:gd name="connsiteY28" fmla="*/ 371475 h 2105025"/>
                    <a:gd name="connsiteX29" fmla="*/ 1447800 w 1638300"/>
                    <a:gd name="connsiteY29" fmla="*/ 328613 h 2105025"/>
                    <a:gd name="connsiteX30" fmla="*/ 1495425 w 1638300"/>
                    <a:gd name="connsiteY30" fmla="*/ 276225 h 2105025"/>
                    <a:gd name="connsiteX31" fmla="*/ 1528762 w 1638300"/>
                    <a:gd name="connsiteY31" fmla="*/ 252413 h 2105025"/>
                    <a:gd name="connsiteX32" fmla="*/ 1581150 w 1638300"/>
                    <a:gd name="connsiteY32" fmla="*/ 190500 h 2105025"/>
                    <a:gd name="connsiteX33" fmla="*/ 1619250 w 1638300"/>
                    <a:gd name="connsiteY33" fmla="*/ 123825 h 2105025"/>
                    <a:gd name="connsiteX34" fmla="*/ 1638300 w 1638300"/>
                    <a:gd name="connsiteY34" fmla="*/ 28575 h 2105025"/>
                    <a:gd name="connsiteX0" fmla="*/ 1638300 w 1638300"/>
                    <a:gd name="connsiteY0" fmla="*/ 203667 h 2280117"/>
                    <a:gd name="connsiteX1" fmla="*/ 1628775 w 1638300"/>
                    <a:gd name="connsiteY1" fmla="*/ 2280117 h 2280117"/>
                    <a:gd name="connsiteX2" fmla="*/ 0 w 1638300"/>
                    <a:gd name="connsiteY2" fmla="*/ 2280117 h 2280117"/>
                    <a:gd name="connsiteX3" fmla="*/ 46487 w 1638300"/>
                    <a:gd name="connsiteY3" fmla="*/ 0 h 2280117"/>
                    <a:gd name="connsiteX4" fmla="*/ 66675 w 1638300"/>
                    <a:gd name="connsiteY4" fmla="*/ 189380 h 2280117"/>
                    <a:gd name="connsiteX5" fmla="*/ 128587 w 1638300"/>
                    <a:gd name="connsiteY5" fmla="*/ 175092 h 2280117"/>
                    <a:gd name="connsiteX6" fmla="*/ 204787 w 1638300"/>
                    <a:gd name="connsiteY6" fmla="*/ 198905 h 2280117"/>
                    <a:gd name="connsiteX7" fmla="*/ 257175 w 1638300"/>
                    <a:gd name="connsiteY7" fmla="*/ 227480 h 2280117"/>
                    <a:gd name="connsiteX8" fmla="*/ 295275 w 1638300"/>
                    <a:gd name="connsiteY8" fmla="*/ 246530 h 2280117"/>
                    <a:gd name="connsiteX9" fmla="*/ 352425 w 1638300"/>
                    <a:gd name="connsiteY9" fmla="*/ 279867 h 2280117"/>
                    <a:gd name="connsiteX10" fmla="*/ 404812 w 1638300"/>
                    <a:gd name="connsiteY10" fmla="*/ 346542 h 2280117"/>
                    <a:gd name="connsiteX11" fmla="*/ 447675 w 1638300"/>
                    <a:gd name="connsiteY11" fmla="*/ 379880 h 2280117"/>
                    <a:gd name="connsiteX12" fmla="*/ 481012 w 1638300"/>
                    <a:gd name="connsiteY12" fmla="*/ 408455 h 2280117"/>
                    <a:gd name="connsiteX13" fmla="*/ 504825 w 1638300"/>
                    <a:gd name="connsiteY13" fmla="*/ 427505 h 2280117"/>
                    <a:gd name="connsiteX14" fmla="*/ 542925 w 1638300"/>
                    <a:gd name="connsiteY14" fmla="*/ 456080 h 2280117"/>
                    <a:gd name="connsiteX15" fmla="*/ 614362 w 1638300"/>
                    <a:gd name="connsiteY15" fmla="*/ 513230 h 2280117"/>
                    <a:gd name="connsiteX16" fmla="*/ 661987 w 1638300"/>
                    <a:gd name="connsiteY16" fmla="*/ 546567 h 2280117"/>
                    <a:gd name="connsiteX17" fmla="*/ 700087 w 1638300"/>
                    <a:gd name="connsiteY17" fmla="*/ 589430 h 2280117"/>
                    <a:gd name="connsiteX18" fmla="*/ 742950 w 1638300"/>
                    <a:gd name="connsiteY18" fmla="*/ 608480 h 2280117"/>
                    <a:gd name="connsiteX19" fmla="*/ 781050 w 1638300"/>
                    <a:gd name="connsiteY19" fmla="*/ 622767 h 2280117"/>
                    <a:gd name="connsiteX20" fmla="*/ 852487 w 1638300"/>
                    <a:gd name="connsiteY20" fmla="*/ 637055 h 2280117"/>
                    <a:gd name="connsiteX21" fmla="*/ 952500 w 1638300"/>
                    <a:gd name="connsiteY21" fmla="*/ 646580 h 2280117"/>
                    <a:gd name="connsiteX22" fmla="*/ 1052512 w 1638300"/>
                    <a:gd name="connsiteY22" fmla="*/ 637055 h 2280117"/>
                    <a:gd name="connsiteX23" fmla="*/ 1152525 w 1638300"/>
                    <a:gd name="connsiteY23" fmla="*/ 622767 h 2280117"/>
                    <a:gd name="connsiteX24" fmla="*/ 1243012 w 1638300"/>
                    <a:gd name="connsiteY24" fmla="*/ 598955 h 2280117"/>
                    <a:gd name="connsiteX25" fmla="*/ 1285875 w 1638300"/>
                    <a:gd name="connsiteY25" fmla="*/ 589430 h 2280117"/>
                    <a:gd name="connsiteX26" fmla="*/ 1300162 w 1638300"/>
                    <a:gd name="connsiteY26" fmla="*/ 584667 h 2280117"/>
                    <a:gd name="connsiteX27" fmla="*/ 1333500 w 1638300"/>
                    <a:gd name="connsiteY27" fmla="*/ 565617 h 2280117"/>
                    <a:gd name="connsiteX28" fmla="*/ 1390650 w 1638300"/>
                    <a:gd name="connsiteY28" fmla="*/ 546567 h 2280117"/>
                    <a:gd name="connsiteX29" fmla="*/ 1447800 w 1638300"/>
                    <a:gd name="connsiteY29" fmla="*/ 503705 h 2280117"/>
                    <a:gd name="connsiteX30" fmla="*/ 1495425 w 1638300"/>
                    <a:gd name="connsiteY30" fmla="*/ 451317 h 2280117"/>
                    <a:gd name="connsiteX31" fmla="*/ 1528762 w 1638300"/>
                    <a:gd name="connsiteY31" fmla="*/ 427505 h 2280117"/>
                    <a:gd name="connsiteX32" fmla="*/ 1581150 w 1638300"/>
                    <a:gd name="connsiteY32" fmla="*/ 365592 h 2280117"/>
                    <a:gd name="connsiteX33" fmla="*/ 1619250 w 1638300"/>
                    <a:gd name="connsiteY33" fmla="*/ 298917 h 2280117"/>
                    <a:gd name="connsiteX34" fmla="*/ 1638300 w 1638300"/>
                    <a:gd name="connsiteY34" fmla="*/ 203667 h 2280117"/>
                    <a:gd name="connsiteX0" fmla="*/ 1641098 w 1641098"/>
                    <a:gd name="connsiteY0" fmla="*/ 206495 h 2282945"/>
                    <a:gd name="connsiteX1" fmla="*/ 1631573 w 1641098"/>
                    <a:gd name="connsiteY1" fmla="*/ 2282945 h 2282945"/>
                    <a:gd name="connsiteX2" fmla="*/ 2798 w 1641098"/>
                    <a:gd name="connsiteY2" fmla="*/ 2282945 h 2282945"/>
                    <a:gd name="connsiteX3" fmla="*/ 0 w 1641098"/>
                    <a:gd name="connsiteY3" fmla="*/ 0 h 2282945"/>
                    <a:gd name="connsiteX4" fmla="*/ 69473 w 1641098"/>
                    <a:gd name="connsiteY4" fmla="*/ 192208 h 2282945"/>
                    <a:gd name="connsiteX5" fmla="*/ 131385 w 1641098"/>
                    <a:gd name="connsiteY5" fmla="*/ 177920 h 2282945"/>
                    <a:gd name="connsiteX6" fmla="*/ 207585 w 1641098"/>
                    <a:gd name="connsiteY6" fmla="*/ 201733 h 2282945"/>
                    <a:gd name="connsiteX7" fmla="*/ 259973 w 1641098"/>
                    <a:gd name="connsiteY7" fmla="*/ 230308 h 2282945"/>
                    <a:gd name="connsiteX8" fmla="*/ 298073 w 1641098"/>
                    <a:gd name="connsiteY8" fmla="*/ 249358 h 2282945"/>
                    <a:gd name="connsiteX9" fmla="*/ 355223 w 1641098"/>
                    <a:gd name="connsiteY9" fmla="*/ 282695 h 2282945"/>
                    <a:gd name="connsiteX10" fmla="*/ 407610 w 1641098"/>
                    <a:gd name="connsiteY10" fmla="*/ 349370 h 2282945"/>
                    <a:gd name="connsiteX11" fmla="*/ 450473 w 1641098"/>
                    <a:gd name="connsiteY11" fmla="*/ 382708 h 2282945"/>
                    <a:gd name="connsiteX12" fmla="*/ 483810 w 1641098"/>
                    <a:gd name="connsiteY12" fmla="*/ 411283 h 2282945"/>
                    <a:gd name="connsiteX13" fmla="*/ 507623 w 1641098"/>
                    <a:gd name="connsiteY13" fmla="*/ 430333 h 2282945"/>
                    <a:gd name="connsiteX14" fmla="*/ 545723 w 1641098"/>
                    <a:gd name="connsiteY14" fmla="*/ 458908 h 2282945"/>
                    <a:gd name="connsiteX15" fmla="*/ 617160 w 1641098"/>
                    <a:gd name="connsiteY15" fmla="*/ 516058 h 2282945"/>
                    <a:gd name="connsiteX16" fmla="*/ 664785 w 1641098"/>
                    <a:gd name="connsiteY16" fmla="*/ 549395 h 2282945"/>
                    <a:gd name="connsiteX17" fmla="*/ 702885 w 1641098"/>
                    <a:gd name="connsiteY17" fmla="*/ 592258 h 2282945"/>
                    <a:gd name="connsiteX18" fmla="*/ 745748 w 1641098"/>
                    <a:gd name="connsiteY18" fmla="*/ 611308 h 2282945"/>
                    <a:gd name="connsiteX19" fmla="*/ 783848 w 1641098"/>
                    <a:gd name="connsiteY19" fmla="*/ 625595 h 2282945"/>
                    <a:gd name="connsiteX20" fmla="*/ 855285 w 1641098"/>
                    <a:gd name="connsiteY20" fmla="*/ 639883 h 2282945"/>
                    <a:gd name="connsiteX21" fmla="*/ 955298 w 1641098"/>
                    <a:gd name="connsiteY21" fmla="*/ 649408 h 2282945"/>
                    <a:gd name="connsiteX22" fmla="*/ 1055310 w 1641098"/>
                    <a:gd name="connsiteY22" fmla="*/ 639883 h 2282945"/>
                    <a:gd name="connsiteX23" fmla="*/ 1155323 w 1641098"/>
                    <a:gd name="connsiteY23" fmla="*/ 625595 h 2282945"/>
                    <a:gd name="connsiteX24" fmla="*/ 1245810 w 1641098"/>
                    <a:gd name="connsiteY24" fmla="*/ 601783 h 2282945"/>
                    <a:gd name="connsiteX25" fmla="*/ 1288673 w 1641098"/>
                    <a:gd name="connsiteY25" fmla="*/ 592258 h 2282945"/>
                    <a:gd name="connsiteX26" fmla="*/ 1302960 w 1641098"/>
                    <a:gd name="connsiteY26" fmla="*/ 587495 h 2282945"/>
                    <a:gd name="connsiteX27" fmla="*/ 1336298 w 1641098"/>
                    <a:gd name="connsiteY27" fmla="*/ 568445 h 2282945"/>
                    <a:gd name="connsiteX28" fmla="*/ 1393448 w 1641098"/>
                    <a:gd name="connsiteY28" fmla="*/ 549395 h 2282945"/>
                    <a:gd name="connsiteX29" fmla="*/ 1450598 w 1641098"/>
                    <a:gd name="connsiteY29" fmla="*/ 506533 h 2282945"/>
                    <a:gd name="connsiteX30" fmla="*/ 1498223 w 1641098"/>
                    <a:gd name="connsiteY30" fmla="*/ 454145 h 2282945"/>
                    <a:gd name="connsiteX31" fmla="*/ 1531560 w 1641098"/>
                    <a:gd name="connsiteY31" fmla="*/ 430333 h 2282945"/>
                    <a:gd name="connsiteX32" fmla="*/ 1583948 w 1641098"/>
                    <a:gd name="connsiteY32" fmla="*/ 368420 h 2282945"/>
                    <a:gd name="connsiteX33" fmla="*/ 1622048 w 1641098"/>
                    <a:gd name="connsiteY33" fmla="*/ 301745 h 2282945"/>
                    <a:gd name="connsiteX34" fmla="*/ 1641098 w 1641098"/>
                    <a:gd name="connsiteY34" fmla="*/ 206495 h 2282945"/>
                    <a:gd name="connsiteX0" fmla="*/ 1641098 w 1641098"/>
                    <a:gd name="connsiteY0" fmla="*/ 206495 h 2282945"/>
                    <a:gd name="connsiteX1" fmla="*/ 1631573 w 1641098"/>
                    <a:gd name="connsiteY1" fmla="*/ 2282945 h 2282945"/>
                    <a:gd name="connsiteX2" fmla="*/ 2798 w 1641098"/>
                    <a:gd name="connsiteY2" fmla="*/ 2282945 h 2282945"/>
                    <a:gd name="connsiteX3" fmla="*/ 0 w 1641098"/>
                    <a:gd name="connsiteY3" fmla="*/ 0 h 2282945"/>
                    <a:gd name="connsiteX4" fmla="*/ 139292 w 1641098"/>
                    <a:gd name="connsiteY4" fmla="*/ 16828 h 2282945"/>
                    <a:gd name="connsiteX5" fmla="*/ 131385 w 1641098"/>
                    <a:gd name="connsiteY5" fmla="*/ 177920 h 2282945"/>
                    <a:gd name="connsiteX6" fmla="*/ 207585 w 1641098"/>
                    <a:gd name="connsiteY6" fmla="*/ 201733 h 2282945"/>
                    <a:gd name="connsiteX7" fmla="*/ 259973 w 1641098"/>
                    <a:gd name="connsiteY7" fmla="*/ 230308 h 2282945"/>
                    <a:gd name="connsiteX8" fmla="*/ 298073 w 1641098"/>
                    <a:gd name="connsiteY8" fmla="*/ 249358 h 2282945"/>
                    <a:gd name="connsiteX9" fmla="*/ 355223 w 1641098"/>
                    <a:gd name="connsiteY9" fmla="*/ 282695 h 2282945"/>
                    <a:gd name="connsiteX10" fmla="*/ 407610 w 1641098"/>
                    <a:gd name="connsiteY10" fmla="*/ 349370 h 2282945"/>
                    <a:gd name="connsiteX11" fmla="*/ 450473 w 1641098"/>
                    <a:gd name="connsiteY11" fmla="*/ 382708 h 2282945"/>
                    <a:gd name="connsiteX12" fmla="*/ 483810 w 1641098"/>
                    <a:gd name="connsiteY12" fmla="*/ 411283 h 2282945"/>
                    <a:gd name="connsiteX13" fmla="*/ 507623 w 1641098"/>
                    <a:gd name="connsiteY13" fmla="*/ 430333 h 2282945"/>
                    <a:gd name="connsiteX14" fmla="*/ 545723 w 1641098"/>
                    <a:gd name="connsiteY14" fmla="*/ 458908 h 2282945"/>
                    <a:gd name="connsiteX15" fmla="*/ 617160 w 1641098"/>
                    <a:gd name="connsiteY15" fmla="*/ 516058 h 2282945"/>
                    <a:gd name="connsiteX16" fmla="*/ 664785 w 1641098"/>
                    <a:gd name="connsiteY16" fmla="*/ 549395 h 2282945"/>
                    <a:gd name="connsiteX17" fmla="*/ 702885 w 1641098"/>
                    <a:gd name="connsiteY17" fmla="*/ 592258 h 2282945"/>
                    <a:gd name="connsiteX18" fmla="*/ 745748 w 1641098"/>
                    <a:gd name="connsiteY18" fmla="*/ 611308 h 2282945"/>
                    <a:gd name="connsiteX19" fmla="*/ 783848 w 1641098"/>
                    <a:gd name="connsiteY19" fmla="*/ 625595 h 2282945"/>
                    <a:gd name="connsiteX20" fmla="*/ 855285 w 1641098"/>
                    <a:gd name="connsiteY20" fmla="*/ 639883 h 2282945"/>
                    <a:gd name="connsiteX21" fmla="*/ 955298 w 1641098"/>
                    <a:gd name="connsiteY21" fmla="*/ 649408 h 2282945"/>
                    <a:gd name="connsiteX22" fmla="*/ 1055310 w 1641098"/>
                    <a:gd name="connsiteY22" fmla="*/ 639883 h 2282945"/>
                    <a:gd name="connsiteX23" fmla="*/ 1155323 w 1641098"/>
                    <a:gd name="connsiteY23" fmla="*/ 625595 h 2282945"/>
                    <a:gd name="connsiteX24" fmla="*/ 1245810 w 1641098"/>
                    <a:gd name="connsiteY24" fmla="*/ 601783 h 2282945"/>
                    <a:gd name="connsiteX25" fmla="*/ 1288673 w 1641098"/>
                    <a:gd name="connsiteY25" fmla="*/ 592258 h 2282945"/>
                    <a:gd name="connsiteX26" fmla="*/ 1302960 w 1641098"/>
                    <a:gd name="connsiteY26" fmla="*/ 587495 h 2282945"/>
                    <a:gd name="connsiteX27" fmla="*/ 1336298 w 1641098"/>
                    <a:gd name="connsiteY27" fmla="*/ 568445 h 2282945"/>
                    <a:gd name="connsiteX28" fmla="*/ 1393448 w 1641098"/>
                    <a:gd name="connsiteY28" fmla="*/ 549395 h 2282945"/>
                    <a:gd name="connsiteX29" fmla="*/ 1450598 w 1641098"/>
                    <a:gd name="connsiteY29" fmla="*/ 506533 h 2282945"/>
                    <a:gd name="connsiteX30" fmla="*/ 1498223 w 1641098"/>
                    <a:gd name="connsiteY30" fmla="*/ 454145 h 2282945"/>
                    <a:gd name="connsiteX31" fmla="*/ 1531560 w 1641098"/>
                    <a:gd name="connsiteY31" fmla="*/ 430333 h 2282945"/>
                    <a:gd name="connsiteX32" fmla="*/ 1583948 w 1641098"/>
                    <a:gd name="connsiteY32" fmla="*/ 368420 h 2282945"/>
                    <a:gd name="connsiteX33" fmla="*/ 1622048 w 1641098"/>
                    <a:gd name="connsiteY33" fmla="*/ 301745 h 2282945"/>
                    <a:gd name="connsiteX34" fmla="*/ 1641098 w 1641098"/>
                    <a:gd name="connsiteY34" fmla="*/ 206495 h 2282945"/>
                    <a:gd name="connsiteX0" fmla="*/ 1641098 w 1641098"/>
                    <a:gd name="connsiteY0" fmla="*/ 206495 h 2282945"/>
                    <a:gd name="connsiteX1" fmla="*/ 1631573 w 1641098"/>
                    <a:gd name="connsiteY1" fmla="*/ 2282945 h 2282945"/>
                    <a:gd name="connsiteX2" fmla="*/ 2798 w 1641098"/>
                    <a:gd name="connsiteY2" fmla="*/ 2282945 h 2282945"/>
                    <a:gd name="connsiteX3" fmla="*/ 0 w 1641098"/>
                    <a:gd name="connsiteY3" fmla="*/ 0 h 2282945"/>
                    <a:gd name="connsiteX4" fmla="*/ 139292 w 1641098"/>
                    <a:gd name="connsiteY4" fmla="*/ 16828 h 2282945"/>
                    <a:gd name="connsiteX5" fmla="*/ 232007 w 1641098"/>
                    <a:gd name="connsiteY5" fmla="*/ 59114 h 2282945"/>
                    <a:gd name="connsiteX6" fmla="*/ 207585 w 1641098"/>
                    <a:gd name="connsiteY6" fmla="*/ 201733 h 2282945"/>
                    <a:gd name="connsiteX7" fmla="*/ 259973 w 1641098"/>
                    <a:gd name="connsiteY7" fmla="*/ 230308 h 2282945"/>
                    <a:gd name="connsiteX8" fmla="*/ 298073 w 1641098"/>
                    <a:gd name="connsiteY8" fmla="*/ 249358 h 2282945"/>
                    <a:gd name="connsiteX9" fmla="*/ 355223 w 1641098"/>
                    <a:gd name="connsiteY9" fmla="*/ 282695 h 2282945"/>
                    <a:gd name="connsiteX10" fmla="*/ 407610 w 1641098"/>
                    <a:gd name="connsiteY10" fmla="*/ 349370 h 2282945"/>
                    <a:gd name="connsiteX11" fmla="*/ 450473 w 1641098"/>
                    <a:gd name="connsiteY11" fmla="*/ 382708 h 2282945"/>
                    <a:gd name="connsiteX12" fmla="*/ 483810 w 1641098"/>
                    <a:gd name="connsiteY12" fmla="*/ 411283 h 2282945"/>
                    <a:gd name="connsiteX13" fmla="*/ 507623 w 1641098"/>
                    <a:gd name="connsiteY13" fmla="*/ 430333 h 2282945"/>
                    <a:gd name="connsiteX14" fmla="*/ 545723 w 1641098"/>
                    <a:gd name="connsiteY14" fmla="*/ 458908 h 2282945"/>
                    <a:gd name="connsiteX15" fmla="*/ 617160 w 1641098"/>
                    <a:gd name="connsiteY15" fmla="*/ 516058 h 2282945"/>
                    <a:gd name="connsiteX16" fmla="*/ 664785 w 1641098"/>
                    <a:gd name="connsiteY16" fmla="*/ 549395 h 2282945"/>
                    <a:gd name="connsiteX17" fmla="*/ 702885 w 1641098"/>
                    <a:gd name="connsiteY17" fmla="*/ 592258 h 2282945"/>
                    <a:gd name="connsiteX18" fmla="*/ 745748 w 1641098"/>
                    <a:gd name="connsiteY18" fmla="*/ 611308 h 2282945"/>
                    <a:gd name="connsiteX19" fmla="*/ 783848 w 1641098"/>
                    <a:gd name="connsiteY19" fmla="*/ 625595 h 2282945"/>
                    <a:gd name="connsiteX20" fmla="*/ 855285 w 1641098"/>
                    <a:gd name="connsiteY20" fmla="*/ 639883 h 2282945"/>
                    <a:gd name="connsiteX21" fmla="*/ 955298 w 1641098"/>
                    <a:gd name="connsiteY21" fmla="*/ 649408 h 2282945"/>
                    <a:gd name="connsiteX22" fmla="*/ 1055310 w 1641098"/>
                    <a:gd name="connsiteY22" fmla="*/ 639883 h 2282945"/>
                    <a:gd name="connsiteX23" fmla="*/ 1155323 w 1641098"/>
                    <a:gd name="connsiteY23" fmla="*/ 625595 h 2282945"/>
                    <a:gd name="connsiteX24" fmla="*/ 1245810 w 1641098"/>
                    <a:gd name="connsiteY24" fmla="*/ 601783 h 2282945"/>
                    <a:gd name="connsiteX25" fmla="*/ 1288673 w 1641098"/>
                    <a:gd name="connsiteY25" fmla="*/ 592258 h 2282945"/>
                    <a:gd name="connsiteX26" fmla="*/ 1302960 w 1641098"/>
                    <a:gd name="connsiteY26" fmla="*/ 587495 h 2282945"/>
                    <a:gd name="connsiteX27" fmla="*/ 1336298 w 1641098"/>
                    <a:gd name="connsiteY27" fmla="*/ 568445 h 2282945"/>
                    <a:gd name="connsiteX28" fmla="*/ 1393448 w 1641098"/>
                    <a:gd name="connsiteY28" fmla="*/ 549395 h 2282945"/>
                    <a:gd name="connsiteX29" fmla="*/ 1450598 w 1641098"/>
                    <a:gd name="connsiteY29" fmla="*/ 506533 h 2282945"/>
                    <a:gd name="connsiteX30" fmla="*/ 1498223 w 1641098"/>
                    <a:gd name="connsiteY30" fmla="*/ 454145 h 2282945"/>
                    <a:gd name="connsiteX31" fmla="*/ 1531560 w 1641098"/>
                    <a:gd name="connsiteY31" fmla="*/ 430333 h 2282945"/>
                    <a:gd name="connsiteX32" fmla="*/ 1583948 w 1641098"/>
                    <a:gd name="connsiteY32" fmla="*/ 368420 h 2282945"/>
                    <a:gd name="connsiteX33" fmla="*/ 1622048 w 1641098"/>
                    <a:gd name="connsiteY33" fmla="*/ 301745 h 2282945"/>
                    <a:gd name="connsiteX34" fmla="*/ 1641098 w 1641098"/>
                    <a:gd name="connsiteY34" fmla="*/ 206495 h 2282945"/>
                    <a:gd name="connsiteX0" fmla="*/ 1641098 w 1641098"/>
                    <a:gd name="connsiteY0" fmla="*/ 206495 h 2282945"/>
                    <a:gd name="connsiteX1" fmla="*/ 1631573 w 1641098"/>
                    <a:gd name="connsiteY1" fmla="*/ 2282945 h 2282945"/>
                    <a:gd name="connsiteX2" fmla="*/ 2798 w 1641098"/>
                    <a:gd name="connsiteY2" fmla="*/ 2282945 h 2282945"/>
                    <a:gd name="connsiteX3" fmla="*/ 0 w 1641098"/>
                    <a:gd name="connsiteY3" fmla="*/ 0 h 2282945"/>
                    <a:gd name="connsiteX4" fmla="*/ 139292 w 1641098"/>
                    <a:gd name="connsiteY4" fmla="*/ 16828 h 2282945"/>
                    <a:gd name="connsiteX5" fmla="*/ 232007 w 1641098"/>
                    <a:gd name="connsiteY5" fmla="*/ 59114 h 2282945"/>
                    <a:gd name="connsiteX6" fmla="*/ 351330 w 1641098"/>
                    <a:gd name="connsiteY6" fmla="*/ 142330 h 2282945"/>
                    <a:gd name="connsiteX7" fmla="*/ 259973 w 1641098"/>
                    <a:gd name="connsiteY7" fmla="*/ 230308 h 2282945"/>
                    <a:gd name="connsiteX8" fmla="*/ 298073 w 1641098"/>
                    <a:gd name="connsiteY8" fmla="*/ 249358 h 2282945"/>
                    <a:gd name="connsiteX9" fmla="*/ 355223 w 1641098"/>
                    <a:gd name="connsiteY9" fmla="*/ 282695 h 2282945"/>
                    <a:gd name="connsiteX10" fmla="*/ 407610 w 1641098"/>
                    <a:gd name="connsiteY10" fmla="*/ 349370 h 2282945"/>
                    <a:gd name="connsiteX11" fmla="*/ 450473 w 1641098"/>
                    <a:gd name="connsiteY11" fmla="*/ 382708 h 2282945"/>
                    <a:gd name="connsiteX12" fmla="*/ 483810 w 1641098"/>
                    <a:gd name="connsiteY12" fmla="*/ 411283 h 2282945"/>
                    <a:gd name="connsiteX13" fmla="*/ 507623 w 1641098"/>
                    <a:gd name="connsiteY13" fmla="*/ 430333 h 2282945"/>
                    <a:gd name="connsiteX14" fmla="*/ 545723 w 1641098"/>
                    <a:gd name="connsiteY14" fmla="*/ 458908 h 2282945"/>
                    <a:gd name="connsiteX15" fmla="*/ 617160 w 1641098"/>
                    <a:gd name="connsiteY15" fmla="*/ 516058 h 2282945"/>
                    <a:gd name="connsiteX16" fmla="*/ 664785 w 1641098"/>
                    <a:gd name="connsiteY16" fmla="*/ 549395 h 2282945"/>
                    <a:gd name="connsiteX17" fmla="*/ 702885 w 1641098"/>
                    <a:gd name="connsiteY17" fmla="*/ 592258 h 2282945"/>
                    <a:gd name="connsiteX18" fmla="*/ 745748 w 1641098"/>
                    <a:gd name="connsiteY18" fmla="*/ 611308 h 2282945"/>
                    <a:gd name="connsiteX19" fmla="*/ 783848 w 1641098"/>
                    <a:gd name="connsiteY19" fmla="*/ 625595 h 2282945"/>
                    <a:gd name="connsiteX20" fmla="*/ 855285 w 1641098"/>
                    <a:gd name="connsiteY20" fmla="*/ 639883 h 2282945"/>
                    <a:gd name="connsiteX21" fmla="*/ 955298 w 1641098"/>
                    <a:gd name="connsiteY21" fmla="*/ 649408 h 2282945"/>
                    <a:gd name="connsiteX22" fmla="*/ 1055310 w 1641098"/>
                    <a:gd name="connsiteY22" fmla="*/ 639883 h 2282945"/>
                    <a:gd name="connsiteX23" fmla="*/ 1155323 w 1641098"/>
                    <a:gd name="connsiteY23" fmla="*/ 625595 h 2282945"/>
                    <a:gd name="connsiteX24" fmla="*/ 1245810 w 1641098"/>
                    <a:gd name="connsiteY24" fmla="*/ 601783 h 2282945"/>
                    <a:gd name="connsiteX25" fmla="*/ 1288673 w 1641098"/>
                    <a:gd name="connsiteY25" fmla="*/ 592258 h 2282945"/>
                    <a:gd name="connsiteX26" fmla="*/ 1302960 w 1641098"/>
                    <a:gd name="connsiteY26" fmla="*/ 587495 h 2282945"/>
                    <a:gd name="connsiteX27" fmla="*/ 1336298 w 1641098"/>
                    <a:gd name="connsiteY27" fmla="*/ 568445 h 2282945"/>
                    <a:gd name="connsiteX28" fmla="*/ 1393448 w 1641098"/>
                    <a:gd name="connsiteY28" fmla="*/ 549395 h 2282945"/>
                    <a:gd name="connsiteX29" fmla="*/ 1450598 w 1641098"/>
                    <a:gd name="connsiteY29" fmla="*/ 506533 h 2282945"/>
                    <a:gd name="connsiteX30" fmla="*/ 1498223 w 1641098"/>
                    <a:gd name="connsiteY30" fmla="*/ 454145 h 2282945"/>
                    <a:gd name="connsiteX31" fmla="*/ 1531560 w 1641098"/>
                    <a:gd name="connsiteY31" fmla="*/ 430333 h 2282945"/>
                    <a:gd name="connsiteX32" fmla="*/ 1583948 w 1641098"/>
                    <a:gd name="connsiteY32" fmla="*/ 368420 h 2282945"/>
                    <a:gd name="connsiteX33" fmla="*/ 1622048 w 1641098"/>
                    <a:gd name="connsiteY33" fmla="*/ 301745 h 2282945"/>
                    <a:gd name="connsiteX34" fmla="*/ 1641098 w 1641098"/>
                    <a:gd name="connsiteY34" fmla="*/ 206495 h 2282945"/>
                    <a:gd name="connsiteX0" fmla="*/ 1641098 w 1641098"/>
                    <a:gd name="connsiteY0" fmla="*/ 206495 h 2282945"/>
                    <a:gd name="connsiteX1" fmla="*/ 1631573 w 1641098"/>
                    <a:gd name="connsiteY1" fmla="*/ 2282945 h 2282945"/>
                    <a:gd name="connsiteX2" fmla="*/ 2798 w 1641098"/>
                    <a:gd name="connsiteY2" fmla="*/ 2282945 h 2282945"/>
                    <a:gd name="connsiteX3" fmla="*/ 0 w 1641098"/>
                    <a:gd name="connsiteY3" fmla="*/ 0 h 2282945"/>
                    <a:gd name="connsiteX4" fmla="*/ 139292 w 1641098"/>
                    <a:gd name="connsiteY4" fmla="*/ 16828 h 2282945"/>
                    <a:gd name="connsiteX5" fmla="*/ 232007 w 1641098"/>
                    <a:gd name="connsiteY5" fmla="*/ 59114 h 2282945"/>
                    <a:gd name="connsiteX6" fmla="*/ 351330 w 1641098"/>
                    <a:gd name="connsiteY6" fmla="*/ 142330 h 2282945"/>
                    <a:gd name="connsiteX7" fmla="*/ 298073 w 1641098"/>
                    <a:gd name="connsiteY7" fmla="*/ 249358 h 2282945"/>
                    <a:gd name="connsiteX8" fmla="*/ 355223 w 1641098"/>
                    <a:gd name="connsiteY8" fmla="*/ 282695 h 2282945"/>
                    <a:gd name="connsiteX9" fmla="*/ 407610 w 1641098"/>
                    <a:gd name="connsiteY9" fmla="*/ 349370 h 2282945"/>
                    <a:gd name="connsiteX10" fmla="*/ 450473 w 1641098"/>
                    <a:gd name="connsiteY10" fmla="*/ 382708 h 2282945"/>
                    <a:gd name="connsiteX11" fmla="*/ 483810 w 1641098"/>
                    <a:gd name="connsiteY11" fmla="*/ 411283 h 2282945"/>
                    <a:gd name="connsiteX12" fmla="*/ 507623 w 1641098"/>
                    <a:gd name="connsiteY12" fmla="*/ 430333 h 2282945"/>
                    <a:gd name="connsiteX13" fmla="*/ 545723 w 1641098"/>
                    <a:gd name="connsiteY13" fmla="*/ 458908 h 2282945"/>
                    <a:gd name="connsiteX14" fmla="*/ 617160 w 1641098"/>
                    <a:gd name="connsiteY14" fmla="*/ 516058 h 2282945"/>
                    <a:gd name="connsiteX15" fmla="*/ 664785 w 1641098"/>
                    <a:gd name="connsiteY15" fmla="*/ 549395 h 2282945"/>
                    <a:gd name="connsiteX16" fmla="*/ 702885 w 1641098"/>
                    <a:gd name="connsiteY16" fmla="*/ 592258 h 2282945"/>
                    <a:gd name="connsiteX17" fmla="*/ 745748 w 1641098"/>
                    <a:gd name="connsiteY17" fmla="*/ 611308 h 2282945"/>
                    <a:gd name="connsiteX18" fmla="*/ 783848 w 1641098"/>
                    <a:gd name="connsiteY18" fmla="*/ 625595 h 2282945"/>
                    <a:gd name="connsiteX19" fmla="*/ 855285 w 1641098"/>
                    <a:gd name="connsiteY19" fmla="*/ 639883 h 2282945"/>
                    <a:gd name="connsiteX20" fmla="*/ 955298 w 1641098"/>
                    <a:gd name="connsiteY20" fmla="*/ 649408 h 2282945"/>
                    <a:gd name="connsiteX21" fmla="*/ 1055310 w 1641098"/>
                    <a:gd name="connsiteY21" fmla="*/ 639883 h 2282945"/>
                    <a:gd name="connsiteX22" fmla="*/ 1155323 w 1641098"/>
                    <a:gd name="connsiteY22" fmla="*/ 625595 h 2282945"/>
                    <a:gd name="connsiteX23" fmla="*/ 1245810 w 1641098"/>
                    <a:gd name="connsiteY23" fmla="*/ 601783 h 2282945"/>
                    <a:gd name="connsiteX24" fmla="*/ 1288673 w 1641098"/>
                    <a:gd name="connsiteY24" fmla="*/ 592258 h 2282945"/>
                    <a:gd name="connsiteX25" fmla="*/ 1302960 w 1641098"/>
                    <a:gd name="connsiteY25" fmla="*/ 587495 h 2282945"/>
                    <a:gd name="connsiteX26" fmla="*/ 1336298 w 1641098"/>
                    <a:gd name="connsiteY26" fmla="*/ 568445 h 2282945"/>
                    <a:gd name="connsiteX27" fmla="*/ 1393448 w 1641098"/>
                    <a:gd name="connsiteY27" fmla="*/ 549395 h 2282945"/>
                    <a:gd name="connsiteX28" fmla="*/ 1450598 w 1641098"/>
                    <a:gd name="connsiteY28" fmla="*/ 506533 h 2282945"/>
                    <a:gd name="connsiteX29" fmla="*/ 1498223 w 1641098"/>
                    <a:gd name="connsiteY29" fmla="*/ 454145 h 2282945"/>
                    <a:gd name="connsiteX30" fmla="*/ 1531560 w 1641098"/>
                    <a:gd name="connsiteY30" fmla="*/ 430333 h 2282945"/>
                    <a:gd name="connsiteX31" fmla="*/ 1583948 w 1641098"/>
                    <a:gd name="connsiteY31" fmla="*/ 368420 h 2282945"/>
                    <a:gd name="connsiteX32" fmla="*/ 1622048 w 1641098"/>
                    <a:gd name="connsiteY32" fmla="*/ 301745 h 2282945"/>
                    <a:gd name="connsiteX33" fmla="*/ 1641098 w 1641098"/>
                    <a:gd name="connsiteY33" fmla="*/ 206495 h 2282945"/>
                    <a:gd name="connsiteX0" fmla="*/ 1641098 w 1641098"/>
                    <a:gd name="connsiteY0" fmla="*/ 206495 h 2282945"/>
                    <a:gd name="connsiteX1" fmla="*/ 1631573 w 1641098"/>
                    <a:gd name="connsiteY1" fmla="*/ 2282945 h 2282945"/>
                    <a:gd name="connsiteX2" fmla="*/ 2798 w 1641098"/>
                    <a:gd name="connsiteY2" fmla="*/ 2282945 h 2282945"/>
                    <a:gd name="connsiteX3" fmla="*/ 0 w 1641098"/>
                    <a:gd name="connsiteY3" fmla="*/ 0 h 2282945"/>
                    <a:gd name="connsiteX4" fmla="*/ 139292 w 1641098"/>
                    <a:gd name="connsiteY4" fmla="*/ 16828 h 2282945"/>
                    <a:gd name="connsiteX5" fmla="*/ 232007 w 1641098"/>
                    <a:gd name="connsiteY5" fmla="*/ 59114 h 2282945"/>
                    <a:gd name="connsiteX6" fmla="*/ 351330 w 1641098"/>
                    <a:gd name="connsiteY6" fmla="*/ 142330 h 2282945"/>
                    <a:gd name="connsiteX7" fmla="*/ 429498 w 1641098"/>
                    <a:gd name="connsiteY7" fmla="*/ 240872 h 2282945"/>
                    <a:gd name="connsiteX8" fmla="*/ 355223 w 1641098"/>
                    <a:gd name="connsiteY8" fmla="*/ 282695 h 2282945"/>
                    <a:gd name="connsiteX9" fmla="*/ 407610 w 1641098"/>
                    <a:gd name="connsiteY9" fmla="*/ 349370 h 2282945"/>
                    <a:gd name="connsiteX10" fmla="*/ 450473 w 1641098"/>
                    <a:gd name="connsiteY10" fmla="*/ 382708 h 2282945"/>
                    <a:gd name="connsiteX11" fmla="*/ 483810 w 1641098"/>
                    <a:gd name="connsiteY11" fmla="*/ 411283 h 2282945"/>
                    <a:gd name="connsiteX12" fmla="*/ 507623 w 1641098"/>
                    <a:gd name="connsiteY12" fmla="*/ 430333 h 2282945"/>
                    <a:gd name="connsiteX13" fmla="*/ 545723 w 1641098"/>
                    <a:gd name="connsiteY13" fmla="*/ 458908 h 2282945"/>
                    <a:gd name="connsiteX14" fmla="*/ 617160 w 1641098"/>
                    <a:gd name="connsiteY14" fmla="*/ 516058 h 2282945"/>
                    <a:gd name="connsiteX15" fmla="*/ 664785 w 1641098"/>
                    <a:gd name="connsiteY15" fmla="*/ 549395 h 2282945"/>
                    <a:gd name="connsiteX16" fmla="*/ 702885 w 1641098"/>
                    <a:gd name="connsiteY16" fmla="*/ 592258 h 2282945"/>
                    <a:gd name="connsiteX17" fmla="*/ 745748 w 1641098"/>
                    <a:gd name="connsiteY17" fmla="*/ 611308 h 2282945"/>
                    <a:gd name="connsiteX18" fmla="*/ 783848 w 1641098"/>
                    <a:gd name="connsiteY18" fmla="*/ 625595 h 2282945"/>
                    <a:gd name="connsiteX19" fmla="*/ 855285 w 1641098"/>
                    <a:gd name="connsiteY19" fmla="*/ 639883 h 2282945"/>
                    <a:gd name="connsiteX20" fmla="*/ 955298 w 1641098"/>
                    <a:gd name="connsiteY20" fmla="*/ 649408 h 2282945"/>
                    <a:gd name="connsiteX21" fmla="*/ 1055310 w 1641098"/>
                    <a:gd name="connsiteY21" fmla="*/ 639883 h 2282945"/>
                    <a:gd name="connsiteX22" fmla="*/ 1155323 w 1641098"/>
                    <a:gd name="connsiteY22" fmla="*/ 625595 h 2282945"/>
                    <a:gd name="connsiteX23" fmla="*/ 1245810 w 1641098"/>
                    <a:gd name="connsiteY23" fmla="*/ 601783 h 2282945"/>
                    <a:gd name="connsiteX24" fmla="*/ 1288673 w 1641098"/>
                    <a:gd name="connsiteY24" fmla="*/ 592258 h 2282945"/>
                    <a:gd name="connsiteX25" fmla="*/ 1302960 w 1641098"/>
                    <a:gd name="connsiteY25" fmla="*/ 587495 h 2282945"/>
                    <a:gd name="connsiteX26" fmla="*/ 1336298 w 1641098"/>
                    <a:gd name="connsiteY26" fmla="*/ 568445 h 2282945"/>
                    <a:gd name="connsiteX27" fmla="*/ 1393448 w 1641098"/>
                    <a:gd name="connsiteY27" fmla="*/ 549395 h 2282945"/>
                    <a:gd name="connsiteX28" fmla="*/ 1450598 w 1641098"/>
                    <a:gd name="connsiteY28" fmla="*/ 506533 h 2282945"/>
                    <a:gd name="connsiteX29" fmla="*/ 1498223 w 1641098"/>
                    <a:gd name="connsiteY29" fmla="*/ 454145 h 2282945"/>
                    <a:gd name="connsiteX30" fmla="*/ 1531560 w 1641098"/>
                    <a:gd name="connsiteY30" fmla="*/ 430333 h 2282945"/>
                    <a:gd name="connsiteX31" fmla="*/ 1583948 w 1641098"/>
                    <a:gd name="connsiteY31" fmla="*/ 368420 h 2282945"/>
                    <a:gd name="connsiteX32" fmla="*/ 1622048 w 1641098"/>
                    <a:gd name="connsiteY32" fmla="*/ 301745 h 2282945"/>
                    <a:gd name="connsiteX33" fmla="*/ 1641098 w 1641098"/>
                    <a:gd name="connsiteY33" fmla="*/ 206495 h 2282945"/>
                    <a:gd name="connsiteX0" fmla="*/ 1641098 w 1641098"/>
                    <a:gd name="connsiteY0" fmla="*/ 206495 h 2282945"/>
                    <a:gd name="connsiteX1" fmla="*/ 1631573 w 1641098"/>
                    <a:gd name="connsiteY1" fmla="*/ 2282945 h 2282945"/>
                    <a:gd name="connsiteX2" fmla="*/ 2798 w 1641098"/>
                    <a:gd name="connsiteY2" fmla="*/ 2282945 h 2282945"/>
                    <a:gd name="connsiteX3" fmla="*/ 0 w 1641098"/>
                    <a:gd name="connsiteY3" fmla="*/ 0 h 2282945"/>
                    <a:gd name="connsiteX4" fmla="*/ 139292 w 1641098"/>
                    <a:gd name="connsiteY4" fmla="*/ 16828 h 2282945"/>
                    <a:gd name="connsiteX5" fmla="*/ 232007 w 1641098"/>
                    <a:gd name="connsiteY5" fmla="*/ 59114 h 2282945"/>
                    <a:gd name="connsiteX6" fmla="*/ 351330 w 1641098"/>
                    <a:gd name="connsiteY6" fmla="*/ 142330 h 2282945"/>
                    <a:gd name="connsiteX7" fmla="*/ 429498 w 1641098"/>
                    <a:gd name="connsiteY7" fmla="*/ 240872 h 2282945"/>
                    <a:gd name="connsiteX8" fmla="*/ 484593 w 1641098"/>
                    <a:gd name="connsiteY8" fmla="*/ 302496 h 2282945"/>
                    <a:gd name="connsiteX9" fmla="*/ 407610 w 1641098"/>
                    <a:gd name="connsiteY9" fmla="*/ 349370 h 2282945"/>
                    <a:gd name="connsiteX10" fmla="*/ 450473 w 1641098"/>
                    <a:gd name="connsiteY10" fmla="*/ 382708 h 2282945"/>
                    <a:gd name="connsiteX11" fmla="*/ 483810 w 1641098"/>
                    <a:gd name="connsiteY11" fmla="*/ 411283 h 2282945"/>
                    <a:gd name="connsiteX12" fmla="*/ 507623 w 1641098"/>
                    <a:gd name="connsiteY12" fmla="*/ 430333 h 2282945"/>
                    <a:gd name="connsiteX13" fmla="*/ 545723 w 1641098"/>
                    <a:gd name="connsiteY13" fmla="*/ 458908 h 2282945"/>
                    <a:gd name="connsiteX14" fmla="*/ 617160 w 1641098"/>
                    <a:gd name="connsiteY14" fmla="*/ 516058 h 2282945"/>
                    <a:gd name="connsiteX15" fmla="*/ 664785 w 1641098"/>
                    <a:gd name="connsiteY15" fmla="*/ 549395 h 2282945"/>
                    <a:gd name="connsiteX16" fmla="*/ 702885 w 1641098"/>
                    <a:gd name="connsiteY16" fmla="*/ 592258 h 2282945"/>
                    <a:gd name="connsiteX17" fmla="*/ 745748 w 1641098"/>
                    <a:gd name="connsiteY17" fmla="*/ 611308 h 2282945"/>
                    <a:gd name="connsiteX18" fmla="*/ 783848 w 1641098"/>
                    <a:gd name="connsiteY18" fmla="*/ 625595 h 2282945"/>
                    <a:gd name="connsiteX19" fmla="*/ 855285 w 1641098"/>
                    <a:gd name="connsiteY19" fmla="*/ 639883 h 2282945"/>
                    <a:gd name="connsiteX20" fmla="*/ 955298 w 1641098"/>
                    <a:gd name="connsiteY20" fmla="*/ 649408 h 2282945"/>
                    <a:gd name="connsiteX21" fmla="*/ 1055310 w 1641098"/>
                    <a:gd name="connsiteY21" fmla="*/ 639883 h 2282945"/>
                    <a:gd name="connsiteX22" fmla="*/ 1155323 w 1641098"/>
                    <a:gd name="connsiteY22" fmla="*/ 625595 h 2282945"/>
                    <a:gd name="connsiteX23" fmla="*/ 1245810 w 1641098"/>
                    <a:gd name="connsiteY23" fmla="*/ 601783 h 2282945"/>
                    <a:gd name="connsiteX24" fmla="*/ 1288673 w 1641098"/>
                    <a:gd name="connsiteY24" fmla="*/ 592258 h 2282945"/>
                    <a:gd name="connsiteX25" fmla="*/ 1302960 w 1641098"/>
                    <a:gd name="connsiteY25" fmla="*/ 587495 h 2282945"/>
                    <a:gd name="connsiteX26" fmla="*/ 1336298 w 1641098"/>
                    <a:gd name="connsiteY26" fmla="*/ 568445 h 2282945"/>
                    <a:gd name="connsiteX27" fmla="*/ 1393448 w 1641098"/>
                    <a:gd name="connsiteY27" fmla="*/ 549395 h 2282945"/>
                    <a:gd name="connsiteX28" fmla="*/ 1450598 w 1641098"/>
                    <a:gd name="connsiteY28" fmla="*/ 506533 h 2282945"/>
                    <a:gd name="connsiteX29" fmla="*/ 1498223 w 1641098"/>
                    <a:gd name="connsiteY29" fmla="*/ 454145 h 2282945"/>
                    <a:gd name="connsiteX30" fmla="*/ 1531560 w 1641098"/>
                    <a:gd name="connsiteY30" fmla="*/ 430333 h 2282945"/>
                    <a:gd name="connsiteX31" fmla="*/ 1583948 w 1641098"/>
                    <a:gd name="connsiteY31" fmla="*/ 368420 h 2282945"/>
                    <a:gd name="connsiteX32" fmla="*/ 1622048 w 1641098"/>
                    <a:gd name="connsiteY32" fmla="*/ 301745 h 2282945"/>
                    <a:gd name="connsiteX33" fmla="*/ 1641098 w 1641098"/>
                    <a:gd name="connsiteY33" fmla="*/ 206495 h 2282945"/>
                    <a:gd name="connsiteX0" fmla="*/ 1641098 w 1641098"/>
                    <a:gd name="connsiteY0" fmla="*/ 206495 h 2282945"/>
                    <a:gd name="connsiteX1" fmla="*/ 1631573 w 1641098"/>
                    <a:gd name="connsiteY1" fmla="*/ 2282945 h 2282945"/>
                    <a:gd name="connsiteX2" fmla="*/ 2798 w 1641098"/>
                    <a:gd name="connsiteY2" fmla="*/ 2282945 h 2282945"/>
                    <a:gd name="connsiteX3" fmla="*/ 0 w 1641098"/>
                    <a:gd name="connsiteY3" fmla="*/ 0 h 2282945"/>
                    <a:gd name="connsiteX4" fmla="*/ 139292 w 1641098"/>
                    <a:gd name="connsiteY4" fmla="*/ 16828 h 2282945"/>
                    <a:gd name="connsiteX5" fmla="*/ 232007 w 1641098"/>
                    <a:gd name="connsiteY5" fmla="*/ 59114 h 2282945"/>
                    <a:gd name="connsiteX6" fmla="*/ 351330 w 1641098"/>
                    <a:gd name="connsiteY6" fmla="*/ 142330 h 2282945"/>
                    <a:gd name="connsiteX7" fmla="*/ 429498 w 1641098"/>
                    <a:gd name="connsiteY7" fmla="*/ 240872 h 2282945"/>
                    <a:gd name="connsiteX8" fmla="*/ 484593 w 1641098"/>
                    <a:gd name="connsiteY8" fmla="*/ 302496 h 2282945"/>
                    <a:gd name="connsiteX9" fmla="*/ 450473 w 1641098"/>
                    <a:gd name="connsiteY9" fmla="*/ 382708 h 2282945"/>
                    <a:gd name="connsiteX10" fmla="*/ 483810 w 1641098"/>
                    <a:gd name="connsiteY10" fmla="*/ 411283 h 2282945"/>
                    <a:gd name="connsiteX11" fmla="*/ 507623 w 1641098"/>
                    <a:gd name="connsiteY11" fmla="*/ 430333 h 2282945"/>
                    <a:gd name="connsiteX12" fmla="*/ 545723 w 1641098"/>
                    <a:gd name="connsiteY12" fmla="*/ 458908 h 2282945"/>
                    <a:gd name="connsiteX13" fmla="*/ 617160 w 1641098"/>
                    <a:gd name="connsiteY13" fmla="*/ 516058 h 2282945"/>
                    <a:gd name="connsiteX14" fmla="*/ 664785 w 1641098"/>
                    <a:gd name="connsiteY14" fmla="*/ 549395 h 2282945"/>
                    <a:gd name="connsiteX15" fmla="*/ 702885 w 1641098"/>
                    <a:gd name="connsiteY15" fmla="*/ 592258 h 2282945"/>
                    <a:gd name="connsiteX16" fmla="*/ 745748 w 1641098"/>
                    <a:gd name="connsiteY16" fmla="*/ 611308 h 2282945"/>
                    <a:gd name="connsiteX17" fmla="*/ 783848 w 1641098"/>
                    <a:gd name="connsiteY17" fmla="*/ 625595 h 2282945"/>
                    <a:gd name="connsiteX18" fmla="*/ 855285 w 1641098"/>
                    <a:gd name="connsiteY18" fmla="*/ 639883 h 2282945"/>
                    <a:gd name="connsiteX19" fmla="*/ 955298 w 1641098"/>
                    <a:gd name="connsiteY19" fmla="*/ 649408 h 2282945"/>
                    <a:gd name="connsiteX20" fmla="*/ 1055310 w 1641098"/>
                    <a:gd name="connsiteY20" fmla="*/ 639883 h 2282945"/>
                    <a:gd name="connsiteX21" fmla="*/ 1155323 w 1641098"/>
                    <a:gd name="connsiteY21" fmla="*/ 625595 h 2282945"/>
                    <a:gd name="connsiteX22" fmla="*/ 1245810 w 1641098"/>
                    <a:gd name="connsiteY22" fmla="*/ 601783 h 2282945"/>
                    <a:gd name="connsiteX23" fmla="*/ 1288673 w 1641098"/>
                    <a:gd name="connsiteY23" fmla="*/ 592258 h 2282945"/>
                    <a:gd name="connsiteX24" fmla="*/ 1302960 w 1641098"/>
                    <a:gd name="connsiteY24" fmla="*/ 587495 h 2282945"/>
                    <a:gd name="connsiteX25" fmla="*/ 1336298 w 1641098"/>
                    <a:gd name="connsiteY25" fmla="*/ 568445 h 2282945"/>
                    <a:gd name="connsiteX26" fmla="*/ 1393448 w 1641098"/>
                    <a:gd name="connsiteY26" fmla="*/ 549395 h 2282945"/>
                    <a:gd name="connsiteX27" fmla="*/ 1450598 w 1641098"/>
                    <a:gd name="connsiteY27" fmla="*/ 506533 h 2282945"/>
                    <a:gd name="connsiteX28" fmla="*/ 1498223 w 1641098"/>
                    <a:gd name="connsiteY28" fmla="*/ 454145 h 2282945"/>
                    <a:gd name="connsiteX29" fmla="*/ 1531560 w 1641098"/>
                    <a:gd name="connsiteY29" fmla="*/ 430333 h 2282945"/>
                    <a:gd name="connsiteX30" fmla="*/ 1583948 w 1641098"/>
                    <a:gd name="connsiteY30" fmla="*/ 368420 h 2282945"/>
                    <a:gd name="connsiteX31" fmla="*/ 1622048 w 1641098"/>
                    <a:gd name="connsiteY31" fmla="*/ 301745 h 2282945"/>
                    <a:gd name="connsiteX32" fmla="*/ 1641098 w 1641098"/>
                    <a:gd name="connsiteY32" fmla="*/ 206495 h 2282945"/>
                    <a:gd name="connsiteX0" fmla="*/ 1641098 w 1641098"/>
                    <a:gd name="connsiteY0" fmla="*/ 206495 h 2282945"/>
                    <a:gd name="connsiteX1" fmla="*/ 1631573 w 1641098"/>
                    <a:gd name="connsiteY1" fmla="*/ 2282945 h 2282945"/>
                    <a:gd name="connsiteX2" fmla="*/ 2798 w 1641098"/>
                    <a:gd name="connsiteY2" fmla="*/ 2282945 h 2282945"/>
                    <a:gd name="connsiteX3" fmla="*/ 0 w 1641098"/>
                    <a:gd name="connsiteY3" fmla="*/ 0 h 2282945"/>
                    <a:gd name="connsiteX4" fmla="*/ 139292 w 1641098"/>
                    <a:gd name="connsiteY4" fmla="*/ 16828 h 2282945"/>
                    <a:gd name="connsiteX5" fmla="*/ 232007 w 1641098"/>
                    <a:gd name="connsiteY5" fmla="*/ 59114 h 2282945"/>
                    <a:gd name="connsiteX6" fmla="*/ 351330 w 1641098"/>
                    <a:gd name="connsiteY6" fmla="*/ 142330 h 2282945"/>
                    <a:gd name="connsiteX7" fmla="*/ 429498 w 1641098"/>
                    <a:gd name="connsiteY7" fmla="*/ 240872 h 2282945"/>
                    <a:gd name="connsiteX8" fmla="*/ 484593 w 1641098"/>
                    <a:gd name="connsiteY8" fmla="*/ 302496 h 2282945"/>
                    <a:gd name="connsiteX9" fmla="*/ 526452 w 1641098"/>
                    <a:gd name="connsiteY9" fmla="*/ 379880 h 2282945"/>
                    <a:gd name="connsiteX10" fmla="*/ 483810 w 1641098"/>
                    <a:gd name="connsiteY10" fmla="*/ 411283 h 2282945"/>
                    <a:gd name="connsiteX11" fmla="*/ 507623 w 1641098"/>
                    <a:gd name="connsiteY11" fmla="*/ 430333 h 2282945"/>
                    <a:gd name="connsiteX12" fmla="*/ 545723 w 1641098"/>
                    <a:gd name="connsiteY12" fmla="*/ 458908 h 2282945"/>
                    <a:gd name="connsiteX13" fmla="*/ 617160 w 1641098"/>
                    <a:gd name="connsiteY13" fmla="*/ 516058 h 2282945"/>
                    <a:gd name="connsiteX14" fmla="*/ 664785 w 1641098"/>
                    <a:gd name="connsiteY14" fmla="*/ 549395 h 2282945"/>
                    <a:gd name="connsiteX15" fmla="*/ 702885 w 1641098"/>
                    <a:gd name="connsiteY15" fmla="*/ 592258 h 2282945"/>
                    <a:gd name="connsiteX16" fmla="*/ 745748 w 1641098"/>
                    <a:gd name="connsiteY16" fmla="*/ 611308 h 2282945"/>
                    <a:gd name="connsiteX17" fmla="*/ 783848 w 1641098"/>
                    <a:gd name="connsiteY17" fmla="*/ 625595 h 2282945"/>
                    <a:gd name="connsiteX18" fmla="*/ 855285 w 1641098"/>
                    <a:gd name="connsiteY18" fmla="*/ 639883 h 2282945"/>
                    <a:gd name="connsiteX19" fmla="*/ 955298 w 1641098"/>
                    <a:gd name="connsiteY19" fmla="*/ 649408 h 2282945"/>
                    <a:gd name="connsiteX20" fmla="*/ 1055310 w 1641098"/>
                    <a:gd name="connsiteY20" fmla="*/ 639883 h 2282945"/>
                    <a:gd name="connsiteX21" fmla="*/ 1155323 w 1641098"/>
                    <a:gd name="connsiteY21" fmla="*/ 625595 h 2282945"/>
                    <a:gd name="connsiteX22" fmla="*/ 1245810 w 1641098"/>
                    <a:gd name="connsiteY22" fmla="*/ 601783 h 2282945"/>
                    <a:gd name="connsiteX23" fmla="*/ 1288673 w 1641098"/>
                    <a:gd name="connsiteY23" fmla="*/ 592258 h 2282945"/>
                    <a:gd name="connsiteX24" fmla="*/ 1302960 w 1641098"/>
                    <a:gd name="connsiteY24" fmla="*/ 587495 h 2282945"/>
                    <a:gd name="connsiteX25" fmla="*/ 1336298 w 1641098"/>
                    <a:gd name="connsiteY25" fmla="*/ 568445 h 2282945"/>
                    <a:gd name="connsiteX26" fmla="*/ 1393448 w 1641098"/>
                    <a:gd name="connsiteY26" fmla="*/ 549395 h 2282945"/>
                    <a:gd name="connsiteX27" fmla="*/ 1450598 w 1641098"/>
                    <a:gd name="connsiteY27" fmla="*/ 506533 h 2282945"/>
                    <a:gd name="connsiteX28" fmla="*/ 1498223 w 1641098"/>
                    <a:gd name="connsiteY28" fmla="*/ 454145 h 2282945"/>
                    <a:gd name="connsiteX29" fmla="*/ 1531560 w 1641098"/>
                    <a:gd name="connsiteY29" fmla="*/ 430333 h 2282945"/>
                    <a:gd name="connsiteX30" fmla="*/ 1583948 w 1641098"/>
                    <a:gd name="connsiteY30" fmla="*/ 368420 h 2282945"/>
                    <a:gd name="connsiteX31" fmla="*/ 1622048 w 1641098"/>
                    <a:gd name="connsiteY31" fmla="*/ 301745 h 2282945"/>
                    <a:gd name="connsiteX32" fmla="*/ 1641098 w 1641098"/>
                    <a:gd name="connsiteY32" fmla="*/ 206495 h 2282945"/>
                    <a:gd name="connsiteX0" fmla="*/ 1641098 w 1641098"/>
                    <a:gd name="connsiteY0" fmla="*/ 206495 h 2282945"/>
                    <a:gd name="connsiteX1" fmla="*/ 1631573 w 1641098"/>
                    <a:gd name="connsiteY1" fmla="*/ 2282945 h 2282945"/>
                    <a:gd name="connsiteX2" fmla="*/ 2798 w 1641098"/>
                    <a:gd name="connsiteY2" fmla="*/ 2282945 h 2282945"/>
                    <a:gd name="connsiteX3" fmla="*/ 0 w 1641098"/>
                    <a:gd name="connsiteY3" fmla="*/ 0 h 2282945"/>
                    <a:gd name="connsiteX4" fmla="*/ 139292 w 1641098"/>
                    <a:gd name="connsiteY4" fmla="*/ 16828 h 2282945"/>
                    <a:gd name="connsiteX5" fmla="*/ 232007 w 1641098"/>
                    <a:gd name="connsiteY5" fmla="*/ 59114 h 2282945"/>
                    <a:gd name="connsiteX6" fmla="*/ 351330 w 1641098"/>
                    <a:gd name="connsiteY6" fmla="*/ 142330 h 2282945"/>
                    <a:gd name="connsiteX7" fmla="*/ 429498 w 1641098"/>
                    <a:gd name="connsiteY7" fmla="*/ 240872 h 2282945"/>
                    <a:gd name="connsiteX8" fmla="*/ 484593 w 1641098"/>
                    <a:gd name="connsiteY8" fmla="*/ 302496 h 2282945"/>
                    <a:gd name="connsiteX9" fmla="*/ 526452 w 1641098"/>
                    <a:gd name="connsiteY9" fmla="*/ 379880 h 2282945"/>
                    <a:gd name="connsiteX10" fmla="*/ 507623 w 1641098"/>
                    <a:gd name="connsiteY10" fmla="*/ 430333 h 2282945"/>
                    <a:gd name="connsiteX11" fmla="*/ 545723 w 1641098"/>
                    <a:gd name="connsiteY11" fmla="*/ 458908 h 2282945"/>
                    <a:gd name="connsiteX12" fmla="*/ 617160 w 1641098"/>
                    <a:gd name="connsiteY12" fmla="*/ 516058 h 2282945"/>
                    <a:gd name="connsiteX13" fmla="*/ 664785 w 1641098"/>
                    <a:gd name="connsiteY13" fmla="*/ 549395 h 2282945"/>
                    <a:gd name="connsiteX14" fmla="*/ 702885 w 1641098"/>
                    <a:gd name="connsiteY14" fmla="*/ 592258 h 2282945"/>
                    <a:gd name="connsiteX15" fmla="*/ 745748 w 1641098"/>
                    <a:gd name="connsiteY15" fmla="*/ 611308 h 2282945"/>
                    <a:gd name="connsiteX16" fmla="*/ 783848 w 1641098"/>
                    <a:gd name="connsiteY16" fmla="*/ 625595 h 2282945"/>
                    <a:gd name="connsiteX17" fmla="*/ 855285 w 1641098"/>
                    <a:gd name="connsiteY17" fmla="*/ 639883 h 2282945"/>
                    <a:gd name="connsiteX18" fmla="*/ 955298 w 1641098"/>
                    <a:gd name="connsiteY18" fmla="*/ 649408 h 2282945"/>
                    <a:gd name="connsiteX19" fmla="*/ 1055310 w 1641098"/>
                    <a:gd name="connsiteY19" fmla="*/ 639883 h 2282945"/>
                    <a:gd name="connsiteX20" fmla="*/ 1155323 w 1641098"/>
                    <a:gd name="connsiteY20" fmla="*/ 625595 h 2282945"/>
                    <a:gd name="connsiteX21" fmla="*/ 1245810 w 1641098"/>
                    <a:gd name="connsiteY21" fmla="*/ 601783 h 2282945"/>
                    <a:gd name="connsiteX22" fmla="*/ 1288673 w 1641098"/>
                    <a:gd name="connsiteY22" fmla="*/ 592258 h 2282945"/>
                    <a:gd name="connsiteX23" fmla="*/ 1302960 w 1641098"/>
                    <a:gd name="connsiteY23" fmla="*/ 587495 h 2282945"/>
                    <a:gd name="connsiteX24" fmla="*/ 1336298 w 1641098"/>
                    <a:gd name="connsiteY24" fmla="*/ 568445 h 2282945"/>
                    <a:gd name="connsiteX25" fmla="*/ 1393448 w 1641098"/>
                    <a:gd name="connsiteY25" fmla="*/ 549395 h 2282945"/>
                    <a:gd name="connsiteX26" fmla="*/ 1450598 w 1641098"/>
                    <a:gd name="connsiteY26" fmla="*/ 506533 h 2282945"/>
                    <a:gd name="connsiteX27" fmla="*/ 1498223 w 1641098"/>
                    <a:gd name="connsiteY27" fmla="*/ 454145 h 2282945"/>
                    <a:gd name="connsiteX28" fmla="*/ 1531560 w 1641098"/>
                    <a:gd name="connsiteY28" fmla="*/ 430333 h 2282945"/>
                    <a:gd name="connsiteX29" fmla="*/ 1583948 w 1641098"/>
                    <a:gd name="connsiteY29" fmla="*/ 368420 h 2282945"/>
                    <a:gd name="connsiteX30" fmla="*/ 1622048 w 1641098"/>
                    <a:gd name="connsiteY30" fmla="*/ 301745 h 2282945"/>
                    <a:gd name="connsiteX31" fmla="*/ 1641098 w 1641098"/>
                    <a:gd name="connsiteY31" fmla="*/ 206495 h 2282945"/>
                    <a:gd name="connsiteX0" fmla="*/ 1641098 w 1641098"/>
                    <a:gd name="connsiteY0" fmla="*/ 206495 h 2282945"/>
                    <a:gd name="connsiteX1" fmla="*/ 1631573 w 1641098"/>
                    <a:gd name="connsiteY1" fmla="*/ 2282945 h 2282945"/>
                    <a:gd name="connsiteX2" fmla="*/ 2798 w 1641098"/>
                    <a:gd name="connsiteY2" fmla="*/ 2282945 h 2282945"/>
                    <a:gd name="connsiteX3" fmla="*/ 0 w 1641098"/>
                    <a:gd name="connsiteY3" fmla="*/ 0 h 2282945"/>
                    <a:gd name="connsiteX4" fmla="*/ 139292 w 1641098"/>
                    <a:gd name="connsiteY4" fmla="*/ 16828 h 2282945"/>
                    <a:gd name="connsiteX5" fmla="*/ 232007 w 1641098"/>
                    <a:gd name="connsiteY5" fmla="*/ 59114 h 2282945"/>
                    <a:gd name="connsiteX6" fmla="*/ 351330 w 1641098"/>
                    <a:gd name="connsiteY6" fmla="*/ 142330 h 2282945"/>
                    <a:gd name="connsiteX7" fmla="*/ 429498 w 1641098"/>
                    <a:gd name="connsiteY7" fmla="*/ 240872 h 2282945"/>
                    <a:gd name="connsiteX8" fmla="*/ 484593 w 1641098"/>
                    <a:gd name="connsiteY8" fmla="*/ 302496 h 2282945"/>
                    <a:gd name="connsiteX9" fmla="*/ 526452 w 1641098"/>
                    <a:gd name="connsiteY9" fmla="*/ 379880 h 2282945"/>
                    <a:gd name="connsiteX10" fmla="*/ 575389 w 1641098"/>
                    <a:gd name="connsiteY10" fmla="*/ 438819 h 2282945"/>
                    <a:gd name="connsiteX11" fmla="*/ 545723 w 1641098"/>
                    <a:gd name="connsiteY11" fmla="*/ 458908 h 2282945"/>
                    <a:gd name="connsiteX12" fmla="*/ 617160 w 1641098"/>
                    <a:gd name="connsiteY12" fmla="*/ 516058 h 2282945"/>
                    <a:gd name="connsiteX13" fmla="*/ 664785 w 1641098"/>
                    <a:gd name="connsiteY13" fmla="*/ 549395 h 2282945"/>
                    <a:gd name="connsiteX14" fmla="*/ 702885 w 1641098"/>
                    <a:gd name="connsiteY14" fmla="*/ 592258 h 2282945"/>
                    <a:gd name="connsiteX15" fmla="*/ 745748 w 1641098"/>
                    <a:gd name="connsiteY15" fmla="*/ 611308 h 2282945"/>
                    <a:gd name="connsiteX16" fmla="*/ 783848 w 1641098"/>
                    <a:gd name="connsiteY16" fmla="*/ 625595 h 2282945"/>
                    <a:gd name="connsiteX17" fmla="*/ 855285 w 1641098"/>
                    <a:gd name="connsiteY17" fmla="*/ 639883 h 2282945"/>
                    <a:gd name="connsiteX18" fmla="*/ 955298 w 1641098"/>
                    <a:gd name="connsiteY18" fmla="*/ 649408 h 2282945"/>
                    <a:gd name="connsiteX19" fmla="*/ 1055310 w 1641098"/>
                    <a:gd name="connsiteY19" fmla="*/ 639883 h 2282945"/>
                    <a:gd name="connsiteX20" fmla="*/ 1155323 w 1641098"/>
                    <a:gd name="connsiteY20" fmla="*/ 625595 h 2282945"/>
                    <a:gd name="connsiteX21" fmla="*/ 1245810 w 1641098"/>
                    <a:gd name="connsiteY21" fmla="*/ 601783 h 2282945"/>
                    <a:gd name="connsiteX22" fmla="*/ 1288673 w 1641098"/>
                    <a:gd name="connsiteY22" fmla="*/ 592258 h 2282945"/>
                    <a:gd name="connsiteX23" fmla="*/ 1302960 w 1641098"/>
                    <a:gd name="connsiteY23" fmla="*/ 587495 h 2282945"/>
                    <a:gd name="connsiteX24" fmla="*/ 1336298 w 1641098"/>
                    <a:gd name="connsiteY24" fmla="*/ 568445 h 2282945"/>
                    <a:gd name="connsiteX25" fmla="*/ 1393448 w 1641098"/>
                    <a:gd name="connsiteY25" fmla="*/ 549395 h 2282945"/>
                    <a:gd name="connsiteX26" fmla="*/ 1450598 w 1641098"/>
                    <a:gd name="connsiteY26" fmla="*/ 506533 h 2282945"/>
                    <a:gd name="connsiteX27" fmla="*/ 1498223 w 1641098"/>
                    <a:gd name="connsiteY27" fmla="*/ 454145 h 2282945"/>
                    <a:gd name="connsiteX28" fmla="*/ 1531560 w 1641098"/>
                    <a:gd name="connsiteY28" fmla="*/ 430333 h 2282945"/>
                    <a:gd name="connsiteX29" fmla="*/ 1583948 w 1641098"/>
                    <a:gd name="connsiteY29" fmla="*/ 368420 h 2282945"/>
                    <a:gd name="connsiteX30" fmla="*/ 1622048 w 1641098"/>
                    <a:gd name="connsiteY30" fmla="*/ 301745 h 2282945"/>
                    <a:gd name="connsiteX31" fmla="*/ 1641098 w 1641098"/>
                    <a:gd name="connsiteY31" fmla="*/ 206495 h 2282945"/>
                    <a:gd name="connsiteX0" fmla="*/ 1641098 w 1641098"/>
                    <a:gd name="connsiteY0" fmla="*/ 206495 h 2282945"/>
                    <a:gd name="connsiteX1" fmla="*/ 1631573 w 1641098"/>
                    <a:gd name="connsiteY1" fmla="*/ 2282945 h 2282945"/>
                    <a:gd name="connsiteX2" fmla="*/ 2798 w 1641098"/>
                    <a:gd name="connsiteY2" fmla="*/ 2282945 h 2282945"/>
                    <a:gd name="connsiteX3" fmla="*/ 0 w 1641098"/>
                    <a:gd name="connsiteY3" fmla="*/ 0 h 2282945"/>
                    <a:gd name="connsiteX4" fmla="*/ 139292 w 1641098"/>
                    <a:gd name="connsiteY4" fmla="*/ 16828 h 2282945"/>
                    <a:gd name="connsiteX5" fmla="*/ 232007 w 1641098"/>
                    <a:gd name="connsiteY5" fmla="*/ 59114 h 2282945"/>
                    <a:gd name="connsiteX6" fmla="*/ 351330 w 1641098"/>
                    <a:gd name="connsiteY6" fmla="*/ 142330 h 2282945"/>
                    <a:gd name="connsiteX7" fmla="*/ 429498 w 1641098"/>
                    <a:gd name="connsiteY7" fmla="*/ 240872 h 2282945"/>
                    <a:gd name="connsiteX8" fmla="*/ 484593 w 1641098"/>
                    <a:gd name="connsiteY8" fmla="*/ 302496 h 2282945"/>
                    <a:gd name="connsiteX9" fmla="*/ 526452 w 1641098"/>
                    <a:gd name="connsiteY9" fmla="*/ 379880 h 2282945"/>
                    <a:gd name="connsiteX10" fmla="*/ 575389 w 1641098"/>
                    <a:gd name="connsiteY10" fmla="*/ 438819 h 2282945"/>
                    <a:gd name="connsiteX11" fmla="*/ 617160 w 1641098"/>
                    <a:gd name="connsiteY11" fmla="*/ 516058 h 2282945"/>
                    <a:gd name="connsiteX12" fmla="*/ 664785 w 1641098"/>
                    <a:gd name="connsiteY12" fmla="*/ 549395 h 2282945"/>
                    <a:gd name="connsiteX13" fmla="*/ 702885 w 1641098"/>
                    <a:gd name="connsiteY13" fmla="*/ 592258 h 2282945"/>
                    <a:gd name="connsiteX14" fmla="*/ 745748 w 1641098"/>
                    <a:gd name="connsiteY14" fmla="*/ 611308 h 2282945"/>
                    <a:gd name="connsiteX15" fmla="*/ 783848 w 1641098"/>
                    <a:gd name="connsiteY15" fmla="*/ 625595 h 2282945"/>
                    <a:gd name="connsiteX16" fmla="*/ 855285 w 1641098"/>
                    <a:gd name="connsiteY16" fmla="*/ 639883 h 2282945"/>
                    <a:gd name="connsiteX17" fmla="*/ 955298 w 1641098"/>
                    <a:gd name="connsiteY17" fmla="*/ 649408 h 2282945"/>
                    <a:gd name="connsiteX18" fmla="*/ 1055310 w 1641098"/>
                    <a:gd name="connsiteY18" fmla="*/ 639883 h 2282945"/>
                    <a:gd name="connsiteX19" fmla="*/ 1155323 w 1641098"/>
                    <a:gd name="connsiteY19" fmla="*/ 625595 h 2282945"/>
                    <a:gd name="connsiteX20" fmla="*/ 1245810 w 1641098"/>
                    <a:gd name="connsiteY20" fmla="*/ 601783 h 2282945"/>
                    <a:gd name="connsiteX21" fmla="*/ 1288673 w 1641098"/>
                    <a:gd name="connsiteY21" fmla="*/ 592258 h 2282945"/>
                    <a:gd name="connsiteX22" fmla="*/ 1302960 w 1641098"/>
                    <a:gd name="connsiteY22" fmla="*/ 587495 h 2282945"/>
                    <a:gd name="connsiteX23" fmla="*/ 1336298 w 1641098"/>
                    <a:gd name="connsiteY23" fmla="*/ 568445 h 2282945"/>
                    <a:gd name="connsiteX24" fmla="*/ 1393448 w 1641098"/>
                    <a:gd name="connsiteY24" fmla="*/ 549395 h 2282945"/>
                    <a:gd name="connsiteX25" fmla="*/ 1450598 w 1641098"/>
                    <a:gd name="connsiteY25" fmla="*/ 506533 h 2282945"/>
                    <a:gd name="connsiteX26" fmla="*/ 1498223 w 1641098"/>
                    <a:gd name="connsiteY26" fmla="*/ 454145 h 2282945"/>
                    <a:gd name="connsiteX27" fmla="*/ 1531560 w 1641098"/>
                    <a:gd name="connsiteY27" fmla="*/ 430333 h 2282945"/>
                    <a:gd name="connsiteX28" fmla="*/ 1583948 w 1641098"/>
                    <a:gd name="connsiteY28" fmla="*/ 368420 h 2282945"/>
                    <a:gd name="connsiteX29" fmla="*/ 1622048 w 1641098"/>
                    <a:gd name="connsiteY29" fmla="*/ 301745 h 2282945"/>
                    <a:gd name="connsiteX30" fmla="*/ 1641098 w 1641098"/>
                    <a:gd name="connsiteY30" fmla="*/ 206495 h 2282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1641098" h="2282945">
                      <a:moveTo>
                        <a:pt x="1641098" y="206495"/>
                      </a:moveTo>
                      <a:lnTo>
                        <a:pt x="1631573" y="2282945"/>
                      </a:lnTo>
                      <a:lnTo>
                        <a:pt x="2798" y="2282945"/>
                      </a:lnTo>
                      <a:cubicBezTo>
                        <a:pt x="1865" y="1521963"/>
                        <a:pt x="933" y="760982"/>
                        <a:pt x="0" y="0"/>
                      </a:cubicBezTo>
                      <a:lnTo>
                        <a:pt x="139292" y="16828"/>
                      </a:lnTo>
                      <a:lnTo>
                        <a:pt x="232007" y="59114"/>
                      </a:lnTo>
                      <a:lnTo>
                        <a:pt x="351330" y="142330"/>
                      </a:lnTo>
                      <a:lnTo>
                        <a:pt x="429498" y="240872"/>
                      </a:lnTo>
                      <a:lnTo>
                        <a:pt x="484593" y="302496"/>
                      </a:lnTo>
                      <a:lnTo>
                        <a:pt x="526452" y="379880"/>
                      </a:lnTo>
                      <a:lnTo>
                        <a:pt x="575389" y="438819"/>
                      </a:lnTo>
                      <a:cubicBezTo>
                        <a:pt x="590507" y="461515"/>
                        <a:pt x="602261" y="497629"/>
                        <a:pt x="617160" y="516058"/>
                      </a:cubicBezTo>
                      <a:lnTo>
                        <a:pt x="664785" y="549395"/>
                      </a:lnTo>
                      <a:lnTo>
                        <a:pt x="702885" y="592258"/>
                      </a:lnTo>
                      <a:lnTo>
                        <a:pt x="745748" y="611308"/>
                      </a:lnTo>
                      <a:lnTo>
                        <a:pt x="783848" y="625595"/>
                      </a:lnTo>
                      <a:lnTo>
                        <a:pt x="855285" y="639883"/>
                      </a:lnTo>
                      <a:lnTo>
                        <a:pt x="955298" y="649408"/>
                      </a:lnTo>
                      <a:lnTo>
                        <a:pt x="1055310" y="639883"/>
                      </a:lnTo>
                      <a:lnTo>
                        <a:pt x="1155323" y="625595"/>
                      </a:lnTo>
                      <a:lnTo>
                        <a:pt x="1245810" y="601783"/>
                      </a:lnTo>
                      <a:cubicBezTo>
                        <a:pt x="1260098" y="598608"/>
                        <a:pt x="1274474" y="595808"/>
                        <a:pt x="1288673" y="592258"/>
                      </a:cubicBezTo>
                      <a:cubicBezTo>
                        <a:pt x="1293543" y="591040"/>
                        <a:pt x="1302960" y="587495"/>
                        <a:pt x="1302960" y="587495"/>
                      </a:cubicBezTo>
                      <a:lnTo>
                        <a:pt x="1336298" y="568445"/>
                      </a:lnTo>
                      <a:cubicBezTo>
                        <a:pt x="1383512" y="547461"/>
                        <a:pt x="1363525" y="549395"/>
                        <a:pt x="1393448" y="549395"/>
                      </a:cubicBezTo>
                      <a:lnTo>
                        <a:pt x="1450598" y="506533"/>
                      </a:lnTo>
                      <a:lnTo>
                        <a:pt x="1498223" y="454145"/>
                      </a:lnTo>
                      <a:lnTo>
                        <a:pt x="1531560" y="430333"/>
                      </a:lnTo>
                      <a:lnTo>
                        <a:pt x="1583948" y="368420"/>
                      </a:lnTo>
                      <a:lnTo>
                        <a:pt x="1622048" y="301745"/>
                      </a:lnTo>
                      <a:lnTo>
                        <a:pt x="1641098" y="206495"/>
                      </a:lnTo>
                      <a:close/>
                    </a:path>
                  </a:pathLst>
                </a:custGeom>
                <a:gradFill>
                  <a:gsLst>
                    <a:gs pos="89000">
                      <a:srgbClr val="5DBA00">
                        <a:lumMod val="75000"/>
                      </a:srgbClr>
                    </a:gs>
                    <a:gs pos="23000">
                      <a:srgbClr val="77EE00"/>
                    </a:gs>
                  </a:gsLst>
                  <a:lin ang="0" scaled="1"/>
                </a:gra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478ADDFC-8A66-4AB1-A8F2-6B8C3E150F77}"/>
                    </a:ext>
                  </a:extLst>
                </p:cNvPr>
                <p:cNvSpPr/>
                <p:nvPr/>
              </p:nvSpPr>
              <p:spPr>
                <a:xfrm>
                  <a:off x="7435850" y="2872456"/>
                  <a:ext cx="2207274" cy="2261523"/>
                </a:xfrm>
                <a:custGeom>
                  <a:avLst/>
                  <a:gdLst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31800 w 2216150"/>
                    <a:gd name="connsiteY40" fmla="*/ 590550 h 2082800"/>
                    <a:gd name="connsiteX41" fmla="*/ 422275 w 2216150"/>
                    <a:gd name="connsiteY41" fmla="*/ 574675 h 2082800"/>
                    <a:gd name="connsiteX42" fmla="*/ 412750 w 2216150"/>
                    <a:gd name="connsiteY42" fmla="*/ 546100 h 2082800"/>
                    <a:gd name="connsiteX43" fmla="*/ 400050 w 2216150"/>
                    <a:gd name="connsiteY43" fmla="*/ 514350 h 2082800"/>
                    <a:gd name="connsiteX44" fmla="*/ 381000 w 2216150"/>
                    <a:gd name="connsiteY44" fmla="*/ 476250 h 2082800"/>
                    <a:gd name="connsiteX45" fmla="*/ 365125 w 2216150"/>
                    <a:gd name="connsiteY45" fmla="*/ 447675 h 2082800"/>
                    <a:gd name="connsiteX46" fmla="*/ 358775 w 2216150"/>
                    <a:gd name="connsiteY46" fmla="*/ 434975 h 2082800"/>
                    <a:gd name="connsiteX47" fmla="*/ 342900 w 2216150"/>
                    <a:gd name="connsiteY47" fmla="*/ 412750 h 2082800"/>
                    <a:gd name="connsiteX48" fmla="*/ 307975 w 2216150"/>
                    <a:gd name="connsiteY48" fmla="*/ 371475 h 2082800"/>
                    <a:gd name="connsiteX49" fmla="*/ 254000 w 2216150"/>
                    <a:gd name="connsiteY49" fmla="*/ 346075 h 2082800"/>
                    <a:gd name="connsiteX50" fmla="*/ 215900 w 2216150"/>
                    <a:gd name="connsiteY50" fmla="*/ 342900 h 2082800"/>
                    <a:gd name="connsiteX51" fmla="*/ 177800 w 2216150"/>
                    <a:gd name="connsiteY51" fmla="*/ 339725 h 2082800"/>
                    <a:gd name="connsiteX52" fmla="*/ 130175 w 2216150"/>
                    <a:gd name="connsiteY52" fmla="*/ 339725 h 2082800"/>
                    <a:gd name="connsiteX53" fmla="*/ 104775 w 2216150"/>
                    <a:gd name="connsiteY53" fmla="*/ 346075 h 2082800"/>
                    <a:gd name="connsiteX54" fmla="*/ 0 w 2216150"/>
                    <a:gd name="connsiteY54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31800 w 2216150"/>
                    <a:gd name="connsiteY40" fmla="*/ 590550 h 2082800"/>
                    <a:gd name="connsiteX41" fmla="*/ 422275 w 2216150"/>
                    <a:gd name="connsiteY41" fmla="*/ 574675 h 2082800"/>
                    <a:gd name="connsiteX42" fmla="*/ 412750 w 2216150"/>
                    <a:gd name="connsiteY42" fmla="*/ 546100 h 2082800"/>
                    <a:gd name="connsiteX43" fmla="*/ 400050 w 2216150"/>
                    <a:gd name="connsiteY43" fmla="*/ 514350 h 2082800"/>
                    <a:gd name="connsiteX44" fmla="*/ 381000 w 2216150"/>
                    <a:gd name="connsiteY44" fmla="*/ 476250 h 2082800"/>
                    <a:gd name="connsiteX45" fmla="*/ 365125 w 2216150"/>
                    <a:gd name="connsiteY45" fmla="*/ 447675 h 2082800"/>
                    <a:gd name="connsiteX46" fmla="*/ 358775 w 2216150"/>
                    <a:gd name="connsiteY46" fmla="*/ 434975 h 2082800"/>
                    <a:gd name="connsiteX47" fmla="*/ 342900 w 2216150"/>
                    <a:gd name="connsiteY47" fmla="*/ 412750 h 2082800"/>
                    <a:gd name="connsiteX48" fmla="*/ 307975 w 2216150"/>
                    <a:gd name="connsiteY48" fmla="*/ 371475 h 2082800"/>
                    <a:gd name="connsiteX49" fmla="*/ 254000 w 2216150"/>
                    <a:gd name="connsiteY49" fmla="*/ 346075 h 2082800"/>
                    <a:gd name="connsiteX50" fmla="*/ 227095 w 2216150"/>
                    <a:gd name="connsiteY50" fmla="*/ 303551 h 2082800"/>
                    <a:gd name="connsiteX51" fmla="*/ 177800 w 2216150"/>
                    <a:gd name="connsiteY51" fmla="*/ 339725 h 2082800"/>
                    <a:gd name="connsiteX52" fmla="*/ 130175 w 2216150"/>
                    <a:gd name="connsiteY52" fmla="*/ 339725 h 2082800"/>
                    <a:gd name="connsiteX53" fmla="*/ 104775 w 2216150"/>
                    <a:gd name="connsiteY53" fmla="*/ 346075 h 2082800"/>
                    <a:gd name="connsiteX54" fmla="*/ 0 w 2216150"/>
                    <a:gd name="connsiteY54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31800 w 2216150"/>
                    <a:gd name="connsiteY40" fmla="*/ 590550 h 2082800"/>
                    <a:gd name="connsiteX41" fmla="*/ 422275 w 2216150"/>
                    <a:gd name="connsiteY41" fmla="*/ 574675 h 2082800"/>
                    <a:gd name="connsiteX42" fmla="*/ 412750 w 2216150"/>
                    <a:gd name="connsiteY42" fmla="*/ 546100 h 2082800"/>
                    <a:gd name="connsiteX43" fmla="*/ 400050 w 2216150"/>
                    <a:gd name="connsiteY43" fmla="*/ 514350 h 2082800"/>
                    <a:gd name="connsiteX44" fmla="*/ 381000 w 2216150"/>
                    <a:gd name="connsiteY44" fmla="*/ 476250 h 2082800"/>
                    <a:gd name="connsiteX45" fmla="*/ 365125 w 2216150"/>
                    <a:gd name="connsiteY45" fmla="*/ 447675 h 2082800"/>
                    <a:gd name="connsiteX46" fmla="*/ 358775 w 2216150"/>
                    <a:gd name="connsiteY46" fmla="*/ 434975 h 2082800"/>
                    <a:gd name="connsiteX47" fmla="*/ 342900 w 2216150"/>
                    <a:gd name="connsiteY47" fmla="*/ 412750 h 2082800"/>
                    <a:gd name="connsiteX48" fmla="*/ 307975 w 2216150"/>
                    <a:gd name="connsiteY48" fmla="*/ 371475 h 2082800"/>
                    <a:gd name="connsiteX49" fmla="*/ 254000 w 2216150"/>
                    <a:gd name="connsiteY49" fmla="*/ 346075 h 2082800"/>
                    <a:gd name="connsiteX50" fmla="*/ 227095 w 2216150"/>
                    <a:gd name="connsiteY50" fmla="*/ 303551 h 2082800"/>
                    <a:gd name="connsiteX51" fmla="*/ 172202 w 2216150"/>
                    <a:gd name="connsiteY51" fmla="*/ 312484 h 2082800"/>
                    <a:gd name="connsiteX52" fmla="*/ 130175 w 2216150"/>
                    <a:gd name="connsiteY52" fmla="*/ 339725 h 2082800"/>
                    <a:gd name="connsiteX53" fmla="*/ 104775 w 2216150"/>
                    <a:gd name="connsiteY53" fmla="*/ 346075 h 2082800"/>
                    <a:gd name="connsiteX54" fmla="*/ 0 w 2216150"/>
                    <a:gd name="connsiteY54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31800 w 2216150"/>
                    <a:gd name="connsiteY40" fmla="*/ 590550 h 2082800"/>
                    <a:gd name="connsiteX41" fmla="*/ 422275 w 2216150"/>
                    <a:gd name="connsiteY41" fmla="*/ 574675 h 2082800"/>
                    <a:gd name="connsiteX42" fmla="*/ 412750 w 2216150"/>
                    <a:gd name="connsiteY42" fmla="*/ 546100 h 2082800"/>
                    <a:gd name="connsiteX43" fmla="*/ 400050 w 2216150"/>
                    <a:gd name="connsiteY43" fmla="*/ 514350 h 2082800"/>
                    <a:gd name="connsiteX44" fmla="*/ 381000 w 2216150"/>
                    <a:gd name="connsiteY44" fmla="*/ 476250 h 2082800"/>
                    <a:gd name="connsiteX45" fmla="*/ 365125 w 2216150"/>
                    <a:gd name="connsiteY45" fmla="*/ 447675 h 2082800"/>
                    <a:gd name="connsiteX46" fmla="*/ 358775 w 2216150"/>
                    <a:gd name="connsiteY46" fmla="*/ 434975 h 2082800"/>
                    <a:gd name="connsiteX47" fmla="*/ 342900 w 2216150"/>
                    <a:gd name="connsiteY47" fmla="*/ 412750 h 2082800"/>
                    <a:gd name="connsiteX48" fmla="*/ 338762 w 2216150"/>
                    <a:gd name="connsiteY48" fmla="*/ 347261 h 2082800"/>
                    <a:gd name="connsiteX49" fmla="*/ 254000 w 2216150"/>
                    <a:gd name="connsiteY49" fmla="*/ 346075 h 2082800"/>
                    <a:gd name="connsiteX50" fmla="*/ 227095 w 2216150"/>
                    <a:gd name="connsiteY50" fmla="*/ 303551 h 2082800"/>
                    <a:gd name="connsiteX51" fmla="*/ 172202 w 2216150"/>
                    <a:gd name="connsiteY51" fmla="*/ 312484 h 2082800"/>
                    <a:gd name="connsiteX52" fmla="*/ 130175 w 2216150"/>
                    <a:gd name="connsiteY52" fmla="*/ 339725 h 2082800"/>
                    <a:gd name="connsiteX53" fmla="*/ 104775 w 2216150"/>
                    <a:gd name="connsiteY53" fmla="*/ 346075 h 2082800"/>
                    <a:gd name="connsiteX54" fmla="*/ 0 w 2216150"/>
                    <a:gd name="connsiteY54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31800 w 2216150"/>
                    <a:gd name="connsiteY40" fmla="*/ 590550 h 2082800"/>
                    <a:gd name="connsiteX41" fmla="*/ 422275 w 2216150"/>
                    <a:gd name="connsiteY41" fmla="*/ 574675 h 2082800"/>
                    <a:gd name="connsiteX42" fmla="*/ 412750 w 2216150"/>
                    <a:gd name="connsiteY42" fmla="*/ 546100 h 2082800"/>
                    <a:gd name="connsiteX43" fmla="*/ 400050 w 2216150"/>
                    <a:gd name="connsiteY43" fmla="*/ 514350 h 2082800"/>
                    <a:gd name="connsiteX44" fmla="*/ 381000 w 2216150"/>
                    <a:gd name="connsiteY44" fmla="*/ 476250 h 2082800"/>
                    <a:gd name="connsiteX45" fmla="*/ 365125 w 2216150"/>
                    <a:gd name="connsiteY45" fmla="*/ 447675 h 2082800"/>
                    <a:gd name="connsiteX46" fmla="*/ 358775 w 2216150"/>
                    <a:gd name="connsiteY46" fmla="*/ 434975 h 2082800"/>
                    <a:gd name="connsiteX47" fmla="*/ 342900 w 2216150"/>
                    <a:gd name="connsiteY47" fmla="*/ 412750 h 2082800"/>
                    <a:gd name="connsiteX48" fmla="*/ 338762 w 2216150"/>
                    <a:gd name="connsiteY48" fmla="*/ 347261 h 2082800"/>
                    <a:gd name="connsiteX49" fmla="*/ 293184 w 2216150"/>
                    <a:gd name="connsiteY49" fmla="*/ 312780 h 2082800"/>
                    <a:gd name="connsiteX50" fmla="*/ 227095 w 2216150"/>
                    <a:gd name="connsiteY50" fmla="*/ 303551 h 2082800"/>
                    <a:gd name="connsiteX51" fmla="*/ 172202 w 2216150"/>
                    <a:gd name="connsiteY51" fmla="*/ 312484 h 2082800"/>
                    <a:gd name="connsiteX52" fmla="*/ 130175 w 2216150"/>
                    <a:gd name="connsiteY52" fmla="*/ 339725 h 2082800"/>
                    <a:gd name="connsiteX53" fmla="*/ 104775 w 2216150"/>
                    <a:gd name="connsiteY53" fmla="*/ 346075 h 2082800"/>
                    <a:gd name="connsiteX54" fmla="*/ 0 w 2216150"/>
                    <a:gd name="connsiteY54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31800 w 2216150"/>
                    <a:gd name="connsiteY40" fmla="*/ 590550 h 2082800"/>
                    <a:gd name="connsiteX41" fmla="*/ 422275 w 2216150"/>
                    <a:gd name="connsiteY41" fmla="*/ 574675 h 2082800"/>
                    <a:gd name="connsiteX42" fmla="*/ 412750 w 2216150"/>
                    <a:gd name="connsiteY42" fmla="*/ 546100 h 2082800"/>
                    <a:gd name="connsiteX43" fmla="*/ 400050 w 2216150"/>
                    <a:gd name="connsiteY43" fmla="*/ 514350 h 2082800"/>
                    <a:gd name="connsiteX44" fmla="*/ 381000 w 2216150"/>
                    <a:gd name="connsiteY44" fmla="*/ 476250 h 2082800"/>
                    <a:gd name="connsiteX45" fmla="*/ 365125 w 2216150"/>
                    <a:gd name="connsiteY45" fmla="*/ 447675 h 2082800"/>
                    <a:gd name="connsiteX46" fmla="*/ 358775 w 2216150"/>
                    <a:gd name="connsiteY46" fmla="*/ 434975 h 2082800"/>
                    <a:gd name="connsiteX47" fmla="*/ 401676 w 2216150"/>
                    <a:gd name="connsiteY47" fmla="*/ 400642 h 2082800"/>
                    <a:gd name="connsiteX48" fmla="*/ 338762 w 2216150"/>
                    <a:gd name="connsiteY48" fmla="*/ 347261 h 2082800"/>
                    <a:gd name="connsiteX49" fmla="*/ 293184 w 2216150"/>
                    <a:gd name="connsiteY49" fmla="*/ 312780 h 2082800"/>
                    <a:gd name="connsiteX50" fmla="*/ 227095 w 2216150"/>
                    <a:gd name="connsiteY50" fmla="*/ 303551 h 2082800"/>
                    <a:gd name="connsiteX51" fmla="*/ 172202 w 2216150"/>
                    <a:gd name="connsiteY51" fmla="*/ 312484 h 2082800"/>
                    <a:gd name="connsiteX52" fmla="*/ 130175 w 2216150"/>
                    <a:gd name="connsiteY52" fmla="*/ 339725 h 2082800"/>
                    <a:gd name="connsiteX53" fmla="*/ 104775 w 2216150"/>
                    <a:gd name="connsiteY53" fmla="*/ 346075 h 2082800"/>
                    <a:gd name="connsiteX54" fmla="*/ 0 w 2216150"/>
                    <a:gd name="connsiteY54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31800 w 2216150"/>
                    <a:gd name="connsiteY40" fmla="*/ 590550 h 2082800"/>
                    <a:gd name="connsiteX41" fmla="*/ 422275 w 2216150"/>
                    <a:gd name="connsiteY41" fmla="*/ 574675 h 2082800"/>
                    <a:gd name="connsiteX42" fmla="*/ 412750 w 2216150"/>
                    <a:gd name="connsiteY42" fmla="*/ 546100 h 2082800"/>
                    <a:gd name="connsiteX43" fmla="*/ 400050 w 2216150"/>
                    <a:gd name="connsiteY43" fmla="*/ 514350 h 2082800"/>
                    <a:gd name="connsiteX44" fmla="*/ 381000 w 2216150"/>
                    <a:gd name="connsiteY44" fmla="*/ 476250 h 2082800"/>
                    <a:gd name="connsiteX45" fmla="*/ 365125 w 2216150"/>
                    <a:gd name="connsiteY45" fmla="*/ 447675 h 2082800"/>
                    <a:gd name="connsiteX46" fmla="*/ 401676 w 2216150"/>
                    <a:gd name="connsiteY46" fmla="*/ 400642 h 2082800"/>
                    <a:gd name="connsiteX47" fmla="*/ 338762 w 2216150"/>
                    <a:gd name="connsiteY47" fmla="*/ 347261 h 2082800"/>
                    <a:gd name="connsiteX48" fmla="*/ 293184 w 2216150"/>
                    <a:gd name="connsiteY48" fmla="*/ 312780 h 2082800"/>
                    <a:gd name="connsiteX49" fmla="*/ 227095 w 2216150"/>
                    <a:gd name="connsiteY49" fmla="*/ 303551 h 2082800"/>
                    <a:gd name="connsiteX50" fmla="*/ 172202 w 2216150"/>
                    <a:gd name="connsiteY50" fmla="*/ 312484 h 2082800"/>
                    <a:gd name="connsiteX51" fmla="*/ 130175 w 2216150"/>
                    <a:gd name="connsiteY51" fmla="*/ 339725 h 2082800"/>
                    <a:gd name="connsiteX52" fmla="*/ 104775 w 2216150"/>
                    <a:gd name="connsiteY52" fmla="*/ 346075 h 2082800"/>
                    <a:gd name="connsiteX53" fmla="*/ 0 w 2216150"/>
                    <a:gd name="connsiteY53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31800 w 2216150"/>
                    <a:gd name="connsiteY40" fmla="*/ 590550 h 2082800"/>
                    <a:gd name="connsiteX41" fmla="*/ 422275 w 2216150"/>
                    <a:gd name="connsiteY41" fmla="*/ 574675 h 2082800"/>
                    <a:gd name="connsiteX42" fmla="*/ 412750 w 2216150"/>
                    <a:gd name="connsiteY42" fmla="*/ 546100 h 2082800"/>
                    <a:gd name="connsiteX43" fmla="*/ 400050 w 2216150"/>
                    <a:gd name="connsiteY43" fmla="*/ 514350 h 2082800"/>
                    <a:gd name="connsiteX44" fmla="*/ 381000 w 2216150"/>
                    <a:gd name="connsiteY44" fmla="*/ 476250 h 2082800"/>
                    <a:gd name="connsiteX45" fmla="*/ 401676 w 2216150"/>
                    <a:gd name="connsiteY45" fmla="*/ 400642 h 2082800"/>
                    <a:gd name="connsiteX46" fmla="*/ 338762 w 2216150"/>
                    <a:gd name="connsiteY46" fmla="*/ 347261 h 2082800"/>
                    <a:gd name="connsiteX47" fmla="*/ 293184 w 2216150"/>
                    <a:gd name="connsiteY47" fmla="*/ 312780 h 2082800"/>
                    <a:gd name="connsiteX48" fmla="*/ 227095 w 2216150"/>
                    <a:gd name="connsiteY48" fmla="*/ 303551 h 2082800"/>
                    <a:gd name="connsiteX49" fmla="*/ 172202 w 2216150"/>
                    <a:gd name="connsiteY49" fmla="*/ 312484 h 2082800"/>
                    <a:gd name="connsiteX50" fmla="*/ 130175 w 2216150"/>
                    <a:gd name="connsiteY50" fmla="*/ 339725 h 2082800"/>
                    <a:gd name="connsiteX51" fmla="*/ 104775 w 2216150"/>
                    <a:gd name="connsiteY51" fmla="*/ 346075 h 2082800"/>
                    <a:gd name="connsiteX52" fmla="*/ 0 w 2216150"/>
                    <a:gd name="connsiteY52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31800 w 2216150"/>
                    <a:gd name="connsiteY40" fmla="*/ 590550 h 2082800"/>
                    <a:gd name="connsiteX41" fmla="*/ 422275 w 2216150"/>
                    <a:gd name="connsiteY41" fmla="*/ 574675 h 2082800"/>
                    <a:gd name="connsiteX42" fmla="*/ 412750 w 2216150"/>
                    <a:gd name="connsiteY42" fmla="*/ 546100 h 2082800"/>
                    <a:gd name="connsiteX43" fmla="*/ 400050 w 2216150"/>
                    <a:gd name="connsiteY43" fmla="*/ 514350 h 2082800"/>
                    <a:gd name="connsiteX44" fmla="*/ 445373 w 2216150"/>
                    <a:gd name="connsiteY44" fmla="*/ 485330 h 2082800"/>
                    <a:gd name="connsiteX45" fmla="*/ 401676 w 2216150"/>
                    <a:gd name="connsiteY45" fmla="*/ 400642 h 2082800"/>
                    <a:gd name="connsiteX46" fmla="*/ 338762 w 2216150"/>
                    <a:gd name="connsiteY46" fmla="*/ 347261 h 2082800"/>
                    <a:gd name="connsiteX47" fmla="*/ 293184 w 2216150"/>
                    <a:gd name="connsiteY47" fmla="*/ 312780 h 2082800"/>
                    <a:gd name="connsiteX48" fmla="*/ 227095 w 2216150"/>
                    <a:gd name="connsiteY48" fmla="*/ 303551 h 2082800"/>
                    <a:gd name="connsiteX49" fmla="*/ 172202 w 2216150"/>
                    <a:gd name="connsiteY49" fmla="*/ 312484 h 2082800"/>
                    <a:gd name="connsiteX50" fmla="*/ 130175 w 2216150"/>
                    <a:gd name="connsiteY50" fmla="*/ 339725 h 2082800"/>
                    <a:gd name="connsiteX51" fmla="*/ 104775 w 2216150"/>
                    <a:gd name="connsiteY51" fmla="*/ 346075 h 2082800"/>
                    <a:gd name="connsiteX52" fmla="*/ 0 w 2216150"/>
                    <a:gd name="connsiteY52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31800 w 2216150"/>
                    <a:gd name="connsiteY40" fmla="*/ 590550 h 2082800"/>
                    <a:gd name="connsiteX41" fmla="*/ 422275 w 2216150"/>
                    <a:gd name="connsiteY41" fmla="*/ 574675 h 2082800"/>
                    <a:gd name="connsiteX42" fmla="*/ 412750 w 2216150"/>
                    <a:gd name="connsiteY42" fmla="*/ 546100 h 2082800"/>
                    <a:gd name="connsiteX43" fmla="*/ 467222 w 2216150"/>
                    <a:gd name="connsiteY43" fmla="*/ 529484 h 2082800"/>
                    <a:gd name="connsiteX44" fmla="*/ 445373 w 2216150"/>
                    <a:gd name="connsiteY44" fmla="*/ 485330 h 2082800"/>
                    <a:gd name="connsiteX45" fmla="*/ 401676 w 2216150"/>
                    <a:gd name="connsiteY45" fmla="*/ 400642 h 2082800"/>
                    <a:gd name="connsiteX46" fmla="*/ 338762 w 2216150"/>
                    <a:gd name="connsiteY46" fmla="*/ 347261 h 2082800"/>
                    <a:gd name="connsiteX47" fmla="*/ 293184 w 2216150"/>
                    <a:gd name="connsiteY47" fmla="*/ 312780 h 2082800"/>
                    <a:gd name="connsiteX48" fmla="*/ 227095 w 2216150"/>
                    <a:gd name="connsiteY48" fmla="*/ 303551 h 2082800"/>
                    <a:gd name="connsiteX49" fmla="*/ 172202 w 2216150"/>
                    <a:gd name="connsiteY49" fmla="*/ 312484 h 2082800"/>
                    <a:gd name="connsiteX50" fmla="*/ 130175 w 2216150"/>
                    <a:gd name="connsiteY50" fmla="*/ 339725 h 2082800"/>
                    <a:gd name="connsiteX51" fmla="*/ 104775 w 2216150"/>
                    <a:gd name="connsiteY51" fmla="*/ 346075 h 2082800"/>
                    <a:gd name="connsiteX52" fmla="*/ 0 w 2216150"/>
                    <a:gd name="connsiteY52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31800 w 2216150"/>
                    <a:gd name="connsiteY40" fmla="*/ 590550 h 2082800"/>
                    <a:gd name="connsiteX41" fmla="*/ 422275 w 2216150"/>
                    <a:gd name="connsiteY41" fmla="*/ 574675 h 2082800"/>
                    <a:gd name="connsiteX42" fmla="*/ 467222 w 2216150"/>
                    <a:gd name="connsiteY42" fmla="*/ 529484 h 2082800"/>
                    <a:gd name="connsiteX43" fmla="*/ 445373 w 2216150"/>
                    <a:gd name="connsiteY43" fmla="*/ 485330 h 2082800"/>
                    <a:gd name="connsiteX44" fmla="*/ 401676 w 2216150"/>
                    <a:gd name="connsiteY44" fmla="*/ 400642 h 2082800"/>
                    <a:gd name="connsiteX45" fmla="*/ 338762 w 2216150"/>
                    <a:gd name="connsiteY45" fmla="*/ 347261 h 2082800"/>
                    <a:gd name="connsiteX46" fmla="*/ 293184 w 2216150"/>
                    <a:gd name="connsiteY46" fmla="*/ 312780 h 2082800"/>
                    <a:gd name="connsiteX47" fmla="*/ 227095 w 2216150"/>
                    <a:gd name="connsiteY47" fmla="*/ 303551 h 2082800"/>
                    <a:gd name="connsiteX48" fmla="*/ 172202 w 2216150"/>
                    <a:gd name="connsiteY48" fmla="*/ 312484 h 2082800"/>
                    <a:gd name="connsiteX49" fmla="*/ 130175 w 2216150"/>
                    <a:gd name="connsiteY49" fmla="*/ 339725 h 2082800"/>
                    <a:gd name="connsiteX50" fmla="*/ 104775 w 2216150"/>
                    <a:gd name="connsiteY50" fmla="*/ 346075 h 2082800"/>
                    <a:gd name="connsiteX51" fmla="*/ 0 w 2216150"/>
                    <a:gd name="connsiteY51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31800 w 2216150"/>
                    <a:gd name="connsiteY40" fmla="*/ 590550 h 2082800"/>
                    <a:gd name="connsiteX41" fmla="*/ 467222 w 2216150"/>
                    <a:gd name="connsiteY41" fmla="*/ 529484 h 2082800"/>
                    <a:gd name="connsiteX42" fmla="*/ 445373 w 2216150"/>
                    <a:gd name="connsiteY42" fmla="*/ 485330 h 2082800"/>
                    <a:gd name="connsiteX43" fmla="*/ 401676 w 2216150"/>
                    <a:gd name="connsiteY43" fmla="*/ 400642 h 2082800"/>
                    <a:gd name="connsiteX44" fmla="*/ 338762 w 2216150"/>
                    <a:gd name="connsiteY44" fmla="*/ 347261 h 2082800"/>
                    <a:gd name="connsiteX45" fmla="*/ 293184 w 2216150"/>
                    <a:gd name="connsiteY45" fmla="*/ 312780 h 2082800"/>
                    <a:gd name="connsiteX46" fmla="*/ 227095 w 2216150"/>
                    <a:gd name="connsiteY46" fmla="*/ 303551 h 2082800"/>
                    <a:gd name="connsiteX47" fmla="*/ 172202 w 2216150"/>
                    <a:gd name="connsiteY47" fmla="*/ 312484 h 2082800"/>
                    <a:gd name="connsiteX48" fmla="*/ 130175 w 2216150"/>
                    <a:gd name="connsiteY48" fmla="*/ 339725 h 2082800"/>
                    <a:gd name="connsiteX49" fmla="*/ 104775 w 2216150"/>
                    <a:gd name="connsiteY49" fmla="*/ 346075 h 2082800"/>
                    <a:gd name="connsiteX50" fmla="*/ 0 w 2216150"/>
                    <a:gd name="connsiteY50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444500 w 2216150"/>
                    <a:gd name="connsiteY39" fmla="*/ 619125 h 2082800"/>
                    <a:gd name="connsiteX40" fmla="*/ 467222 w 2216150"/>
                    <a:gd name="connsiteY40" fmla="*/ 529484 h 2082800"/>
                    <a:gd name="connsiteX41" fmla="*/ 445373 w 2216150"/>
                    <a:gd name="connsiteY41" fmla="*/ 485330 h 2082800"/>
                    <a:gd name="connsiteX42" fmla="*/ 401676 w 2216150"/>
                    <a:gd name="connsiteY42" fmla="*/ 400642 h 2082800"/>
                    <a:gd name="connsiteX43" fmla="*/ 338762 w 2216150"/>
                    <a:gd name="connsiteY43" fmla="*/ 347261 h 2082800"/>
                    <a:gd name="connsiteX44" fmla="*/ 293184 w 2216150"/>
                    <a:gd name="connsiteY44" fmla="*/ 312780 h 2082800"/>
                    <a:gd name="connsiteX45" fmla="*/ 227095 w 2216150"/>
                    <a:gd name="connsiteY45" fmla="*/ 303551 h 2082800"/>
                    <a:gd name="connsiteX46" fmla="*/ 172202 w 2216150"/>
                    <a:gd name="connsiteY46" fmla="*/ 312484 h 2082800"/>
                    <a:gd name="connsiteX47" fmla="*/ 130175 w 2216150"/>
                    <a:gd name="connsiteY47" fmla="*/ 339725 h 2082800"/>
                    <a:gd name="connsiteX48" fmla="*/ 104775 w 2216150"/>
                    <a:gd name="connsiteY48" fmla="*/ 346075 h 2082800"/>
                    <a:gd name="connsiteX49" fmla="*/ 0 w 2216150"/>
                    <a:gd name="connsiteY49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463550 w 2216150"/>
                    <a:gd name="connsiteY38" fmla="*/ 673100 h 2082800"/>
                    <a:gd name="connsiteX39" fmla="*/ 520069 w 2216150"/>
                    <a:gd name="connsiteY39" fmla="*/ 631233 h 2082800"/>
                    <a:gd name="connsiteX40" fmla="*/ 467222 w 2216150"/>
                    <a:gd name="connsiteY40" fmla="*/ 529484 h 2082800"/>
                    <a:gd name="connsiteX41" fmla="*/ 445373 w 2216150"/>
                    <a:gd name="connsiteY41" fmla="*/ 485330 h 2082800"/>
                    <a:gd name="connsiteX42" fmla="*/ 401676 w 2216150"/>
                    <a:gd name="connsiteY42" fmla="*/ 400642 h 2082800"/>
                    <a:gd name="connsiteX43" fmla="*/ 338762 w 2216150"/>
                    <a:gd name="connsiteY43" fmla="*/ 347261 h 2082800"/>
                    <a:gd name="connsiteX44" fmla="*/ 293184 w 2216150"/>
                    <a:gd name="connsiteY44" fmla="*/ 312780 h 2082800"/>
                    <a:gd name="connsiteX45" fmla="*/ 227095 w 2216150"/>
                    <a:gd name="connsiteY45" fmla="*/ 303551 h 2082800"/>
                    <a:gd name="connsiteX46" fmla="*/ 172202 w 2216150"/>
                    <a:gd name="connsiteY46" fmla="*/ 312484 h 2082800"/>
                    <a:gd name="connsiteX47" fmla="*/ 130175 w 2216150"/>
                    <a:gd name="connsiteY47" fmla="*/ 339725 h 2082800"/>
                    <a:gd name="connsiteX48" fmla="*/ 104775 w 2216150"/>
                    <a:gd name="connsiteY48" fmla="*/ 346075 h 2082800"/>
                    <a:gd name="connsiteX49" fmla="*/ 0 w 2216150"/>
                    <a:gd name="connsiteY49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498475 w 2216150"/>
                    <a:gd name="connsiteY37" fmla="*/ 752475 h 2082800"/>
                    <a:gd name="connsiteX38" fmla="*/ 564308 w 2216150"/>
                    <a:gd name="connsiteY38" fmla="*/ 712449 h 2082800"/>
                    <a:gd name="connsiteX39" fmla="*/ 520069 w 2216150"/>
                    <a:gd name="connsiteY39" fmla="*/ 631233 h 2082800"/>
                    <a:gd name="connsiteX40" fmla="*/ 467222 w 2216150"/>
                    <a:gd name="connsiteY40" fmla="*/ 529484 h 2082800"/>
                    <a:gd name="connsiteX41" fmla="*/ 445373 w 2216150"/>
                    <a:gd name="connsiteY41" fmla="*/ 485330 h 2082800"/>
                    <a:gd name="connsiteX42" fmla="*/ 401676 w 2216150"/>
                    <a:gd name="connsiteY42" fmla="*/ 400642 h 2082800"/>
                    <a:gd name="connsiteX43" fmla="*/ 338762 w 2216150"/>
                    <a:gd name="connsiteY43" fmla="*/ 347261 h 2082800"/>
                    <a:gd name="connsiteX44" fmla="*/ 293184 w 2216150"/>
                    <a:gd name="connsiteY44" fmla="*/ 312780 h 2082800"/>
                    <a:gd name="connsiteX45" fmla="*/ 227095 w 2216150"/>
                    <a:gd name="connsiteY45" fmla="*/ 303551 h 2082800"/>
                    <a:gd name="connsiteX46" fmla="*/ 172202 w 2216150"/>
                    <a:gd name="connsiteY46" fmla="*/ 312484 h 2082800"/>
                    <a:gd name="connsiteX47" fmla="*/ 130175 w 2216150"/>
                    <a:gd name="connsiteY47" fmla="*/ 339725 h 2082800"/>
                    <a:gd name="connsiteX48" fmla="*/ 104775 w 2216150"/>
                    <a:gd name="connsiteY48" fmla="*/ 346075 h 2082800"/>
                    <a:gd name="connsiteX49" fmla="*/ 0 w 2216150"/>
                    <a:gd name="connsiteY49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520700 w 2216150"/>
                    <a:gd name="connsiteY36" fmla="*/ 793750 h 2082800"/>
                    <a:gd name="connsiteX37" fmla="*/ 607630 w 2216150"/>
                    <a:gd name="connsiteY37" fmla="*/ 782743 h 2082800"/>
                    <a:gd name="connsiteX38" fmla="*/ 564308 w 2216150"/>
                    <a:gd name="connsiteY38" fmla="*/ 712449 h 2082800"/>
                    <a:gd name="connsiteX39" fmla="*/ 520069 w 2216150"/>
                    <a:gd name="connsiteY39" fmla="*/ 631233 h 2082800"/>
                    <a:gd name="connsiteX40" fmla="*/ 467222 w 2216150"/>
                    <a:gd name="connsiteY40" fmla="*/ 529484 h 2082800"/>
                    <a:gd name="connsiteX41" fmla="*/ 445373 w 2216150"/>
                    <a:gd name="connsiteY41" fmla="*/ 485330 h 2082800"/>
                    <a:gd name="connsiteX42" fmla="*/ 401676 w 2216150"/>
                    <a:gd name="connsiteY42" fmla="*/ 400642 h 2082800"/>
                    <a:gd name="connsiteX43" fmla="*/ 338762 w 2216150"/>
                    <a:gd name="connsiteY43" fmla="*/ 347261 h 2082800"/>
                    <a:gd name="connsiteX44" fmla="*/ 293184 w 2216150"/>
                    <a:gd name="connsiteY44" fmla="*/ 312780 h 2082800"/>
                    <a:gd name="connsiteX45" fmla="*/ 227095 w 2216150"/>
                    <a:gd name="connsiteY45" fmla="*/ 303551 h 2082800"/>
                    <a:gd name="connsiteX46" fmla="*/ 172202 w 2216150"/>
                    <a:gd name="connsiteY46" fmla="*/ 312484 h 2082800"/>
                    <a:gd name="connsiteX47" fmla="*/ 130175 w 2216150"/>
                    <a:gd name="connsiteY47" fmla="*/ 339725 h 2082800"/>
                    <a:gd name="connsiteX48" fmla="*/ 104775 w 2216150"/>
                    <a:gd name="connsiteY48" fmla="*/ 346075 h 2082800"/>
                    <a:gd name="connsiteX49" fmla="*/ 0 w 2216150"/>
                    <a:gd name="connsiteY49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536575 w 2216150"/>
                    <a:gd name="connsiteY35" fmla="*/ 838200 h 2082800"/>
                    <a:gd name="connsiteX36" fmla="*/ 607630 w 2216150"/>
                    <a:gd name="connsiteY36" fmla="*/ 782743 h 2082800"/>
                    <a:gd name="connsiteX37" fmla="*/ 564308 w 2216150"/>
                    <a:gd name="connsiteY37" fmla="*/ 712449 h 2082800"/>
                    <a:gd name="connsiteX38" fmla="*/ 520069 w 2216150"/>
                    <a:gd name="connsiteY38" fmla="*/ 631233 h 2082800"/>
                    <a:gd name="connsiteX39" fmla="*/ 467222 w 2216150"/>
                    <a:gd name="connsiteY39" fmla="*/ 529484 h 2082800"/>
                    <a:gd name="connsiteX40" fmla="*/ 445373 w 2216150"/>
                    <a:gd name="connsiteY40" fmla="*/ 485330 h 2082800"/>
                    <a:gd name="connsiteX41" fmla="*/ 401676 w 2216150"/>
                    <a:gd name="connsiteY41" fmla="*/ 400642 h 2082800"/>
                    <a:gd name="connsiteX42" fmla="*/ 338762 w 2216150"/>
                    <a:gd name="connsiteY42" fmla="*/ 347261 h 2082800"/>
                    <a:gd name="connsiteX43" fmla="*/ 293184 w 2216150"/>
                    <a:gd name="connsiteY43" fmla="*/ 312780 h 2082800"/>
                    <a:gd name="connsiteX44" fmla="*/ 227095 w 2216150"/>
                    <a:gd name="connsiteY44" fmla="*/ 303551 h 2082800"/>
                    <a:gd name="connsiteX45" fmla="*/ 172202 w 2216150"/>
                    <a:gd name="connsiteY45" fmla="*/ 312484 h 2082800"/>
                    <a:gd name="connsiteX46" fmla="*/ 130175 w 2216150"/>
                    <a:gd name="connsiteY46" fmla="*/ 339725 h 2082800"/>
                    <a:gd name="connsiteX47" fmla="*/ 104775 w 2216150"/>
                    <a:gd name="connsiteY47" fmla="*/ 346075 h 2082800"/>
                    <a:gd name="connsiteX48" fmla="*/ 0 w 2216150"/>
                    <a:gd name="connsiteY48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558800 w 2216150"/>
                    <a:gd name="connsiteY34" fmla="*/ 879475 h 2082800"/>
                    <a:gd name="connsiteX35" fmla="*/ 651327 w 2216150"/>
                    <a:gd name="connsiteY35" fmla="*/ 847281 h 2082800"/>
                    <a:gd name="connsiteX36" fmla="*/ 607630 w 2216150"/>
                    <a:gd name="connsiteY36" fmla="*/ 782743 h 2082800"/>
                    <a:gd name="connsiteX37" fmla="*/ 564308 w 2216150"/>
                    <a:gd name="connsiteY37" fmla="*/ 712449 h 2082800"/>
                    <a:gd name="connsiteX38" fmla="*/ 520069 w 2216150"/>
                    <a:gd name="connsiteY38" fmla="*/ 631233 h 2082800"/>
                    <a:gd name="connsiteX39" fmla="*/ 467222 w 2216150"/>
                    <a:gd name="connsiteY39" fmla="*/ 529484 h 2082800"/>
                    <a:gd name="connsiteX40" fmla="*/ 445373 w 2216150"/>
                    <a:gd name="connsiteY40" fmla="*/ 485330 h 2082800"/>
                    <a:gd name="connsiteX41" fmla="*/ 401676 w 2216150"/>
                    <a:gd name="connsiteY41" fmla="*/ 400642 h 2082800"/>
                    <a:gd name="connsiteX42" fmla="*/ 338762 w 2216150"/>
                    <a:gd name="connsiteY42" fmla="*/ 347261 h 2082800"/>
                    <a:gd name="connsiteX43" fmla="*/ 293184 w 2216150"/>
                    <a:gd name="connsiteY43" fmla="*/ 312780 h 2082800"/>
                    <a:gd name="connsiteX44" fmla="*/ 227095 w 2216150"/>
                    <a:gd name="connsiteY44" fmla="*/ 303551 h 2082800"/>
                    <a:gd name="connsiteX45" fmla="*/ 172202 w 2216150"/>
                    <a:gd name="connsiteY45" fmla="*/ 312484 h 2082800"/>
                    <a:gd name="connsiteX46" fmla="*/ 130175 w 2216150"/>
                    <a:gd name="connsiteY46" fmla="*/ 339725 h 2082800"/>
                    <a:gd name="connsiteX47" fmla="*/ 104775 w 2216150"/>
                    <a:gd name="connsiteY47" fmla="*/ 346075 h 2082800"/>
                    <a:gd name="connsiteX48" fmla="*/ 0 w 2216150"/>
                    <a:gd name="connsiteY48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571500 w 2216150"/>
                    <a:gd name="connsiteY33" fmla="*/ 904875 h 2082800"/>
                    <a:gd name="connsiteX34" fmla="*/ 651327 w 2216150"/>
                    <a:gd name="connsiteY34" fmla="*/ 847281 h 2082800"/>
                    <a:gd name="connsiteX35" fmla="*/ 607630 w 2216150"/>
                    <a:gd name="connsiteY35" fmla="*/ 782743 h 2082800"/>
                    <a:gd name="connsiteX36" fmla="*/ 564308 w 2216150"/>
                    <a:gd name="connsiteY36" fmla="*/ 712449 h 2082800"/>
                    <a:gd name="connsiteX37" fmla="*/ 520069 w 2216150"/>
                    <a:gd name="connsiteY37" fmla="*/ 631233 h 2082800"/>
                    <a:gd name="connsiteX38" fmla="*/ 467222 w 2216150"/>
                    <a:gd name="connsiteY38" fmla="*/ 529484 h 2082800"/>
                    <a:gd name="connsiteX39" fmla="*/ 445373 w 2216150"/>
                    <a:gd name="connsiteY39" fmla="*/ 485330 h 2082800"/>
                    <a:gd name="connsiteX40" fmla="*/ 401676 w 2216150"/>
                    <a:gd name="connsiteY40" fmla="*/ 400642 h 2082800"/>
                    <a:gd name="connsiteX41" fmla="*/ 338762 w 2216150"/>
                    <a:gd name="connsiteY41" fmla="*/ 347261 h 2082800"/>
                    <a:gd name="connsiteX42" fmla="*/ 293184 w 2216150"/>
                    <a:gd name="connsiteY42" fmla="*/ 312780 h 2082800"/>
                    <a:gd name="connsiteX43" fmla="*/ 227095 w 2216150"/>
                    <a:gd name="connsiteY43" fmla="*/ 303551 h 2082800"/>
                    <a:gd name="connsiteX44" fmla="*/ 172202 w 2216150"/>
                    <a:gd name="connsiteY44" fmla="*/ 312484 h 2082800"/>
                    <a:gd name="connsiteX45" fmla="*/ 130175 w 2216150"/>
                    <a:gd name="connsiteY45" fmla="*/ 339725 h 2082800"/>
                    <a:gd name="connsiteX46" fmla="*/ 104775 w 2216150"/>
                    <a:gd name="connsiteY46" fmla="*/ 346075 h 2082800"/>
                    <a:gd name="connsiteX47" fmla="*/ 0 w 2216150"/>
                    <a:gd name="connsiteY47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590550 w 2216150"/>
                    <a:gd name="connsiteY32" fmla="*/ 927100 h 2082800"/>
                    <a:gd name="connsiteX33" fmla="*/ 722637 w 2216150"/>
                    <a:gd name="connsiteY33" fmla="*/ 923036 h 2082800"/>
                    <a:gd name="connsiteX34" fmla="*/ 651327 w 2216150"/>
                    <a:gd name="connsiteY34" fmla="*/ 847281 h 2082800"/>
                    <a:gd name="connsiteX35" fmla="*/ 607630 w 2216150"/>
                    <a:gd name="connsiteY35" fmla="*/ 782743 h 2082800"/>
                    <a:gd name="connsiteX36" fmla="*/ 564308 w 2216150"/>
                    <a:gd name="connsiteY36" fmla="*/ 712449 h 2082800"/>
                    <a:gd name="connsiteX37" fmla="*/ 520069 w 2216150"/>
                    <a:gd name="connsiteY37" fmla="*/ 631233 h 2082800"/>
                    <a:gd name="connsiteX38" fmla="*/ 467222 w 2216150"/>
                    <a:gd name="connsiteY38" fmla="*/ 529484 h 2082800"/>
                    <a:gd name="connsiteX39" fmla="*/ 445373 w 2216150"/>
                    <a:gd name="connsiteY39" fmla="*/ 485330 h 2082800"/>
                    <a:gd name="connsiteX40" fmla="*/ 401676 w 2216150"/>
                    <a:gd name="connsiteY40" fmla="*/ 400642 h 2082800"/>
                    <a:gd name="connsiteX41" fmla="*/ 338762 w 2216150"/>
                    <a:gd name="connsiteY41" fmla="*/ 347261 h 2082800"/>
                    <a:gd name="connsiteX42" fmla="*/ 293184 w 2216150"/>
                    <a:gd name="connsiteY42" fmla="*/ 312780 h 2082800"/>
                    <a:gd name="connsiteX43" fmla="*/ 227095 w 2216150"/>
                    <a:gd name="connsiteY43" fmla="*/ 303551 h 2082800"/>
                    <a:gd name="connsiteX44" fmla="*/ 172202 w 2216150"/>
                    <a:gd name="connsiteY44" fmla="*/ 312484 h 2082800"/>
                    <a:gd name="connsiteX45" fmla="*/ 130175 w 2216150"/>
                    <a:gd name="connsiteY45" fmla="*/ 339725 h 2082800"/>
                    <a:gd name="connsiteX46" fmla="*/ 104775 w 2216150"/>
                    <a:gd name="connsiteY46" fmla="*/ 346075 h 2082800"/>
                    <a:gd name="connsiteX47" fmla="*/ 0 w 2216150"/>
                    <a:gd name="connsiteY47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606425 w 2216150"/>
                    <a:gd name="connsiteY31" fmla="*/ 939800 h 2082800"/>
                    <a:gd name="connsiteX32" fmla="*/ 722637 w 2216150"/>
                    <a:gd name="connsiteY32" fmla="*/ 923036 h 2082800"/>
                    <a:gd name="connsiteX33" fmla="*/ 651327 w 2216150"/>
                    <a:gd name="connsiteY33" fmla="*/ 847281 h 2082800"/>
                    <a:gd name="connsiteX34" fmla="*/ 607630 w 2216150"/>
                    <a:gd name="connsiteY34" fmla="*/ 782743 h 2082800"/>
                    <a:gd name="connsiteX35" fmla="*/ 564308 w 2216150"/>
                    <a:gd name="connsiteY35" fmla="*/ 712449 h 2082800"/>
                    <a:gd name="connsiteX36" fmla="*/ 520069 w 2216150"/>
                    <a:gd name="connsiteY36" fmla="*/ 631233 h 2082800"/>
                    <a:gd name="connsiteX37" fmla="*/ 467222 w 2216150"/>
                    <a:gd name="connsiteY37" fmla="*/ 529484 h 2082800"/>
                    <a:gd name="connsiteX38" fmla="*/ 445373 w 2216150"/>
                    <a:gd name="connsiteY38" fmla="*/ 485330 h 2082800"/>
                    <a:gd name="connsiteX39" fmla="*/ 401676 w 2216150"/>
                    <a:gd name="connsiteY39" fmla="*/ 400642 h 2082800"/>
                    <a:gd name="connsiteX40" fmla="*/ 338762 w 2216150"/>
                    <a:gd name="connsiteY40" fmla="*/ 347261 h 2082800"/>
                    <a:gd name="connsiteX41" fmla="*/ 293184 w 2216150"/>
                    <a:gd name="connsiteY41" fmla="*/ 312780 h 2082800"/>
                    <a:gd name="connsiteX42" fmla="*/ 227095 w 2216150"/>
                    <a:gd name="connsiteY42" fmla="*/ 303551 h 2082800"/>
                    <a:gd name="connsiteX43" fmla="*/ 172202 w 2216150"/>
                    <a:gd name="connsiteY43" fmla="*/ 312484 h 2082800"/>
                    <a:gd name="connsiteX44" fmla="*/ 130175 w 2216150"/>
                    <a:gd name="connsiteY44" fmla="*/ 339725 h 2082800"/>
                    <a:gd name="connsiteX45" fmla="*/ 104775 w 2216150"/>
                    <a:gd name="connsiteY45" fmla="*/ 346075 h 2082800"/>
                    <a:gd name="connsiteX46" fmla="*/ 0 w 2216150"/>
                    <a:gd name="connsiteY46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619125 w 2216150"/>
                    <a:gd name="connsiteY30" fmla="*/ 946150 h 2082800"/>
                    <a:gd name="connsiteX31" fmla="*/ 722637 w 2216150"/>
                    <a:gd name="connsiteY31" fmla="*/ 923036 h 2082800"/>
                    <a:gd name="connsiteX32" fmla="*/ 651327 w 2216150"/>
                    <a:gd name="connsiteY32" fmla="*/ 847281 h 2082800"/>
                    <a:gd name="connsiteX33" fmla="*/ 607630 w 2216150"/>
                    <a:gd name="connsiteY33" fmla="*/ 782743 h 2082800"/>
                    <a:gd name="connsiteX34" fmla="*/ 564308 w 2216150"/>
                    <a:gd name="connsiteY34" fmla="*/ 712449 h 2082800"/>
                    <a:gd name="connsiteX35" fmla="*/ 520069 w 2216150"/>
                    <a:gd name="connsiteY35" fmla="*/ 631233 h 2082800"/>
                    <a:gd name="connsiteX36" fmla="*/ 467222 w 2216150"/>
                    <a:gd name="connsiteY36" fmla="*/ 529484 h 2082800"/>
                    <a:gd name="connsiteX37" fmla="*/ 445373 w 2216150"/>
                    <a:gd name="connsiteY37" fmla="*/ 485330 h 2082800"/>
                    <a:gd name="connsiteX38" fmla="*/ 401676 w 2216150"/>
                    <a:gd name="connsiteY38" fmla="*/ 400642 h 2082800"/>
                    <a:gd name="connsiteX39" fmla="*/ 338762 w 2216150"/>
                    <a:gd name="connsiteY39" fmla="*/ 347261 h 2082800"/>
                    <a:gd name="connsiteX40" fmla="*/ 293184 w 2216150"/>
                    <a:gd name="connsiteY40" fmla="*/ 312780 h 2082800"/>
                    <a:gd name="connsiteX41" fmla="*/ 227095 w 2216150"/>
                    <a:gd name="connsiteY41" fmla="*/ 303551 h 2082800"/>
                    <a:gd name="connsiteX42" fmla="*/ 172202 w 2216150"/>
                    <a:gd name="connsiteY42" fmla="*/ 312484 h 2082800"/>
                    <a:gd name="connsiteX43" fmla="*/ 130175 w 2216150"/>
                    <a:gd name="connsiteY43" fmla="*/ 339725 h 2082800"/>
                    <a:gd name="connsiteX44" fmla="*/ 104775 w 2216150"/>
                    <a:gd name="connsiteY44" fmla="*/ 346075 h 2082800"/>
                    <a:gd name="connsiteX45" fmla="*/ 0 w 2216150"/>
                    <a:gd name="connsiteY45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650875 w 2216150"/>
                    <a:gd name="connsiteY29" fmla="*/ 968375 h 2082800"/>
                    <a:gd name="connsiteX30" fmla="*/ 722637 w 2216150"/>
                    <a:gd name="connsiteY30" fmla="*/ 923036 h 2082800"/>
                    <a:gd name="connsiteX31" fmla="*/ 651327 w 2216150"/>
                    <a:gd name="connsiteY31" fmla="*/ 847281 h 2082800"/>
                    <a:gd name="connsiteX32" fmla="*/ 607630 w 2216150"/>
                    <a:gd name="connsiteY32" fmla="*/ 782743 h 2082800"/>
                    <a:gd name="connsiteX33" fmla="*/ 564308 w 2216150"/>
                    <a:gd name="connsiteY33" fmla="*/ 712449 h 2082800"/>
                    <a:gd name="connsiteX34" fmla="*/ 520069 w 2216150"/>
                    <a:gd name="connsiteY34" fmla="*/ 631233 h 2082800"/>
                    <a:gd name="connsiteX35" fmla="*/ 467222 w 2216150"/>
                    <a:gd name="connsiteY35" fmla="*/ 529484 h 2082800"/>
                    <a:gd name="connsiteX36" fmla="*/ 445373 w 2216150"/>
                    <a:gd name="connsiteY36" fmla="*/ 485330 h 2082800"/>
                    <a:gd name="connsiteX37" fmla="*/ 401676 w 2216150"/>
                    <a:gd name="connsiteY37" fmla="*/ 400642 h 2082800"/>
                    <a:gd name="connsiteX38" fmla="*/ 338762 w 2216150"/>
                    <a:gd name="connsiteY38" fmla="*/ 347261 h 2082800"/>
                    <a:gd name="connsiteX39" fmla="*/ 293184 w 2216150"/>
                    <a:gd name="connsiteY39" fmla="*/ 312780 h 2082800"/>
                    <a:gd name="connsiteX40" fmla="*/ 227095 w 2216150"/>
                    <a:gd name="connsiteY40" fmla="*/ 303551 h 2082800"/>
                    <a:gd name="connsiteX41" fmla="*/ 172202 w 2216150"/>
                    <a:gd name="connsiteY41" fmla="*/ 312484 h 2082800"/>
                    <a:gd name="connsiteX42" fmla="*/ 130175 w 2216150"/>
                    <a:gd name="connsiteY42" fmla="*/ 339725 h 2082800"/>
                    <a:gd name="connsiteX43" fmla="*/ 104775 w 2216150"/>
                    <a:gd name="connsiteY43" fmla="*/ 346075 h 2082800"/>
                    <a:gd name="connsiteX44" fmla="*/ 0 w 2216150"/>
                    <a:gd name="connsiteY44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08025 w 2216150"/>
                    <a:gd name="connsiteY28" fmla="*/ 987425 h 2082800"/>
                    <a:gd name="connsiteX29" fmla="*/ 776823 w 2216150"/>
                    <a:gd name="connsiteY29" fmla="*/ 965349 h 2082800"/>
                    <a:gd name="connsiteX30" fmla="*/ 722637 w 2216150"/>
                    <a:gd name="connsiteY30" fmla="*/ 923036 h 2082800"/>
                    <a:gd name="connsiteX31" fmla="*/ 651327 w 2216150"/>
                    <a:gd name="connsiteY31" fmla="*/ 847281 h 2082800"/>
                    <a:gd name="connsiteX32" fmla="*/ 607630 w 2216150"/>
                    <a:gd name="connsiteY32" fmla="*/ 782743 h 2082800"/>
                    <a:gd name="connsiteX33" fmla="*/ 564308 w 2216150"/>
                    <a:gd name="connsiteY33" fmla="*/ 712449 h 2082800"/>
                    <a:gd name="connsiteX34" fmla="*/ 520069 w 2216150"/>
                    <a:gd name="connsiteY34" fmla="*/ 631233 h 2082800"/>
                    <a:gd name="connsiteX35" fmla="*/ 467222 w 2216150"/>
                    <a:gd name="connsiteY35" fmla="*/ 529484 h 2082800"/>
                    <a:gd name="connsiteX36" fmla="*/ 445373 w 2216150"/>
                    <a:gd name="connsiteY36" fmla="*/ 485330 h 2082800"/>
                    <a:gd name="connsiteX37" fmla="*/ 401676 w 2216150"/>
                    <a:gd name="connsiteY37" fmla="*/ 400642 h 2082800"/>
                    <a:gd name="connsiteX38" fmla="*/ 338762 w 2216150"/>
                    <a:gd name="connsiteY38" fmla="*/ 347261 h 2082800"/>
                    <a:gd name="connsiteX39" fmla="*/ 293184 w 2216150"/>
                    <a:gd name="connsiteY39" fmla="*/ 312780 h 2082800"/>
                    <a:gd name="connsiteX40" fmla="*/ 227095 w 2216150"/>
                    <a:gd name="connsiteY40" fmla="*/ 303551 h 2082800"/>
                    <a:gd name="connsiteX41" fmla="*/ 172202 w 2216150"/>
                    <a:gd name="connsiteY41" fmla="*/ 312484 h 2082800"/>
                    <a:gd name="connsiteX42" fmla="*/ 130175 w 2216150"/>
                    <a:gd name="connsiteY42" fmla="*/ 339725 h 2082800"/>
                    <a:gd name="connsiteX43" fmla="*/ 104775 w 2216150"/>
                    <a:gd name="connsiteY43" fmla="*/ 346075 h 2082800"/>
                    <a:gd name="connsiteX44" fmla="*/ 0 w 2216150"/>
                    <a:gd name="connsiteY44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68350 w 2216150"/>
                    <a:gd name="connsiteY26" fmla="*/ 993775 h 2082800"/>
                    <a:gd name="connsiteX27" fmla="*/ 739775 w 2216150"/>
                    <a:gd name="connsiteY27" fmla="*/ 993775 h 2082800"/>
                    <a:gd name="connsiteX28" fmla="*/ 776823 w 2216150"/>
                    <a:gd name="connsiteY28" fmla="*/ 965349 h 2082800"/>
                    <a:gd name="connsiteX29" fmla="*/ 722637 w 2216150"/>
                    <a:gd name="connsiteY29" fmla="*/ 923036 h 2082800"/>
                    <a:gd name="connsiteX30" fmla="*/ 651327 w 2216150"/>
                    <a:gd name="connsiteY30" fmla="*/ 847281 h 2082800"/>
                    <a:gd name="connsiteX31" fmla="*/ 607630 w 2216150"/>
                    <a:gd name="connsiteY31" fmla="*/ 782743 h 2082800"/>
                    <a:gd name="connsiteX32" fmla="*/ 564308 w 2216150"/>
                    <a:gd name="connsiteY32" fmla="*/ 712449 h 2082800"/>
                    <a:gd name="connsiteX33" fmla="*/ 520069 w 2216150"/>
                    <a:gd name="connsiteY33" fmla="*/ 631233 h 2082800"/>
                    <a:gd name="connsiteX34" fmla="*/ 467222 w 2216150"/>
                    <a:gd name="connsiteY34" fmla="*/ 529484 h 2082800"/>
                    <a:gd name="connsiteX35" fmla="*/ 445373 w 2216150"/>
                    <a:gd name="connsiteY35" fmla="*/ 485330 h 2082800"/>
                    <a:gd name="connsiteX36" fmla="*/ 401676 w 2216150"/>
                    <a:gd name="connsiteY36" fmla="*/ 400642 h 2082800"/>
                    <a:gd name="connsiteX37" fmla="*/ 338762 w 2216150"/>
                    <a:gd name="connsiteY37" fmla="*/ 347261 h 2082800"/>
                    <a:gd name="connsiteX38" fmla="*/ 293184 w 2216150"/>
                    <a:gd name="connsiteY38" fmla="*/ 312780 h 2082800"/>
                    <a:gd name="connsiteX39" fmla="*/ 227095 w 2216150"/>
                    <a:gd name="connsiteY39" fmla="*/ 303551 h 2082800"/>
                    <a:gd name="connsiteX40" fmla="*/ 172202 w 2216150"/>
                    <a:gd name="connsiteY40" fmla="*/ 312484 h 2082800"/>
                    <a:gd name="connsiteX41" fmla="*/ 130175 w 2216150"/>
                    <a:gd name="connsiteY41" fmla="*/ 339725 h 2082800"/>
                    <a:gd name="connsiteX42" fmla="*/ 104775 w 2216150"/>
                    <a:gd name="connsiteY42" fmla="*/ 346075 h 2082800"/>
                    <a:gd name="connsiteX43" fmla="*/ 0 w 2216150"/>
                    <a:gd name="connsiteY43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39775 w 2216150"/>
                    <a:gd name="connsiteY26" fmla="*/ 993775 h 2082800"/>
                    <a:gd name="connsiteX27" fmla="*/ 776823 w 2216150"/>
                    <a:gd name="connsiteY27" fmla="*/ 965349 h 2082800"/>
                    <a:gd name="connsiteX28" fmla="*/ 722637 w 2216150"/>
                    <a:gd name="connsiteY28" fmla="*/ 923036 h 2082800"/>
                    <a:gd name="connsiteX29" fmla="*/ 651327 w 2216150"/>
                    <a:gd name="connsiteY29" fmla="*/ 847281 h 2082800"/>
                    <a:gd name="connsiteX30" fmla="*/ 607630 w 2216150"/>
                    <a:gd name="connsiteY30" fmla="*/ 782743 h 2082800"/>
                    <a:gd name="connsiteX31" fmla="*/ 564308 w 2216150"/>
                    <a:gd name="connsiteY31" fmla="*/ 712449 h 2082800"/>
                    <a:gd name="connsiteX32" fmla="*/ 520069 w 2216150"/>
                    <a:gd name="connsiteY32" fmla="*/ 631233 h 2082800"/>
                    <a:gd name="connsiteX33" fmla="*/ 467222 w 2216150"/>
                    <a:gd name="connsiteY33" fmla="*/ 529484 h 2082800"/>
                    <a:gd name="connsiteX34" fmla="*/ 445373 w 2216150"/>
                    <a:gd name="connsiteY34" fmla="*/ 485330 h 2082800"/>
                    <a:gd name="connsiteX35" fmla="*/ 401676 w 2216150"/>
                    <a:gd name="connsiteY35" fmla="*/ 400642 h 2082800"/>
                    <a:gd name="connsiteX36" fmla="*/ 338762 w 2216150"/>
                    <a:gd name="connsiteY36" fmla="*/ 347261 h 2082800"/>
                    <a:gd name="connsiteX37" fmla="*/ 293184 w 2216150"/>
                    <a:gd name="connsiteY37" fmla="*/ 312780 h 2082800"/>
                    <a:gd name="connsiteX38" fmla="*/ 227095 w 2216150"/>
                    <a:gd name="connsiteY38" fmla="*/ 303551 h 2082800"/>
                    <a:gd name="connsiteX39" fmla="*/ 172202 w 2216150"/>
                    <a:gd name="connsiteY39" fmla="*/ 312484 h 2082800"/>
                    <a:gd name="connsiteX40" fmla="*/ 130175 w 2216150"/>
                    <a:gd name="connsiteY40" fmla="*/ 339725 h 2082800"/>
                    <a:gd name="connsiteX41" fmla="*/ 104775 w 2216150"/>
                    <a:gd name="connsiteY41" fmla="*/ 346075 h 2082800"/>
                    <a:gd name="connsiteX42" fmla="*/ 0 w 2216150"/>
                    <a:gd name="connsiteY42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76823 w 2216150"/>
                    <a:gd name="connsiteY26" fmla="*/ 965349 h 2082800"/>
                    <a:gd name="connsiteX27" fmla="*/ 722637 w 2216150"/>
                    <a:gd name="connsiteY27" fmla="*/ 923036 h 2082800"/>
                    <a:gd name="connsiteX28" fmla="*/ 651327 w 2216150"/>
                    <a:gd name="connsiteY28" fmla="*/ 847281 h 2082800"/>
                    <a:gd name="connsiteX29" fmla="*/ 607630 w 2216150"/>
                    <a:gd name="connsiteY29" fmla="*/ 782743 h 2082800"/>
                    <a:gd name="connsiteX30" fmla="*/ 564308 w 2216150"/>
                    <a:gd name="connsiteY30" fmla="*/ 712449 h 2082800"/>
                    <a:gd name="connsiteX31" fmla="*/ 520069 w 2216150"/>
                    <a:gd name="connsiteY31" fmla="*/ 631233 h 2082800"/>
                    <a:gd name="connsiteX32" fmla="*/ 467222 w 2216150"/>
                    <a:gd name="connsiteY32" fmla="*/ 529484 h 2082800"/>
                    <a:gd name="connsiteX33" fmla="*/ 445373 w 2216150"/>
                    <a:gd name="connsiteY33" fmla="*/ 485330 h 2082800"/>
                    <a:gd name="connsiteX34" fmla="*/ 401676 w 2216150"/>
                    <a:gd name="connsiteY34" fmla="*/ 400642 h 2082800"/>
                    <a:gd name="connsiteX35" fmla="*/ 338762 w 2216150"/>
                    <a:gd name="connsiteY35" fmla="*/ 347261 h 2082800"/>
                    <a:gd name="connsiteX36" fmla="*/ 293184 w 2216150"/>
                    <a:gd name="connsiteY36" fmla="*/ 312780 h 2082800"/>
                    <a:gd name="connsiteX37" fmla="*/ 227095 w 2216150"/>
                    <a:gd name="connsiteY37" fmla="*/ 303551 h 2082800"/>
                    <a:gd name="connsiteX38" fmla="*/ 172202 w 2216150"/>
                    <a:gd name="connsiteY38" fmla="*/ 312484 h 2082800"/>
                    <a:gd name="connsiteX39" fmla="*/ 130175 w 2216150"/>
                    <a:gd name="connsiteY39" fmla="*/ 339725 h 2082800"/>
                    <a:gd name="connsiteX40" fmla="*/ 104775 w 2216150"/>
                    <a:gd name="connsiteY40" fmla="*/ 346075 h 2082800"/>
                    <a:gd name="connsiteX41" fmla="*/ 0 w 2216150"/>
                    <a:gd name="connsiteY41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0100 w 2216150"/>
                    <a:gd name="connsiteY25" fmla="*/ 990600 h 2082800"/>
                    <a:gd name="connsiteX26" fmla="*/ 754432 w 2216150"/>
                    <a:gd name="connsiteY26" fmla="*/ 953241 h 2082800"/>
                    <a:gd name="connsiteX27" fmla="*/ 722637 w 2216150"/>
                    <a:gd name="connsiteY27" fmla="*/ 923036 h 2082800"/>
                    <a:gd name="connsiteX28" fmla="*/ 651327 w 2216150"/>
                    <a:gd name="connsiteY28" fmla="*/ 847281 h 2082800"/>
                    <a:gd name="connsiteX29" fmla="*/ 607630 w 2216150"/>
                    <a:gd name="connsiteY29" fmla="*/ 782743 h 2082800"/>
                    <a:gd name="connsiteX30" fmla="*/ 564308 w 2216150"/>
                    <a:gd name="connsiteY30" fmla="*/ 712449 h 2082800"/>
                    <a:gd name="connsiteX31" fmla="*/ 520069 w 2216150"/>
                    <a:gd name="connsiteY31" fmla="*/ 631233 h 2082800"/>
                    <a:gd name="connsiteX32" fmla="*/ 467222 w 2216150"/>
                    <a:gd name="connsiteY32" fmla="*/ 529484 h 2082800"/>
                    <a:gd name="connsiteX33" fmla="*/ 445373 w 2216150"/>
                    <a:gd name="connsiteY33" fmla="*/ 485330 h 2082800"/>
                    <a:gd name="connsiteX34" fmla="*/ 401676 w 2216150"/>
                    <a:gd name="connsiteY34" fmla="*/ 400642 h 2082800"/>
                    <a:gd name="connsiteX35" fmla="*/ 338762 w 2216150"/>
                    <a:gd name="connsiteY35" fmla="*/ 347261 h 2082800"/>
                    <a:gd name="connsiteX36" fmla="*/ 293184 w 2216150"/>
                    <a:gd name="connsiteY36" fmla="*/ 312780 h 2082800"/>
                    <a:gd name="connsiteX37" fmla="*/ 227095 w 2216150"/>
                    <a:gd name="connsiteY37" fmla="*/ 303551 h 2082800"/>
                    <a:gd name="connsiteX38" fmla="*/ 172202 w 2216150"/>
                    <a:gd name="connsiteY38" fmla="*/ 312484 h 2082800"/>
                    <a:gd name="connsiteX39" fmla="*/ 130175 w 2216150"/>
                    <a:gd name="connsiteY39" fmla="*/ 339725 h 2082800"/>
                    <a:gd name="connsiteX40" fmla="*/ 104775 w 2216150"/>
                    <a:gd name="connsiteY40" fmla="*/ 346075 h 2082800"/>
                    <a:gd name="connsiteX41" fmla="*/ 0 w 2216150"/>
                    <a:gd name="connsiteY41" fmla="*/ 406400 h 2082800"/>
                    <a:gd name="connsiteX0" fmla="*/ 0 w 2216150"/>
                    <a:gd name="connsiteY0" fmla="*/ 406400 h 2082800"/>
                    <a:gd name="connsiteX1" fmla="*/ 6350 w 2216150"/>
                    <a:gd name="connsiteY1" fmla="*/ 2082800 h 2082800"/>
                    <a:gd name="connsiteX2" fmla="*/ 2212975 w 2216150"/>
                    <a:gd name="connsiteY2" fmla="*/ 2082800 h 2082800"/>
                    <a:gd name="connsiteX3" fmla="*/ 2216150 w 2216150"/>
                    <a:gd name="connsiteY3" fmla="*/ 0 h 2082800"/>
                    <a:gd name="connsiteX4" fmla="*/ 2136775 w 2216150"/>
                    <a:gd name="connsiteY4" fmla="*/ 28575 h 2082800"/>
                    <a:gd name="connsiteX5" fmla="*/ 2070100 w 2216150"/>
                    <a:gd name="connsiteY5" fmla="*/ 76200 h 2082800"/>
                    <a:gd name="connsiteX6" fmla="*/ 1997075 w 2216150"/>
                    <a:gd name="connsiteY6" fmla="*/ 120650 h 2082800"/>
                    <a:gd name="connsiteX7" fmla="*/ 1920875 w 2216150"/>
                    <a:gd name="connsiteY7" fmla="*/ 155575 h 2082800"/>
                    <a:gd name="connsiteX8" fmla="*/ 1825625 w 2216150"/>
                    <a:gd name="connsiteY8" fmla="*/ 241300 h 2082800"/>
                    <a:gd name="connsiteX9" fmla="*/ 1733550 w 2216150"/>
                    <a:gd name="connsiteY9" fmla="*/ 307975 h 2082800"/>
                    <a:gd name="connsiteX10" fmla="*/ 1631950 w 2216150"/>
                    <a:gd name="connsiteY10" fmla="*/ 406400 h 2082800"/>
                    <a:gd name="connsiteX11" fmla="*/ 1543050 w 2216150"/>
                    <a:gd name="connsiteY11" fmla="*/ 469900 h 2082800"/>
                    <a:gd name="connsiteX12" fmla="*/ 1457325 w 2216150"/>
                    <a:gd name="connsiteY12" fmla="*/ 546100 h 2082800"/>
                    <a:gd name="connsiteX13" fmla="*/ 1336675 w 2216150"/>
                    <a:gd name="connsiteY13" fmla="*/ 638175 h 2082800"/>
                    <a:gd name="connsiteX14" fmla="*/ 1260475 w 2216150"/>
                    <a:gd name="connsiteY14" fmla="*/ 720725 h 2082800"/>
                    <a:gd name="connsiteX15" fmla="*/ 1133475 w 2216150"/>
                    <a:gd name="connsiteY15" fmla="*/ 793750 h 2082800"/>
                    <a:gd name="connsiteX16" fmla="*/ 1047750 w 2216150"/>
                    <a:gd name="connsiteY16" fmla="*/ 863600 h 2082800"/>
                    <a:gd name="connsiteX17" fmla="*/ 990600 w 2216150"/>
                    <a:gd name="connsiteY17" fmla="*/ 901700 h 2082800"/>
                    <a:gd name="connsiteX18" fmla="*/ 962025 w 2216150"/>
                    <a:gd name="connsiteY18" fmla="*/ 917575 h 2082800"/>
                    <a:gd name="connsiteX19" fmla="*/ 923925 w 2216150"/>
                    <a:gd name="connsiteY19" fmla="*/ 939800 h 2082800"/>
                    <a:gd name="connsiteX20" fmla="*/ 898525 w 2216150"/>
                    <a:gd name="connsiteY20" fmla="*/ 952500 h 2082800"/>
                    <a:gd name="connsiteX21" fmla="*/ 889000 w 2216150"/>
                    <a:gd name="connsiteY21" fmla="*/ 955675 h 2082800"/>
                    <a:gd name="connsiteX22" fmla="*/ 882650 w 2216150"/>
                    <a:gd name="connsiteY22" fmla="*/ 958850 h 2082800"/>
                    <a:gd name="connsiteX23" fmla="*/ 857250 w 2216150"/>
                    <a:gd name="connsiteY23" fmla="*/ 971550 h 2082800"/>
                    <a:gd name="connsiteX24" fmla="*/ 831850 w 2216150"/>
                    <a:gd name="connsiteY24" fmla="*/ 981075 h 2082800"/>
                    <a:gd name="connsiteX25" fmla="*/ 802898 w 2216150"/>
                    <a:gd name="connsiteY25" fmla="*/ 969413 h 2082800"/>
                    <a:gd name="connsiteX26" fmla="*/ 754432 w 2216150"/>
                    <a:gd name="connsiteY26" fmla="*/ 953241 h 2082800"/>
                    <a:gd name="connsiteX27" fmla="*/ 722637 w 2216150"/>
                    <a:gd name="connsiteY27" fmla="*/ 923036 h 2082800"/>
                    <a:gd name="connsiteX28" fmla="*/ 651327 w 2216150"/>
                    <a:gd name="connsiteY28" fmla="*/ 847281 h 2082800"/>
                    <a:gd name="connsiteX29" fmla="*/ 607630 w 2216150"/>
                    <a:gd name="connsiteY29" fmla="*/ 782743 h 2082800"/>
                    <a:gd name="connsiteX30" fmla="*/ 564308 w 2216150"/>
                    <a:gd name="connsiteY30" fmla="*/ 712449 h 2082800"/>
                    <a:gd name="connsiteX31" fmla="*/ 520069 w 2216150"/>
                    <a:gd name="connsiteY31" fmla="*/ 631233 h 2082800"/>
                    <a:gd name="connsiteX32" fmla="*/ 467222 w 2216150"/>
                    <a:gd name="connsiteY32" fmla="*/ 529484 h 2082800"/>
                    <a:gd name="connsiteX33" fmla="*/ 445373 w 2216150"/>
                    <a:gd name="connsiteY33" fmla="*/ 485330 h 2082800"/>
                    <a:gd name="connsiteX34" fmla="*/ 401676 w 2216150"/>
                    <a:gd name="connsiteY34" fmla="*/ 400642 h 2082800"/>
                    <a:gd name="connsiteX35" fmla="*/ 338762 w 2216150"/>
                    <a:gd name="connsiteY35" fmla="*/ 347261 h 2082800"/>
                    <a:gd name="connsiteX36" fmla="*/ 293184 w 2216150"/>
                    <a:gd name="connsiteY36" fmla="*/ 312780 h 2082800"/>
                    <a:gd name="connsiteX37" fmla="*/ 227095 w 2216150"/>
                    <a:gd name="connsiteY37" fmla="*/ 303551 h 2082800"/>
                    <a:gd name="connsiteX38" fmla="*/ 172202 w 2216150"/>
                    <a:gd name="connsiteY38" fmla="*/ 312484 h 2082800"/>
                    <a:gd name="connsiteX39" fmla="*/ 130175 w 2216150"/>
                    <a:gd name="connsiteY39" fmla="*/ 339725 h 2082800"/>
                    <a:gd name="connsiteX40" fmla="*/ 104775 w 2216150"/>
                    <a:gd name="connsiteY40" fmla="*/ 346075 h 2082800"/>
                    <a:gd name="connsiteX41" fmla="*/ 0 w 2216150"/>
                    <a:gd name="connsiteY41" fmla="*/ 406400 h 2082800"/>
                    <a:gd name="connsiteX0" fmla="*/ 0 w 2216150"/>
                    <a:gd name="connsiteY0" fmla="*/ 377825 h 2054225"/>
                    <a:gd name="connsiteX1" fmla="*/ 6350 w 2216150"/>
                    <a:gd name="connsiteY1" fmla="*/ 2054225 h 2054225"/>
                    <a:gd name="connsiteX2" fmla="*/ 2212975 w 2216150"/>
                    <a:gd name="connsiteY2" fmla="*/ 2054225 h 2054225"/>
                    <a:gd name="connsiteX3" fmla="*/ 2216150 w 2216150"/>
                    <a:gd name="connsiteY3" fmla="*/ 239298 h 2054225"/>
                    <a:gd name="connsiteX4" fmla="*/ 2136775 w 2216150"/>
                    <a:gd name="connsiteY4" fmla="*/ 0 h 2054225"/>
                    <a:gd name="connsiteX5" fmla="*/ 2070100 w 2216150"/>
                    <a:gd name="connsiteY5" fmla="*/ 47625 h 2054225"/>
                    <a:gd name="connsiteX6" fmla="*/ 1997075 w 2216150"/>
                    <a:gd name="connsiteY6" fmla="*/ 92075 h 2054225"/>
                    <a:gd name="connsiteX7" fmla="*/ 1920875 w 2216150"/>
                    <a:gd name="connsiteY7" fmla="*/ 127000 h 2054225"/>
                    <a:gd name="connsiteX8" fmla="*/ 1825625 w 2216150"/>
                    <a:gd name="connsiteY8" fmla="*/ 212725 h 2054225"/>
                    <a:gd name="connsiteX9" fmla="*/ 1733550 w 2216150"/>
                    <a:gd name="connsiteY9" fmla="*/ 279400 h 2054225"/>
                    <a:gd name="connsiteX10" fmla="*/ 1631950 w 2216150"/>
                    <a:gd name="connsiteY10" fmla="*/ 377825 h 2054225"/>
                    <a:gd name="connsiteX11" fmla="*/ 1543050 w 2216150"/>
                    <a:gd name="connsiteY11" fmla="*/ 441325 h 2054225"/>
                    <a:gd name="connsiteX12" fmla="*/ 1457325 w 2216150"/>
                    <a:gd name="connsiteY12" fmla="*/ 517525 h 2054225"/>
                    <a:gd name="connsiteX13" fmla="*/ 1336675 w 2216150"/>
                    <a:gd name="connsiteY13" fmla="*/ 609600 h 2054225"/>
                    <a:gd name="connsiteX14" fmla="*/ 1260475 w 2216150"/>
                    <a:gd name="connsiteY14" fmla="*/ 692150 h 2054225"/>
                    <a:gd name="connsiteX15" fmla="*/ 1133475 w 2216150"/>
                    <a:gd name="connsiteY15" fmla="*/ 765175 h 2054225"/>
                    <a:gd name="connsiteX16" fmla="*/ 1047750 w 2216150"/>
                    <a:gd name="connsiteY16" fmla="*/ 835025 h 2054225"/>
                    <a:gd name="connsiteX17" fmla="*/ 990600 w 2216150"/>
                    <a:gd name="connsiteY17" fmla="*/ 873125 h 2054225"/>
                    <a:gd name="connsiteX18" fmla="*/ 962025 w 2216150"/>
                    <a:gd name="connsiteY18" fmla="*/ 889000 h 2054225"/>
                    <a:gd name="connsiteX19" fmla="*/ 923925 w 2216150"/>
                    <a:gd name="connsiteY19" fmla="*/ 911225 h 2054225"/>
                    <a:gd name="connsiteX20" fmla="*/ 898525 w 2216150"/>
                    <a:gd name="connsiteY20" fmla="*/ 923925 h 2054225"/>
                    <a:gd name="connsiteX21" fmla="*/ 889000 w 2216150"/>
                    <a:gd name="connsiteY21" fmla="*/ 927100 h 2054225"/>
                    <a:gd name="connsiteX22" fmla="*/ 882650 w 2216150"/>
                    <a:gd name="connsiteY22" fmla="*/ 930275 h 2054225"/>
                    <a:gd name="connsiteX23" fmla="*/ 857250 w 2216150"/>
                    <a:gd name="connsiteY23" fmla="*/ 942975 h 2054225"/>
                    <a:gd name="connsiteX24" fmla="*/ 831850 w 2216150"/>
                    <a:gd name="connsiteY24" fmla="*/ 952500 h 2054225"/>
                    <a:gd name="connsiteX25" fmla="*/ 802898 w 2216150"/>
                    <a:gd name="connsiteY25" fmla="*/ 940838 h 2054225"/>
                    <a:gd name="connsiteX26" fmla="*/ 754432 w 2216150"/>
                    <a:gd name="connsiteY26" fmla="*/ 924666 h 2054225"/>
                    <a:gd name="connsiteX27" fmla="*/ 722637 w 2216150"/>
                    <a:gd name="connsiteY27" fmla="*/ 894461 h 2054225"/>
                    <a:gd name="connsiteX28" fmla="*/ 651327 w 2216150"/>
                    <a:gd name="connsiteY28" fmla="*/ 818706 h 2054225"/>
                    <a:gd name="connsiteX29" fmla="*/ 607630 w 2216150"/>
                    <a:gd name="connsiteY29" fmla="*/ 754168 h 2054225"/>
                    <a:gd name="connsiteX30" fmla="*/ 564308 w 2216150"/>
                    <a:gd name="connsiteY30" fmla="*/ 683874 h 2054225"/>
                    <a:gd name="connsiteX31" fmla="*/ 520069 w 2216150"/>
                    <a:gd name="connsiteY31" fmla="*/ 602658 h 2054225"/>
                    <a:gd name="connsiteX32" fmla="*/ 467222 w 2216150"/>
                    <a:gd name="connsiteY32" fmla="*/ 500909 h 2054225"/>
                    <a:gd name="connsiteX33" fmla="*/ 445373 w 2216150"/>
                    <a:gd name="connsiteY33" fmla="*/ 456755 h 2054225"/>
                    <a:gd name="connsiteX34" fmla="*/ 401676 w 2216150"/>
                    <a:gd name="connsiteY34" fmla="*/ 372067 h 2054225"/>
                    <a:gd name="connsiteX35" fmla="*/ 338762 w 2216150"/>
                    <a:gd name="connsiteY35" fmla="*/ 318686 h 2054225"/>
                    <a:gd name="connsiteX36" fmla="*/ 293184 w 2216150"/>
                    <a:gd name="connsiteY36" fmla="*/ 284205 h 2054225"/>
                    <a:gd name="connsiteX37" fmla="*/ 227095 w 2216150"/>
                    <a:gd name="connsiteY37" fmla="*/ 274976 h 2054225"/>
                    <a:gd name="connsiteX38" fmla="*/ 172202 w 2216150"/>
                    <a:gd name="connsiteY38" fmla="*/ 283909 h 2054225"/>
                    <a:gd name="connsiteX39" fmla="*/ 130175 w 2216150"/>
                    <a:gd name="connsiteY39" fmla="*/ 311150 h 2054225"/>
                    <a:gd name="connsiteX40" fmla="*/ 104775 w 2216150"/>
                    <a:gd name="connsiteY40" fmla="*/ 317500 h 2054225"/>
                    <a:gd name="connsiteX41" fmla="*/ 0 w 2216150"/>
                    <a:gd name="connsiteY41" fmla="*/ 377825 h 2054225"/>
                    <a:gd name="connsiteX0" fmla="*/ 0 w 2216150"/>
                    <a:gd name="connsiteY0" fmla="*/ 330200 h 2006600"/>
                    <a:gd name="connsiteX1" fmla="*/ 6350 w 2216150"/>
                    <a:gd name="connsiteY1" fmla="*/ 2006600 h 2006600"/>
                    <a:gd name="connsiteX2" fmla="*/ 2212975 w 2216150"/>
                    <a:gd name="connsiteY2" fmla="*/ 2006600 h 2006600"/>
                    <a:gd name="connsiteX3" fmla="*/ 2216150 w 2216150"/>
                    <a:gd name="connsiteY3" fmla="*/ 191673 h 2006600"/>
                    <a:gd name="connsiteX4" fmla="*/ 2140973 w 2216150"/>
                    <a:gd name="connsiteY4" fmla="*/ 206628 h 2006600"/>
                    <a:gd name="connsiteX5" fmla="*/ 2070100 w 2216150"/>
                    <a:gd name="connsiteY5" fmla="*/ 0 h 2006600"/>
                    <a:gd name="connsiteX6" fmla="*/ 1997075 w 2216150"/>
                    <a:gd name="connsiteY6" fmla="*/ 44450 h 2006600"/>
                    <a:gd name="connsiteX7" fmla="*/ 1920875 w 2216150"/>
                    <a:gd name="connsiteY7" fmla="*/ 79375 h 2006600"/>
                    <a:gd name="connsiteX8" fmla="*/ 1825625 w 2216150"/>
                    <a:gd name="connsiteY8" fmla="*/ 165100 h 2006600"/>
                    <a:gd name="connsiteX9" fmla="*/ 1733550 w 2216150"/>
                    <a:gd name="connsiteY9" fmla="*/ 231775 h 2006600"/>
                    <a:gd name="connsiteX10" fmla="*/ 1631950 w 2216150"/>
                    <a:gd name="connsiteY10" fmla="*/ 330200 h 2006600"/>
                    <a:gd name="connsiteX11" fmla="*/ 1543050 w 2216150"/>
                    <a:gd name="connsiteY11" fmla="*/ 393700 h 2006600"/>
                    <a:gd name="connsiteX12" fmla="*/ 1457325 w 2216150"/>
                    <a:gd name="connsiteY12" fmla="*/ 469900 h 2006600"/>
                    <a:gd name="connsiteX13" fmla="*/ 1336675 w 2216150"/>
                    <a:gd name="connsiteY13" fmla="*/ 561975 h 2006600"/>
                    <a:gd name="connsiteX14" fmla="*/ 1260475 w 2216150"/>
                    <a:gd name="connsiteY14" fmla="*/ 644525 h 2006600"/>
                    <a:gd name="connsiteX15" fmla="*/ 1133475 w 2216150"/>
                    <a:gd name="connsiteY15" fmla="*/ 717550 h 2006600"/>
                    <a:gd name="connsiteX16" fmla="*/ 1047750 w 2216150"/>
                    <a:gd name="connsiteY16" fmla="*/ 787400 h 2006600"/>
                    <a:gd name="connsiteX17" fmla="*/ 990600 w 2216150"/>
                    <a:gd name="connsiteY17" fmla="*/ 825500 h 2006600"/>
                    <a:gd name="connsiteX18" fmla="*/ 962025 w 2216150"/>
                    <a:gd name="connsiteY18" fmla="*/ 841375 h 2006600"/>
                    <a:gd name="connsiteX19" fmla="*/ 923925 w 2216150"/>
                    <a:gd name="connsiteY19" fmla="*/ 863600 h 2006600"/>
                    <a:gd name="connsiteX20" fmla="*/ 898525 w 2216150"/>
                    <a:gd name="connsiteY20" fmla="*/ 876300 h 2006600"/>
                    <a:gd name="connsiteX21" fmla="*/ 889000 w 2216150"/>
                    <a:gd name="connsiteY21" fmla="*/ 879475 h 2006600"/>
                    <a:gd name="connsiteX22" fmla="*/ 882650 w 2216150"/>
                    <a:gd name="connsiteY22" fmla="*/ 882650 h 2006600"/>
                    <a:gd name="connsiteX23" fmla="*/ 857250 w 2216150"/>
                    <a:gd name="connsiteY23" fmla="*/ 895350 h 2006600"/>
                    <a:gd name="connsiteX24" fmla="*/ 831850 w 2216150"/>
                    <a:gd name="connsiteY24" fmla="*/ 904875 h 2006600"/>
                    <a:gd name="connsiteX25" fmla="*/ 802898 w 2216150"/>
                    <a:gd name="connsiteY25" fmla="*/ 893213 h 2006600"/>
                    <a:gd name="connsiteX26" fmla="*/ 754432 w 2216150"/>
                    <a:gd name="connsiteY26" fmla="*/ 877041 h 2006600"/>
                    <a:gd name="connsiteX27" fmla="*/ 722637 w 2216150"/>
                    <a:gd name="connsiteY27" fmla="*/ 846836 h 2006600"/>
                    <a:gd name="connsiteX28" fmla="*/ 651327 w 2216150"/>
                    <a:gd name="connsiteY28" fmla="*/ 771081 h 2006600"/>
                    <a:gd name="connsiteX29" fmla="*/ 607630 w 2216150"/>
                    <a:gd name="connsiteY29" fmla="*/ 706543 h 2006600"/>
                    <a:gd name="connsiteX30" fmla="*/ 564308 w 2216150"/>
                    <a:gd name="connsiteY30" fmla="*/ 636249 h 2006600"/>
                    <a:gd name="connsiteX31" fmla="*/ 520069 w 2216150"/>
                    <a:gd name="connsiteY31" fmla="*/ 555033 h 2006600"/>
                    <a:gd name="connsiteX32" fmla="*/ 467222 w 2216150"/>
                    <a:gd name="connsiteY32" fmla="*/ 453284 h 2006600"/>
                    <a:gd name="connsiteX33" fmla="*/ 445373 w 2216150"/>
                    <a:gd name="connsiteY33" fmla="*/ 409130 h 2006600"/>
                    <a:gd name="connsiteX34" fmla="*/ 401676 w 2216150"/>
                    <a:gd name="connsiteY34" fmla="*/ 324442 h 2006600"/>
                    <a:gd name="connsiteX35" fmla="*/ 338762 w 2216150"/>
                    <a:gd name="connsiteY35" fmla="*/ 271061 h 2006600"/>
                    <a:gd name="connsiteX36" fmla="*/ 293184 w 2216150"/>
                    <a:gd name="connsiteY36" fmla="*/ 236580 h 2006600"/>
                    <a:gd name="connsiteX37" fmla="*/ 227095 w 2216150"/>
                    <a:gd name="connsiteY37" fmla="*/ 227351 h 2006600"/>
                    <a:gd name="connsiteX38" fmla="*/ 172202 w 2216150"/>
                    <a:gd name="connsiteY38" fmla="*/ 236284 h 2006600"/>
                    <a:gd name="connsiteX39" fmla="*/ 130175 w 2216150"/>
                    <a:gd name="connsiteY39" fmla="*/ 263525 h 2006600"/>
                    <a:gd name="connsiteX40" fmla="*/ 104775 w 2216150"/>
                    <a:gd name="connsiteY40" fmla="*/ 269875 h 2006600"/>
                    <a:gd name="connsiteX41" fmla="*/ 0 w 2216150"/>
                    <a:gd name="connsiteY41" fmla="*/ 330200 h 2006600"/>
                    <a:gd name="connsiteX0" fmla="*/ 0 w 2216150"/>
                    <a:gd name="connsiteY0" fmla="*/ 285750 h 1962150"/>
                    <a:gd name="connsiteX1" fmla="*/ 6350 w 2216150"/>
                    <a:gd name="connsiteY1" fmla="*/ 1962150 h 1962150"/>
                    <a:gd name="connsiteX2" fmla="*/ 2212975 w 2216150"/>
                    <a:gd name="connsiteY2" fmla="*/ 1962150 h 1962150"/>
                    <a:gd name="connsiteX3" fmla="*/ 2216150 w 2216150"/>
                    <a:gd name="connsiteY3" fmla="*/ 147223 h 1962150"/>
                    <a:gd name="connsiteX4" fmla="*/ 2140973 w 2216150"/>
                    <a:gd name="connsiteY4" fmla="*/ 162178 h 1962150"/>
                    <a:gd name="connsiteX5" fmla="*/ 2036514 w 2216150"/>
                    <a:gd name="connsiteY5" fmla="*/ 209803 h 1962150"/>
                    <a:gd name="connsiteX6" fmla="*/ 1997075 w 2216150"/>
                    <a:gd name="connsiteY6" fmla="*/ 0 h 1962150"/>
                    <a:gd name="connsiteX7" fmla="*/ 1920875 w 2216150"/>
                    <a:gd name="connsiteY7" fmla="*/ 34925 h 1962150"/>
                    <a:gd name="connsiteX8" fmla="*/ 1825625 w 2216150"/>
                    <a:gd name="connsiteY8" fmla="*/ 120650 h 1962150"/>
                    <a:gd name="connsiteX9" fmla="*/ 1733550 w 2216150"/>
                    <a:gd name="connsiteY9" fmla="*/ 187325 h 1962150"/>
                    <a:gd name="connsiteX10" fmla="*/ 1631950 w 2216150"/>
                    <a:gd name="connsiteY10" fmla="*/ 285750 h 1962150"/>
                    <a:gd name="connsiteX11" fmla="*/ 1543050 w 2216150"/>
                    <a:gd name="connsiteY11" fmla="*/ 349250 h 1962150"/>
                    <a:gd name="connsiteX12" fmla="*/ 1457325 w 2216150"/>
                    <a:gd name="connsiteY12" fmla="*/ 425450 h 1962150"/>
                    <a:gd name="connsiteX13" fmla="*/ 1336675 w 2216150"/>
                    <a:gd name="connsiteY13" fmla="*/ 517525 h 1962150"/>
                    <a:gd name="connsiteX14" fmla="*/ 1260475 w 2216150"/>
                    <a:gd name="connsiteY14" fmla="*/ 600075 h 1962150"/>
                    <a:gd name="connsiteX15" fmla="*/ 1133475 w 2216150"/>
                    <a:gd name="connsiteY15" fmla="*/ 673100 h 1962150"/>
                    <a:gd name="connsiteX16" fmla="*/ 1047750 w 2216150"/>
                    <a:gd name="connsiteY16" fmla="*/ 742950 h 1962150"/>
                    <a:gd name="connsiteX17" fmla="*/ 990600 w 2216150"/>
                    <a:gd name="connsiteY17" fmla="*/ 781050 h 1962150"/>
                    <a:gd name="connsiteX18" fmla="*/ 962025 w 2216150"/>
                    <a:gd name="connsiteY18" fmla="*/ 796925 h 1962150"/>
                    <a:gd name="connsiteX19" fmla="*/ 923925 w 2216150"/>
                    <a:gd name="connsiteY19" fmla="*/ 819150 h 1962150"/>
                    <a:gd name="connsiteX20" fmla="*/ 898525 w 2216150"/>
                    <a:gd name="connsiteY20" fmla="*/ 831850 h 1962150"/>
                    <a:gd name="connsiteX21" fmla="*/ 889000 w 2216150"/>
                    <a:gd name="connsiteY21" fmla="*/ 835025 h 1962150"/>
                    <a:gd name="connsiteX22" fmla="*/ 882650 w 2216150"/>
                    <a:gd name="connsiteY22" fmla="*/ 838200 h 1962150"/>
                    <a:gd name="connsiteX23" fmla="*/ 857250 w 2216150"/>
                    <a:gd name="connsiteY23" fmla="*/ 850900 h 1962150"/>
                    <a:gd name="connsiteX24" fmla="*/ 831850 w 2216150"/>
                    <a:gd name="connsiteY24" fmla="*/ 860425 h 1962150"/>
                    <a:gd name="connsiteX25" fmla="*/ 802898 w 2216150"/>
                    <a:gd name="connsiteY25" fmla="*/ 848763 h 1962150"/>
                    <a:gd name="connsiteX26" fmla="*/ 754432 w 2216150"/>
                    <a:gd name="connsiteY26" fmla="*/ 832591 h 1962150"/>
                    <a:gd name="connsiteX27" fmla="*/ 722637 w 2216150"/>
                    <a:gd name="connsiteY27" fmla="*/ 802386 h 1962150"/>
                    <a:gd name="connsiteX28" fmla="*/ 651327 w 2216150"/>
                    <a:gd name="connsiteY28" fmla="*/ 726631 h 1962150"/>
                    <a:gd name="connsiteX29" fmla="*/ 607630 w 2216150"/>
                    <a:gd name="connsiteY29" fmla="*/ 662093 h 1962150"/>
                    <a:gd name="connsiteX30" fmla="*/ 564308 w 2216150"/>
                    <a:gd name="connsiteY30" fmla="*/ 591799 h 1962150"/>
                    <a:gd name="connsiteX31" fmla="*/ 520069 w 2216150"/>
                    <a:gd name="connsiteY31" fmla="*/ 510583 h 1962150"/>
                    <a:gd name="connsiteX32" fmla="*/ 467222 w 2216150"/>
                    <a:gd name="connsiteY32" fmla="*/ 408834 h 1962150"/>
                    <a:gd name="connsiteX33" fmla="*/ 445373 w 2216150"/>
                    <a:gd name="connsiteY33" fmla="*/ 364680 h 1962150"/>
                    <a:gd name="connsiteX34" fmla="*/ 401676 w 2216150"/>
                    <a:gd name="connsiteY34" fmla="*/ 279992 h 1962150"/>
                    <a:gd name="connsiteX35" fmla="*/ 338762 w 2216150"/>
                    <a:gd name="connsiteY35" fmla="*/ 226611 h 1962150"/>
                    <a:gd name="connsiteX36" fmla="*/ 293184 w 2216150"/>
                    <a:gd name="connsiteY36" fmla="*/ 192130 h 1962150"/>
                    <a:gd name="connsiteX37" fmla="*/ 227095 w 2216150"/>
                    <a:gd name="connsiteY37" fmla="*/ 182901 h 1962150"/>
                    <a:gd name="connsiteX38" fmla="*/ 172202 w 2216150"/>
                    <a:gd name="connsiteY38" fmla="*/ 191834 h 1962150"/>
                    <a:gd name="connsiteX39" fmla="*/ 130175 w 2216150"/>
                    <a:gd name="connsiteY39" fmla="*/ 219075 h 1962150"/>
                    <a:gd name="connsiteX40" fmla="*/ 104775 w 2216150"/>
                    <a:gd name="connsiteY40" fmla="*/ 225425 h 1962150"/>
                    <a:gd name="connsiteX41" fmla="*/ 0 w 2216150"/>
                    <a:gd name="connsiteY41" fmla="*/ 285750 h 1962150"/>
                    <a:gd name="connsiteX0" fmla="*/ 0 w 2216150"/>
                    <a:gd name="connsiteY0" fmla="*/ 250825 h 1927225"/>
                    <a:gd name="connsiteX1" fmla="*/ 6350 w 2216150"/>
                    <a:gd name="connsiteY1" fmla="*/ 1927225 h 1927225"/>
                    <a:gd name="connsiteX2" fmla="*/ 2212975 w 2216150"/>
                    <a:gd name="connsiteY2" fmla="*/ 1927225 h 1927225"/>
                    <a:gd name="connsiteX3" fmla="*/ 2216150 w 2216150"/>
                    <a:gd name="connsiteY3" fmla="*/ 112298 h 1927225"/>
                    <a:gd name="connsiteX4" fmla="*/ 2140973 w 2216150"/>
                    <a:gd name="connsiteY4" fmla="*/ 127253 h 1927225"/>
                    <a:gd name="connsiteX5" fmla="*/ 2036514 w 2216150"/>
                    <a:gd name="connsiteY5" fmla="*/ 174878 h 1927225"/>
                    <a:gd name="connsiteX6" fmla="*/ 1913110 w 2216150"/>
                    <a:gd name="connsiteY6" fmla="*/ 232948 h 1927225"/>
                    <a:gd name="connsiteX7" fmla="*/ 1920875 w 2216150"/>
                    <a:gd name="connsiteY7" fmla="*/ 0 h 1927225"/>
                    <a:gd name="connsiteX8" fmla="*/ 1825625 w 2216150"/>
                    <a:gd name="connsiteY8" fmla="*/ 85725 h 1927225"/>
                    <a:gd name="connsiteX9" fmla="*/ 1733550 w 2216150"/>
                    <a:gd name="connsiteY9" fmla="*/ 152400 h 1927225"/>
                    <a:gd name="connsiteX10" fmla="*/ 1631950 w 2216150"/>
                    <a:gd name="connsiteY10" fmla="*/ 250825 h 1927225"/>
                    <a:gd name="connsiteX11" fmla="*/ 1543050 w 2216150"/>
                    <a:gd name="connsiteY11" fmla="*/ 314325 h 1927225"/>
                    <a:gd name="connsiteX12" fmla="*/ 1457325 w 2216150"/>
                    <a:gd name="connsiteY12" fmla="*/ 390525 h 1927225"/>
                    <a:gd name="connsiteX13" fmla="*/ 1336675 w 2216150"/>
                    <a:gd name="connsiteY13" fmla="*/ 482600 h 1927225"/>
                    <a:gd name="connsiteX14" fmla="*/ 1260475 w 2216150"/>
                    <a:gd name="connsiteY14" fmla="*/ 565150 h 1927225"/>
                    <a:gd name="connsiteX15" fmla="*/ 1133475 w 2216150"/>
                    <a:gd name="connsiteY15" fmla="*/ 638175 h 1927225"/>
                    <a:gd name="connsiteX16" fmla="*/ 1047750 w 2216150"/>
                    <a:gd name="connsiteY16" fmla="*/ 708025 h 1927225"/>
                    <a:gd name="connsiteX17" fmla="*/ 990600 w 2216150"/>
                    <a:gd name="connsiteY17" fmla="*/ 746125 h 1927225"/>
                    <a:gd name="connsiteX18" fmla="*/ 962025 w 2216150"/>
                    <a:gd name="connsiteY18" fmla="*/ 762000 h 1927225"/>
                    <a:gd name="connsiteX19" fmla="*/ 923925 w 2216150"/>
                    <a:gd name="connsiteY19" fmla="*/ 784225 h 1927225"/>
                    <a:gd name="connsiteX20" fmla="*/ 898525 w 2216150"/>
                    <a:gd name="connsiteY20" fmla="*/ 796925 h 1927225"/>
                    <a:gd name="connsiteX21" fmla="*/ 889000 w 2216150"/>
                    <a:gd name="connsiteY21" fmla="*/ 800100 h 1927225"/>
                    <a:gd name="connsiteX22" fmla="*/ 882650 w 2216150"/>
                    <a:gd name="connsiteY22" fmla="*/ 803275 h 1927225"/>
                    <a:gd name="connsiteX23" fmla="*/ 857250 w 2216150"/>
                    <a:gd name="connsiteY23" fmla="*/ 815975 h 1927225"/>
                    <a:gd name="connsiteX24" fmla="*/ 831850 w 2216150"/>
                    <a:gd name="connsiteY24" fmla="*/ 825500 h 1927225"/>
                    <a:gd name="connsiteX25" fmla="*/ 802898 w 2216150"/>
                    <a:gd name="connsiteY25" fmla="*/ 813838 h 1927225"/>
                    <a:gd name="connsiteX26" fmla="*/ 754432 w 2216150"/>
                    <a:gd name="connsiteY26" fmla="*/ 797666 h 1927225"/>
                    <a:gd name="connsiteX27" fmla="*/ 722637 w 2216150"/>
                    <a:gd name="connsiteY27" fmla="*/ 767461 h 1927225"/>
                    <a:gd name="connsiteX28" fmla="*/ 651327 w 2216150"/>
                    <a:gd name="connsiteY28" fmla="*/ 691706 h 1927225"/>
                    <a:gd name="connsiteX29" fmla="*/ 607630 w 2216150"/>
                    <a:gd name="connsiteY29" fmla="*/ 627168 h 1927225"/>
                    <a:gd name="connsiteX30" fmla="*/ 564308 w 2216150"/>
                    <a:gd name="connsiteY30" fmla="*/ 556874 h 1927225"/>
                    <a:gd name="connsiteX31" fmla="*/ 520069 w 2216150"/>
                    <a:gd name="connsiteY31" fmla="*/ 475658 h 1927225"/>
                    <a:gd name="connsiteX32" fmla="*/ 467222 w 2216150"/>
                    <a:gd name="connsiteY32" fmla="*/ 373909 h 1927225"/>
                    <a:gd name="connsiteX33" fmla="*/ 445373 w 2216150"/>
                    <a:gd name="connsiteY33" fmla="*/ 329755 h 1927225"/>
                    <a:gd name="connsiteX34" fmla="*/ 401676 w 2216150"/>
                    <a:gd name="connsiteY34" fmla="*/ 245067 h 1927225"/>
                    <a:gd name="connsiteX35" fmla="*/ 338762 w 2216150"/>
                    <a:gd name="connsiteY35" fmla="*/ 191686 h 1927225"/>
                    <a:gd name="connsiteX36" fmla="*/ 293184 w 2216150"/>
                    <a:gd name="connsiteY36" fmla="*/ 157205 h 1927225"/>
                    <a:gd name="connsiteX37" fmla="*/ 227095 w 2216150"/>
                    <a:gd name="connsiteY37" fmla="*/ 147976 h 1927225"/>
                    <a:gd name="connsiteX38" fmla="*/ 172202 w 2216150"/>
                    <a:gd name="connsiteY38" fmla="*/ 156909 h 1927225"/>
                    <a:gd name="connsiteX39" fmla="*/ 130175 w 2216150"/>
                    <a:gd name="connsiteY39" fmla="*/ 184150 h 1927225"/>
                    <a:gd name="connsiteX40" fmla="*/ 104775 w 2216150"/>
                    <a:gd name="connsiteY40" fmla="*/ 190500 h 1927225"/>
                    <a:gd name="connsiteX41" fmla="*/ 0 w 2216150"/>
                    <a:gd name="connsiteY41" fmla="*/ 250825 h 1927225"/>
                    <a:gd name="connsiteX0" fmla="*/ 0 w 2216150"/>
                    <a:gd name="connsiteY0" fmla="*/ 165100 h 1841500"/>
                    <a:gd name="connsiteX1" fmla="*/ 6350 w 2216150"/>
                    <a:gd name="connsiteY1" fmla="*/ 1841500 h 1841500"/>
                    <a:gd name="connsiteX2" fmla="*/ 2212975 w 2216150"/>
                    <a:gd name="connsiteY2" fmla="*/ 1841500 h 1841500"/>
                    <a:gd name="connsiteX3" fmla="*/ 2216150 w 2216150"/>
                    <a:gd name="connsiteY3" fmla="*/ 26573 h 1841500"/>
                    <a:gd name="connsiteX4" fmla="*/ 2140973 w 2216150"/>
                    <a:gd name="connsiteY4" fmla="*/ 41528 h 1841500"/>
                    <a:gd name="connsiteX5" fmla="*/ 2036514 w 2216150"/>
                    <a:gd name="connsiteY5" fmla="*/ 89153 h 1841500"/>
                    <a:gd name="connsiteX6" fmla="*/ 1913110 w 2216150"/>
                    <a:gd name="connsiteY6" fmla="*/ 147223 h 1841500"/>
                    <a:gd name="connsiteX7" fmla="*/ 1790729 w 2216150"/>
                    <a:gd name="connsiteY7" fmla="*/ 227551 h 1841500"/>
                    <a:gd name="connsiteX8" fmla="*/ 1825625 w 2216150"/>
                    <a:gd name="connsiteY8" fmla="*/ 0 h 1841500"/>
                    <a:gd name="connsiteX9" fmla="*/ 1733550 w 2216150"/>
                    <a:gd name="connsiteY9" fmla="*/ 66675 h 1841500"/>
                    <a:gd name="connsiteX10" fmla="*/ 1631950 w 2216150"/>
                    <a:gd name="connsiteY10" fmla="*/ 165100 h 1841500"/>
                    <a:gd name="connsiteX11" fmla="*/ 1543050 w 2216150"/>
                    <a:gd name="connsiteY11" fmla="*/ 228600 h 1841500"/>
                    <a:gd name="connsiteX12" fmla="*/ 1457325 w 2216150"/>
                    <a:gd name="connsiteY12" fmla="*/ 304800 h 1841500"/>
                    <a:gd name="connsiteX13" fmla="*/ 1336675 w 2216150"/>
                    <a:gd name="connsiteY13" fmla="*/ 396875 h 1841500"/>
                    <a:gd name="connsiteX14" fmla="*/ 1260475 w 2216150"/>
                    <a:gd name="connsiteY14" fmla="*/ 479425 h 1841500"/>
                    <a:gd name="connsiteX15" fmla="*/ 1133475 w 2216150"/>
                    <a:gd name="connsiteY15" fmla="*/ 552450 h 1841500"/>
                    <a:gd name="connsiteX16" fmla="*/ 1047750 w 2216150"/>
                    <a:gd name="connsiteY16" fmla="*/ 622300 h 1841500"/>
                    <a:gd name="connsiteX17" fmla="*/ 990600 w 2216150"/>
                    <a:gd name="connsiteY17" fmla="*/ 660400 h 1841500"/>
                    <a:gd name="connsiteX18" fmla="*/ 962025 w 2216150"/>
                    <a:gd name="connsiteY18" fmla="*/ 676275 h 1841500"/>
                    <a:gd name="connsiteX19" fmla="*/ 923925 w 2216150"/>
                    <a:gd name="connsiteY19" fmla="*/ 698500 h 1841500"/>
                    <a:gd name="connsiteX20" fmla="*/ 898525 w 2216150"/>
                    <a:gd name="connsiteY20" fmla="*/ 711200 h 1841500"/>
                    <a:gd name="connsiteX21" fmla="*/ 889000 w 2216150"/>
                    <a:gd name="connsiteY21" fmla="*/ 714375 h 1841500"/>
                    <a:gd name="connsiteX22" fmla="*/ 882650 w 2216150"/>
                    <a:gd name="connsiteY22" fmla="*/ 717550 h 1841500"/>
                    <a:gd name="connsiteX23" fmla="*/ 857250 w 2216150"/>
                    <a:gd name="connsiteY23" fmla="*/ 730250 h 1841500"/>
                    <a:gd name="connsiteX24" fmla="*/ 831850 w 2216150"/>
                    <a:gd name="connsiteY24" fmla="*/ 739775 h 1841500"/>
                    <a:gd name="connsiteX25" fmla="*/ 802898 w 2216150"/>
                    <a:gd name="connsiteY25" fmla="*/ 728113 h 1841500"/>
                    <a:gd name="connsiteX26" fmla="*/ 754432 w 2216150"/>
                    <a:gd name="connsiteY26" fmla="*/ 711941 h 1841500"/>
                    <a:gd name="connsiteX27" fmla="*/ 722637 w 2216150"/>
                    <a:gd name="connsiteY27" fmla="*/ 681736 h 1841500"/>
                    <a:gd name="connsiteX28" fmla="*/ 651327 w 2216150"/>
                    <a:gd name="connsiteY28" fmla="*/ 605981 h 1841500"/>
                    <a:gd name="connsiteX29" fmla="*/ 607630 w 2216150"/>
                    <a:gd name="connsiteY29" fmla="*/ 541443 h 1841500"/>
                    <a:gd name="connsiteX30" fmla="*/ 564308 w 2216150"/>
                    <a:gd name="connsiteY30" fmla="*/ 471149 h 1841500"/>
                    <a:gd name="connsiteX31" fmla="*/ 520069 w 2216150"/>
                    <a:gd name="connsiteY31" fmla="*/ 389933 h 1841500"/>
                    <a:gd name="connsiteX32" fmla="*/ 467222 w 2216150"/>
                    <a:gd name="connsiteY32" fmla="*/ 288184 h 1841500"/>
                    <a:gd name="connsiteX33" fmla="*/ 445373 w 2216150"/>
                    <a:gd name="connsiteY33" fmla="*/ 244030 h 1841500"/>
                    <a:gd name="connsiteX34" fmla="*/ 401676 w 2216150"/>
                    <a:gd name="connsiteY34" fmla="*/ 159342 h 1841500"/>
                    <a:gd name="connsiteX35" fmla="*/ 338762 w 2216150"/>
                    <a:gd name="connsiteY35" fmla="*/ 105961 h 1841500"/>
                    <a:gd name="connsiteX36" fmla="*/ 293184 w 2216150"/>
                    <a:gd name="connsiteY36" fmla="*/ 71480 h 1841500"/>
                    <a:gd name="connsiteX37" fmla="*/ 227095 w 2216150"/>
                    <a:gd name="connsiteY37" fmla="*/ 62251 h 1841500"/>
                    <a:gd name="connsiteX38" fmla="*/ 172202 w 2216150"/>
                    <a:gd name="connsiteY38" fmla="*/ 71184 h 1841500"/>
                    <a:gd name="connsiteX39" fmla="*/ 130175 w 2216150"/>
                    <a:gd name="connsiteY39" fmla="*/ 98425 h 1841500"/>
                    <a:gd name="connsiteX40" fmla="*/ 104775 w 2216150"/>
                    <a:gd name="connsiteY40" fmla="*/ 104775 h 1841500"/>
                    <a:gd name="connsiteX41" fmla="*/ 0 w 2216150"/>
                    <a:gd name="connsiteY41" fmla="*/ 165100 h 1841500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733550 w 2216150"/>
                    <a:gd name="connsiteY9" fmla="*/ 40102 h 1814927"/>
                    <a:gd name="connsiteX10" fmla="*/ 1631950 w 2216150"/>
                    <a:gd name="connsiteY10" fmla="*/ 138527 h 1814927"/>
                    <a:gd name="connsiteX11" fmla="*/ 1543050 w 2216150"/>
                    <a:gd name="connsiteY11" fmla="*/ 202027 h 1814927"/>
                    <a:gd name="connsiteX12" fmla="*/ 1457325 w 2216150"/>
                    <a:gd name="connsiteY12" fmla="*/ 278227 h 1814927"/>
                    <a:gd name="connsiteX13" fmla="*/ 1336675 w 2216150"/>
                    <a:gd name="connsiteY13" fmla="*/ 370302 h 1814927"/>
                    <a:gd name="connsiteX14" fmla="*/ 1260475 w 2216150"/>
                    <a:gd name="connsiteY14" fmla="*/ 452852 h 1814927"/>
                    <a:gd name="connsiteX15" fmla="*/ 1133475 w 2216150"/>
                    <a:gd name="connsiteY15" fmla="*/ 525877 h 1814927"/>
                    <a:gd name="connsiteX16" fmla="*/ 1047750 w 2216150"/>
                    <a:gd name="connsiteY16" fmla="*/ 595727 h 1814927"/>
                    <a:gd name="connsiteX17" fmla="*/ 990600 w 2216150"/>
                    <a:gd name="connsiteY17" fmla="*/ 633827 h 1814927"/>
                    <a:gd name="connsiteX18" fmla="*/ 962025 w 2216150"/>
                    <a:gd name="connsiteY18" fmla="*/ 649702 h 1814927"/>
                    <a:gd name="connsiteX19" fmla="*/ 923925 w 2216150"/>
                    <a:gd name="connsiteY19" fmla="*/ 671927 h 1814927"/>
                    <a:gd name="connsiteX20" fmla="*/ 898525 w 2216150"/>
                    <a:gd name="connsiteY20" fmla="*/ 684627 h 1814927"/>
                    <a:gd name="connsiteX21" fmla="*/ 889000 w 2216150"/>
                    <a:gd name="connsiteY21" fmla="*/ 687802 h 1814927"/>
                    <a:gd name="connsiteX22" fmla="*/ 882650 w 2216150"/>
                    <a:gd name="connsiteY22" fmla="*/ 690977 h 1814927"/>
                    <a:gd name="connsiteX23" fmla="*/ 857250 w 2216150"/>
                    <a:gd name="connsiteY23" fmla="*/ 703677 h 1814927"/>
                    <a:gd name="connsiteX24" fmla="*/ 831850 w 2216150"/>
                    <a:gd name="connsiteY24" fmla="*/ 713202 h 1814927"/>
                    <a:gd name="connsiteX25" fmla="*/ 802898 w 2216150"/>
                    <a:gd name="connsiteY25" fmla="*/ 701540 h 1814927"/>
                    <a:gd name="connsiteX26" fmla="*/ 754432 w 2216150"/>
                    <a:gd name="connsiteY26" fmla="*/ 685368 h 1814927"/>
                    <a:gd name="connsiteX27" fmla="*/ 722637 w 2216150"/>
                    <a:gd name="connsiteY27" fmla="*/ 655163 h 1814927"/>
                    <a:gd name="connsiteX28" fmla="*/ 651327 w 2216150"/>
                    <a:gd name="connsiteY28" fmla="*/ 579408 h 1814927"/>
                    <a:gd name="connsiteX29" fmla="*/ 607630 w 2216150"/>
                    <a:gd name="connsiteY29" fmla="*/ 514870 h 1814927"/>
                    <a:gd name="connsiteX30" fmla="*/ 564308 w 2216150"/>
                    <a:gd name="connsiteY30" fmla="*/ 444576 h 1814927"/>
                    <a:gd name="connsiteX31" fmla="*/ 520069 w 2216150"/>
                    <a:gd name="connsiteY31" fmla="*/ 363360 h 1814927"/>
                    <a:gd name="connsiteX32" fmla="*/ 467222 w 2216150"/>
                    <a:gd name="connsiteY32" fmla="*/ 261611 h 1814927"/>
                    <a:gd name="connsiteX33" fmla="*/ 445373 w 2216150"/>
                    <a:gd name="connsiteY33" fmla="*/ 217457 h 1814927"/>
                    <a:gd name="connsiteX34" fmla="*/ 401676 w 2216150"/>
                    <a:gd name="connsiteY34" fmla="*/ 132769 h 1814927"/>
                    <a:gd name="connsiteX35" fmla="*/ 338762 w 2216150"/>
                    <a:gd name="connsiteY35" fmla="*/ 79388 h 1814927"/>
                    <a:gd name="connsiteX36" fmla="*/ 293184 w 2216150"/>
                    <a:gd name="connsiteY36" fmla="*/ 44907 h 1814927"/>
                    <a:gd name="connsiteX37" fmla="*/ 227095 w 2216150"/>
                    <a:gd name="connsiteY37" fmla="*/ 35678 h 1814927"/>
                    <a:gd name="connsiteX38" fmla="*/ 172202 w 2216150"/>
                    <a:gd name="connsiteY38" fmla="*/ 44611 h 1814927"/>
                    <a:gd name="connsiteX39" fmla="*/ 130175 w 2216150"/>
                    <a:gd name="connsiteY39" fmla="*/ 71852 h 1814927"/>
                    <a:gd name="connsiteX40" fmla="*/ 104775 w 2216150"/>
                    <a:gd name="connsiteY40" fmla="*/ 78202 h 1814927"/>
                    <a:gd name="connsiteX41" fmla="*/ 0 w 2216150"/>
                    <a:gd name="connsiteY41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631950 w 2216150"/>
                    <a:gd name="connsiteY9" fmla="*/ 138527 h 1814927"/>
                    <a:gd name="connsiteX10" fmla="*/ 1543050 w 2216150"/>
                    <a:gd name="connsiteY10" fmla="*/ 202027 h 1814927"/>
                    <a:gd name="connsiteX11" fmla="*/ 1457325 w 2216150"/>
                    <a:gd name="connsiteY11" fmla="*/ 278227 h 1814927"/>
                    <a:gd name="connsiteX12" fmla="*/ 1336675 w 2216150"/>
                    <a:gd name="connsiteY12" fmla="*/ 370302 h 1814927"/>
                    <a:gd name="connsiteX13" fmla="*/ 1260475 w 2216150"/>
                    <a:gd name="connsiteY13" fmla="*/ 452852 h 1814927"/>
                    <a:gd name="connsiteX14" fmla="*/ 1133475 w 2216150"/>
                    <a:gd name="connsiteY14" fmla="*/ 525877 h 1814927"/>
                    <a:gd name="connsiteX15" fmla="*/ 1047750 w 2216150"/>
                    <a:gd name="connsiteY15" fmla="*/ 595727 h 1814927"/>
                    <a:gd name="connsiteX16" fmla="*/ 990600 w 2216150"/>
                    <a:gd name="connsiteY16" fmla="*/ 633827 h 1814927"/>
                    <a:gd name="connsiteX17" fmla="*/ 962025 w 2216150"/>
                    <a:gd name="connsiteY17" fmla="*/ 649702 h 1814927"/>
                    <a:gd name="connsiteX18" fmla="*/ 923925 w 2216150"/>
                    <a:gd name="connsiteY18" fmla="*/ 671927 h 1814927"/>
                    <a:gd name="connsiteX19" fmla="*/ 898525 w 2216150"/>
                    <a:gd name="connsiteY19" fmla="*/ 684627 h 1814927"/>
                    <a:gd name="connsiteX20" fmla="*/ 889000 w 2216150"/>
                    <a:gd name="connsiteY20" fmla="*/ 687802 h 1814927"/>
                    <a:gd name="connsiteX21" fmla="*/ 882650 w 2216150"/>
                    <a:gd name="connsiteY21" fmla="*/ 690977 h 1814927"/>
                    <a:gd name="connsiteX22" fmla="*/ 857250 w 2216150"/>
                    <a:gd name="connsiteY22" fmla="*/ 703677 h 1814927"/>
                    <a:gd name="connsiteX23" fmla="*/ 831850 w 2216150"/>
                    <a:gd name="connsiteY23" fmla="*/ 713202 h 1814927"/>
                    <a:gd name="connsiteX24" fmla="*/ 802898 w 2216150"/>
                    <a:gd name="connsiteY24" fmla="*/ 701540 h 1814927"/>
                    <a:gd name="connsiteX25" fmla="*/ 754432 w 2216150"/>
                    <a:gd name="connsiteY25" fmla="*/ 685368 h 1814927"/>
                    <a:gd name="connsiteX26" fmla="*/ 722637 w 2216150"/>
                    <a:gd name="connsiteY26" fmla="*/ 655163 h 1814927"/>
                    <a:gd name="connsiteX27" fmla="*/ 651327 w 2216150"/>
                    <a:gd name="connsiteY27" fmla="*/ 579408 h 1814927"/>
                    <a:gd name="connsiteX28" fmla="*/ 607630 w 2216150"/>
                    <a:gd name="connsiteY28" fmla="*/ 514870 h 1814927"/>
                    <a:gd name="connsiteX29" fmla="*/ 564308 w 2216150"/>
                    <a:gd name="connsiteY29" fmla="*/ 444576 h 1814927"/>
                    <a:gd name="connsiteX30" fmla="*/ 520069 w 2216150"/>
                    <a:gd name="connsiteY30" fmla="*/ 363360 h 1814927"/>
                    <a:gd name="connsiteX31" fmla="*/ 467222 w 2216150"/>
                    <a:gd name="connsiteY31" fmla="*/ 261611 h 1814927"/>
                    <a:gd name="connsiteX32" fmla="*/ 445373 w 2216150"/>
                    <a:gd name="connsiteY32" fmla="*/ 217457 h 1814927"/>
                    <a:gd name="connsiteX33" fmla="*/ 401676 w 2216150"/>
                    <a:gd name="connsiteY33" fmla="*/ 132769 h 1814927"/>
                    <a:gd name="connsiteX34" fmla="*/ 338762 w 2216150"/>
                    <a:gd name="connsiteY34" fmla="*/ 79388 h 1814927"/>
                    <a:gd name="connsiteX35" fmla="*/ 293184 w 2216150"/>
                    <a:gd name="connsiteY35" fmla="*/ 44907 h 1814927"/>
                    <a:gd name="connsiteX36" fmla="*/ 227095 w 2216150"/>
                    <a:gd name="connsiteY36" fmla="*/ 35678 h 1814927"/>
                    <a:gd name="connsiteX37" fmla="*/ 172202 w 2216150"/>
                    <a:gd name="connsiteY37" fmla="*/ 44611 h 1814927"/>
                    <a:gd name="connsiteX38" fmla="*/ 130175 w 2216150"/>
                    <a:gd name="connsiteY38" fmla="*/ 71852 h 1814927"/>
                    <a:gd name="connsiteX39" fmla="*/ 104775 w 2216150"/>
                    <a:gd name="connsiteY39" fmla="*/ 78202 h 1814927"/>
                    <a:gd name="connsiteX40" fmla="*/ 0 w 2216150"/>
                    <a:gd name="connsiteY40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543050 w 2216150"/>
                    <a:gd name="connsiteY10" fmla="*/ 202027 h 1814927"/>
                    <a:gd name="connsiteX11" fmla="*/ 1457325 w 2216150"/>
                    <a:gd name="connsiteY11" fmla="*/ 278227 h 1814927"/>
                    <a:gd name="connsiteX12" fmla="*/ 1336675 w 2216150"/>
                    <a:gd name="connsiteY12" fmla="*/ 370302 h 1814927"/>
                    <a:gd name="connsiteX13" fmla="*/ 1260475 w 2216150"/>
                    <a:gd name="connsiteY13" fmla="*/ 452852 h 1814927"/>
                    <a:gd name="connsiteX14" fmla="*/ 1133475 w 2216150"/>
                    <a:gd name="connsiteY14" fmla="*/ 525877 h 1814927"/>
                    <a:gd name="connsiteX15" fmla="*/ 1047750 w 2216150"/>
                    <a:gd name="connsiteY15" fmla="*/ 595727 h 1814927"/>
                    <a:gd name="connsiteX16" fmla="*/ 990600 w 2216150"/>
                    <a:gd name="connsiteY16" fmla="*/ 633827 h 1814927"/>
                    <a:gd name="connsiteX17" fmla="*/ 962025 w 2216150"/>
                    <a:gd name="connsiteY17" fmla="*/ 649702 h 1814927"/>
                    <a:gd name="connsiteX18" fmla="*/ 923925 w 2216150"/>
                    <a:gd name="connsiteY18" fmla="*/ 671927 h 1814927"/>
                    <a:gd name="connsiteX19" fmla="*/ 898525 w 2216150"/>
                    <a:gd name="connsiteY19" fmla="*/ 684627 h 1814927"/>
                    <a:gd name="connsiteX20" fmla="*/ 889000 w 2216150"/>
                    <a:gd name="connsiteY20" fmla="*/ 687802 h 1814927"/>
                    <a:gd name="connsiteX21" fmla="*/ 882650 w 2216150"/>
                    <a:gd name="connsiteY21" fmla="*/ 690977 h 1814927"/>
                    <a:gd name="connsiteX22" fmla="*/ 857250 w 2216150"/>
                    <a:gd name="connsiteY22" fmla="*/ 703677 h 1814927"/>
                    <a:gd name="connsiteX23" fmla="*/ 831850 w 2216150"/>
                    <a:gd name="connsiteY23" fmla="*/ 713202 h 1814927"/>
                    <a:gd name="connsiteX24" fmla="*/ 802898 w 2216150"/>
                    <a:gd name="connsiteY24" fmla="*/ 701540 h 1814927"/>
                    <a:gd name="connsiteX25" fmla="*/ 754432 w 2216150"/>
                    <a:gd name="connsiteY25" fmla="*/ 685368 h 1814927"/>
                    <a:gd name="connsiteX26" fmla="*/ 722637 w 2216150"/>
                    <a:gd name="connsiteY26" fmla="*/ 655163 h 1814927"/>
                    <a:gd name="connsiteX27" fmla="*/ 651327 w 2216150"/>
                    <a:gd name="connsiteY27" fmla="*/ 579408 h 1814927"/>
                    <a:gd name="connsiteX28" fmla="*/ 607630 w 2216150"/>
                    <a:gd name="connsiteY28" fmla="*/ 514870 h 1814927"/>
                    <a:gd name="connsiteX29" fmla="*/ 564308 w 2216150"/>
                    <a:gd name="connsiteY29" fmla="*/ 444576 h 1814927"/>
                    <a:gd name="connsiteX30" fmla="*/ 520069 w 2216150"/>
                    <a:gd name="connsiteY30" fmla="*/ 363360 h 1814927"/>
                    <a:gd name="connsiteX31" fmla="*/ 467222 w 2216150"/>
                    <a:gd name="connsiteY31" fmla="*/ 261611 h 1814927"/>
                    <a:gd name="connsiteX32" fmla="*/ 445373 w 2216150"/>
                    <a:gd name="connsiteY32" fmla="*/ 217457 h 1814927"/>
                    <a:gd name="connsiteX33" fmla="*/ 401676 w 2216150"/>
                    <a:gd name="connsiteY33" fmla="*/ 132769 h 1814927"/>
                    <a:gd name="connsiteX34" fmla="*/ 338762 w 2216150"/>
                    <a:gd name="connsiteY34" fmla="*/ 79388 h 1814927"/>
                    <a:gd name="connsiteX35" fmla="*/ 293184 w 2216150"/>
                    <a:gd name="connsiteY35" fmla="*/ 44907 h 1814927"/>
                    <a:gd name="connsiteX36" fmla="*/ 227095 w 2216150"/>
                    <a:gd name="connsiteY36" fmla="*/ 35678 h 1814927"/>
                    <a:gd name="connsiteX37" fmla="*/ 172202 w 2216150"/>
                    <a:gd name="connsiteY37" fmla="*/ 44611 h 1814927"/>
                    <a:gd name="connsiteX38" fmla="*/ 130175 w 2216150"/>
                    <a:gd name="connsiteY38" fmla="*/ 71852 h 1814927"/>
                    <a:gd name="connsiteX39" fmla="*/ 104775 w 2216150"/>
                    <a:gd name="connsiteY39" fmla="*/ 78202 h 1814927"/>
                    <a:gd name="connsiteX40" fmla="*/ 0 w 2216150"/>
                    <a:gd name="connsiteY40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457325 w 2216150"/>
                    <a:gd name="connsiteY11" fmla="*/ 278227 h 1814927"/>
                    <a:gd name="connsiteX12" fmla="*/ 1336675 w 2216150"/>
                    <a:gd name="connsiteY12" fmla="*/ 370302 h 1814927"/>
                    <a:gd name="connsiteX13" fmla="*/ 1260475 w 2216150"/>
                    <a:gd name="connsiteY13" fmla="*/ 452852 h 1814927"/>
                    <a:gd name="connsiteX14" fmla="*/ 1133475 w 2216150"/>
                    <a:gd name="connsiteY14" fmla="*/ 525877 h 1814927"/>
                    <a:gd name="connsiteX15" fmla="*/ 1047750 w 2216150"/>
                    <a:gd name="connsiteY15" fmla="*/ 595727 h 1814927"/>
                    <a:gd name="connsiteX16" fmla="*/ 990600 w 2216150"/>
                    <a:gd name="connsiteY16" fmla="*/ 633827 h 1814927"/>
                    <a:gd name="connsiteX17" fmla="*/ 962025 w 2216150"/>
                    <a:gd name="connsiteY17" fmla="*/ 649702 h 1814927"/>
                    <a:gd name="connsiteX18" fmla="*/ 923925 w 2216150"/>
                    <a:gd name="connsiteY18" fmla="*/ 671927 h 1814927"/>
                    <a:gd name="connsiteX19" fmla="*/ 898525 w 2216150"/>
                    <a:gd name="connsiteY19" fmla="*/ 684627 h 1814927"/>
                    <a:gd name="connsiteX20" fmla="*/ 889000 w 2216150"/>
                    <a:gd name="connsiteY20" fmla="*/ 687802 h 1814927"/>
                    <a:gd name="connsiteX21" fmla="*/ 882650 w 2216150"/>
                    <a:gd name="connsiteY21" fmla="*/ 690977 h 1814927"/>
                    <a:gd name="connsiteX22" fmla="*/ 857250 w 2216150"/>
                    <a:gd name="connsiteY22" fmla="*/ 703677 h 1814927"/>
                    <a:gd name="connsiteX23" fmla="*/ 831850 w 2216150"/>
                    <a:gd name="connsiteY23" fmla="*/ 713202 h 1814927"/>
                    <a:gd name="connsiteX24" fmla="*/ 802898 w 2216150"/>
                    <a:gd name="connsiteY24" fmla="*/ 701540 h 1814927"/>
                    <a:gd name="connsiteX25" fmla="*/ 754432 w 2216150"/>
                    <a:gd name="connsiteY25" fmla="*/ 685368 h 1814927"/>
                    <a:gd name="connsiteX26" fmla="*/ 722637 w 2216150"/>
                    <a:gd name="connsiteY26" fmla="*/ 655163 h 1814927"/>
                    <a:gd name="connsiteX27" fmla="*/ 651327 w 2216150"/>
                    <a:gd name="connsiteY27" fmla="*/ 579408 h 1814927"/>
                    <a:gd name="connsiteX28" fmla="*/ 607630 w 2216150"/>
                    <a:gd name="connsiteY28" fmla="*/ 514870 h 1814927"/>
                    <a:gd name="connsiteX29" fmla="*/ 564308 w 2216150"/>
                    <a:gd name="connsiteY29" fmla="*/ 444576 h 1814927"/>
                    <a:gd name="connsiteX30" fmla="*/ 520069 w 2216150"/>
                    <a:gd name="connsiteY30" fmla="*/ 363360 h 1814927"/>
                    <a:gd name="connsiteX31" fmla="*/ 467222 w 2216150"/>
                    <a:gd name="connsiteY31" fmla="*/ 261611 h 1814927"/>
                    <a:gd name="connsiteX32" fmla="*/ 445373 w 2216150"/>
                    <a:gd name="connsiteY32" fmla="*/ 217457 h 1814927"/>
                    <a:gd name="connsiteX33" fmla="*/ 401676 w 2216150"/>
                    <a:gd name="connsiteY33" fmla="*/ 132769 h 1814927"/>
                    <a:gd name="connsiteX34" fmla="*/ 338762 w 2216150"/>
                    <a:gd name="connsiteY34" fmla="*/ 79388 h 1814927"/>
                    <a:gd name="connsiteX35" fmla="*/ 293184 w 2216150"/>
                    <a:gd name="connsiteY35" fmla="*/ 44907 h 1814927"/>
                    <a:gd name="connsiteX36" fmla="*/ 227095 w 2216150"/>
                    <a:gd name="connsiteY36" fmla="*/ 35678 h 1814927"/>
                    <a:gd name="connsiteX37" fmla="*/ 172202 w 2216150"/>
                    <a:gd name="connsiteY37" fmla="*/ 44611 h 1814927"/>
                    <a:gd name="connsiteX38" fmla="*/ 130175 w 2216150"/>
                    <a:gd name="connsiteY38" fmla="*/ 71852 h 1814927"/>
                    <a:gd name="connsiteX39" fmla="*/ 104775 w 2216150"/>
                    <a:gd name="connsiteY39" fmla="*/ 78202 h 1814927"/>
                    <a:gd name="connsiteX40" fmla="*/ 0 w 2216150"/>
                    <a:gd name="connsiteY40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336675 w 2216150"/>
                    <a:gd name="connsiteY11" fmla="*/ 370302 h 1814927"/>
                    <a:gd name="connsiteX12" fmla="*/ 1260475 w 2216150"/>
                    <a:gd name="connsiteY12" fmla="*/ 452852 h 1814927"/>
                    <a:gd name="connsiteX13" fmla="*/ 1133475 w 2216150"/>
                    <a:gd name="connsiteY13" fmla="*/ 525877 h 1814927"/>
                    <a:gd name="connsiteX14" fmla="*/ 1047750 w 2216150"/>
                    <a:gd name="connsiteY14" fmla="*/ 595727 h 1814927"/>
                    <a:gd name="connsiteX15" fmla="*/ 990600 w 2216150"/>
                    <a:gd name="connsiteY15" fmla="*/ 633827 h 1814927"/>
                    <a:gd name="connsiteX16" fmla="*/ 962025 w 2216150"/>
                    <a:gd name="connsiteY16" fmla="*/ 649702 h 1814927"/>
                    <a:gd name="connsiteX17" fmla="*/ 923925 w 2216150"/>
                    <a:gd name="connsiteY17" fmla="*/ 671927 h 1814927"/>
                    <a:gd name="connsiteX18" fmla="*/ 898525 w 2216150"/>
                    <a:gd name="connsiteY18" fmla="*/ 684627 h 1814927"/>
                    <a:gd name="connsiteX19" fmla="*/ 889000 w 2216150"/>
                    <a:gd name="connsiteY19" fmla="*/ 687802 h 1814927"/>
                    <a:gd name="connsiteX20" fmla="*/ 882650 w 2216150"/>
                    <a:gd name="connsiteY20" fmla="*/ 690977 h 1814927"/>
                    <a:gd name="connsiteX21" fmla="*/ 857250 w 2216150"/>
                    <a:gd name="connsiteY21" fmla="*/ 703677 h 1814927"/>
                    <a:gd name="connsiteX22" fmla="*/ 831850 w 2216150"/>
                    <a:gd name="connsiteY22" fmla="*/ 713202 h 1814927"/>
                    <a:gd name="connsiteX23" fmla="*/ 802898 w 2216150"/>
                    <a:gd name="connsiteY23" fmla="*/ 701540 h 1814927"/>
                    <a:gd name="connsiteX24" fmla="*/ 754432 w 2216150"/>
                    <a:gd name="connsiteY24" fmla="*/ 685368 h 1814927"/>
                    <a:gd name="connsiteX25" fmla="*/ 722637 w 2216150"/>
                    <a:gd name="connsiteY25" fmla="*/ 655163 h 1814927"/>
                    <a:gd name="connsiteX26" fmla="*/ 651327 w 2216150"/>
                    <a:gd name="connsiteY26" fmla="*/ 579408 h 1814927"/>
                    <a:gd name="connsiteX27" fmla="*/ 607630 w 2216150"/>
                    <a:gd name="connsiteY27" fmla="*/ 514870 h 1814927"/>
                    <a:gd name="connsiteX28" fmla="*/ 564308 w 2216150"/>
                    <a:gd name="connsiteY28" fmla="*/ 444576 h 1814927"/>
                    <a:gd name="connsiteX29" fmla="*/ 520069 w 2216150"/>
                    <a:gd name="connsiteY29" fmla="*/ 363360 h 1814927"/>
                    <a:gd name="connsiteX30" fmla="*/ 467222 w 2216150"/>
                    <a:gd name="connsiteY30" fmla="*/ 261611 h 1814927"/>
                    <a:gd name="connsiteX31" fmla="*/ 445373 w 2216150"/>
                    <a:gd name="connsiteY31" fmla="*/ 217457 h 1814927"/>
                    <a:gd name="connsiteX32" fmla="*/ 401676 w 2216150"/>
                    <a:gd name="connsiteY32" fmla="*/ 132769 h 1814927"/>
                    <a:gd name="connsiteX33" fmla="*/ 338762 w 2216150"/>
                    <a:gd name="connsiteY33" fmla="*/ 79388 h 1814927"/>
                    <a:gd name="connsiteX34" fmla="*/ 293184 w 2216150"/>
                    <a:gd name="connsiteY34" fmla="*/ 44907 h 1814927"/>
                    <a:gd name="connsiteX35" fmla="*/ 227095 w 2216150"/>
                    <a:gd name="connsiteY35" fmla="*/ 35678 h 1814927"/>
                    <a:gd name="connsiteX36" fmla="*/ 172202 w 2216150"/>
                    <a:gd name="connsiteY36" fmla="*/ 44611 h 1814927"/>
                    <a:gd name="connsiteX37" fmla="*/ 130175 w 2216150"/>
                    <a:gd name="connsiteY37" fmla="*/ 71852 h 1814927"/>
                    <a:gd name="connsiteX38" fmla="*/ 104775 w 2216150"/>
                    <a:gd name="connsiteY38" fmla="*/ 78202 h 1814927"/>
                    <a:gd name="connsiteX39" fmla="*/ 0 w 2216150"/>
                    <a:gd name="connsiteY39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252710 w 2216150"/>
                    <a:gd name="connsiteY11" fmla="*/ 560992 h 1814927"/>
                    <a:gd name="connsiteX12" fmla="*/ 1260475 w 2216150"/>
                    <a:gd name="connsiteY12" fmla="*/ 452852 h 1814927"/>
                    <a:gd name="connsiteX13" fmla="*/ 1133475 w 2216150"/>
                    <a:gd name="connsiteY13" fmla="*/ 525877 h 1814927"/>
                    <a:gd name="connsiteX14" fmla="*/ 1047750 w 2216150"/>
                    <a:gd name="connsiteY14" fmla="*/ 595727 h 1814927"/>
                    <a:gd name="connsiteX15" fmla="*/ 990600 w 2216150"/>
                    <a:gd name="connsiteY15" fmla="*/ 633827 h 1814927"/>
                    <a:gd name="connsiteX16" fmla="*/ 962025 w 2216150"/>
                    <a:gd name="connsiteY16" fmla="*/ 649702 h 1814927"/>
                    <a:gd name="connsiteX17" fmla="*/ 923925 w 2216150"/>
                    <a:gd name="connsiteY17" fmla="*/ 671927 h 1814927"/>
                    <a:gd name="connsiteX18" fmla="*/ 898525 w 2216150"/>
                    <a:gd name="connsiteY18" fmla="*/ 684627 h 1814927"/>
                    <a:gd name="connsiteX19" fmla="*/ 889000 w 2216150"/>
                    <a:gd name="connsiteY19" fmla="*/ 687802 h 1814927"/>
                    <a:gd name="connsiteX20" fmla="*/ 882650 w 2216150"/>
                    <a:gd name="connsiteY20" fmla="*/ 690977 h 1814927"/>
                    <a:gd name="connsiteX21" fmla="*/ 857250 w 2216150"/>
                    <a:gd name="connsiteY21" fmla="*/ 703677 h 1814927"/>
                    <a:gd name="connsiteX22" fmla="*/ 831850 w 2216150"/>
                    <a:gd name="connsiteY22" fmla="*/ 713202 h 1814927"/>
                    <a:gd name="connsiteX23" fmla="*/ 802898 w 2216150"/>
                    <a:gd name="connsiteY23" fmla="*/ 701540 h 1814927"/>
                    <a:gd name="connsiteX24" fmla="*/ 754432 w 2216150"/>
                    <a:gd name="connsiteY24" fmla="*/ 685368 h 1814927"/>
                    <a:gd name="connsiteX25" fmla="*/ 722637 w 2216150"/>
                    <a:gd name="connsiteY25" fmla="*/ 655163 h 1814927"/>
                    <a:gd name="connsiteX26" fmla="*/ 651327 w 2216150"/>
                    <a:gd name="connsiteY26" fmla="*/ 579408 h 1814927"/>
                    <a:gd name="connsiteX27" fmla="*/ 607630 w 2216150"/>
                    <a:gd name="connsiteY27" fmla="*/ 514870 h 1814927"/>
                    <a:gd name="connsiteX28" fmla="*/ 564308 w 2216150"/>
                    <a:gd name="connsiteY28" fmla="*/ 444576 h 1814927"/>
                    <a:gd name="connsiteX29" fmla="*/ 520069 w 2216150"/>
                    <a:gd name="connsiteY29" fmla="*/ 363360 h 1814927"/>
                    <a:gd name="connsiteX30" fmla="*/ 467222 w 2216150"/>
                    <a:gd name="connsiteY30" fmla="*/ 261611 h 1814927"/>
                    <a:gd name="connsiteX31" fmla="*/ 445373 w 2216150"/>
                    <a:gd name="connsiteY31" fmla="*/ 217457 h 1814927"/>
                    <a:gd name="connsiteX32" fmla="*/ 401676 w 2216150"/>
                    <a:gd name="connsiteY32" fmla="*/ 132769 h 1814927"/>
                    <a:gd name="connsiteX33" fmla="*/ 338762 w 2216150"/>
                    <a:gd name="connsiteY33" fmla="*/ 79388 h 1814927"/>
                    <a:gd name="connsiteX34" fmla="*/ 293184 w 2216150"/>
                    <a:gd name="connsiteY34" fmla="*/ 44907 h 1814927"/>
                    <a:gd name="connsiteX35" fmla="*/ 227095 w 2216150"/>
                    <a:gd name="connsiteY35" fmla="*/ 35678 h 1814927"/>
                    <a:gd name="connsiteX36" fmla="*/ 172202 w 2216150"/>
                    <a:gd name="connsiteY36" fmla="*/ 44611 h 1814927"/>
                    <a:gd name="connsiteX37" fmla="*/ 130175 w 2216150"/>
                    <a:gd name="connsiteY37" fmla="*/ 71852 h 1814927"/>
                    <a:gd name="connsiteX38" fmla="*/ 104775 w 2216150"/>
                    <a:gd name="connsiteY38" fmla="*/ 78202 h 1814927"/>
                    <a:gd name="connsiteX39" fmla="*/ 0 w 2216150"/>
                    <a:gd name="connsiteY39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252710 w 2216150"/>
                    <a:gd name="connsiteY11" fmla="*/ 560992 h 1814927"/>
                    <a:gd name="connsiteX12" fmla="*/ 1151320 w 2216150"/>
                    <a:gd name="connsiteY12" fmla="*/ 611761 h 1814927"/>
                    <a:gd name="connsiteX13" fmla="*/ 1133475 w 2216150"/>
                    <a:gd name="connsiteY13" fmla="*/ 525877 h 1814927"/>
                    <a:gd name="connsiteX14" fmla="*/ 1047750 w 2216150"/>
                    <a:gd name="connsiteY14" fmla="*/ 595727 h 1814927"/>
                    <a:gd name="connsiteX15" fmla="*/ 990600 w 2216150"/>
                    <a:gd name="connsiteY15" fmla="*/ 633827 h 1814927"/>
                    <a:gd name="connsiteX16" fmla="*/ 962025 w 2216150"/>
                    <a:gd name="connsiteY16" fmla="*/ 649702 h 1814927"/>
                    <a:gd name="connsiteX17" fmla="*/ 923925 w 2216150"/>
                    <a:gd name="connsiteY17" fmla="*/ 671927 h 1814927"/>
                    <a:gd name="connsiteX18" fmla="*/ 898525 w 2216150"/>
                    <a:gd name="connsiteY18" fmla="*/ 684627 h 1814927"/>
                    <a:gd name="connsiteX19" fmla="*/ 889000 w 2216150"/>
                    <a:gd name="connsiteY19" fmla="*/ 687802 h 1814927"/>
                    <a:gd name="connsiteX20" fmla="*/ 882650 w 2216150"/>
                    <a:gd name="connsiteY20" fmla="*/ 690977 h 1814927"/>
                    <a:gd name="connsiteX21" fmla="*/ 857250 w 2216150"/>
                    <a:gd name="connsiteY21" fmla="*/ 703677 h 1814927"/>
                    <a:gd name="connsiteX22" fmla="*/ 831850 w 2216150"/>
                    <a:gd name="connsiteY22" fmla="*/ 713202 h 1814927"/>
                    <a:gd name="connsiteX23" fmla="*/ 802898 w 2216150"/>
                    <a:gd name="connsiteY23" fmla="*/ 701540 h 1814927"/>
                    <a:gd name="connsiteX24" fmla="*/ 754432 w 2216150"/>
                    <a:gd name="connsiteY24" fmla="*/ 685368 h 1814927"/>
                    <a:gd name="connsiteX25" fmla="*/ 722637 w 2216150"/>
                    <a:gd name="connsiteY25" fmla="*/ 655163 h 1814927"/>
                    <a:gd name="connsiteX26" fmla="*/ 651327 w 2216150"/>
                    <a:gd name="connsiteY26" fmla="*/ 579408 h 1814927"/>
                    <a:gd name="connsiteX27" fmla="*/ 607630 w 2216150"/>
                    <a:gd name="connsiteY27" fmla="*/ 514870 h 1814927"/>
                    <a:gd name="connsiteX28" fmla="*/ 564308 w 2216150"/>
                    <a:gd name="connsiteY28" fmla="*/ 444576 h 1814927"/>
                    <a:gd name="connsiteX29" fmla="*/ 520069 w 2216150"/>
                    <a:gd name="connsiteY29" fmla="*/ 363360 h 1814927"/>
                    <a:gd name="connsiteX30" fmla="*/ 467222 w 2216150"/>
                    <a:gd name="connsiteY30" fmla="*/ 261611 h 1814927"/>
                    <a:gd name="connsiteX31" fmla="*/ 445373 w 2216150"/>
                    <a:gd name="connsiteY31" fmla="*/ 217457 h 1814927"/>
                    <a:gd name="connsiteX32" fmla="*/ 401676 w 2216150"/>
                    <a:gd name="connsiteY32" fmla="*/ 132769 h 1814927"/>
                    <a:gd name="connsiteX33" fmla="*/ 338762 w 2216150"/>
                    <a:gd name="connsiteY33" fmla="*/ 79388 h 1814927"/>
                    <a:gd name="connsiteX34" fmla="*/ 293184 w 2216150"/>
                    <a:gd name="connsiteY34" fmla="*/ 44907 h 1814927"/>
                    <a:gd name="connsiteX35" fmla="*/ 227095 w 2216150"/>
                    <a:gd name="connsiteY35" fmla="*/ 35678 h 1814927"/>
                    <a:gd name="connsiteX36" fmla="*/ 172202 w 2216150"/>
                    <a:gd name="connsiteY36" fmla="*/ 44611 h 1814927"/>
                    <a:gd name="connsiteX37" fmla="*/ 130175 w 2216150"/>
                    <a:gd name="connsiteY37" fmla="*/ 71852 h 1814927"/>
                    <a:gd name="connsiteX38" fmla="*/ 104775 w 2216150"/>
                    <a:gd name="connsiteY38" fmla="*/ 78202 h 1814927"/>
                    <a:gd name="connsiteX39" fmla="*/ 0 w 2216150"/>
                    <a:gd name="connsiteY39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252710 w 2216150"/>
                    <a:gd name="connsiteY11" fmla="*/ 560992 h 1814927"/>
                    <a:gd name="connsiteX12" fmla="*/ 1151320 w 2216150"/>
                    <a:gd name="connsiteY12" fmla="*/ 611761 h 1814927"/>
                    <a:gd name="connsiteX13" fmla="*/ 1133475 w 2216150"/>
                    <a:gd name="connsiteY13" fmla="*/ 525877 h 1814927"/>
                    <a:gd name="connsiteX14" fmla="*/ 1047750 w 2216150"/>
                    <a:gd name="connsiteY14" fmla="*/ 595727 h 1814927"/>
                    <a:gd name="connsiteX15" fmla="*/ 990600 w 2216150"/>
                    <a:gd name="connsiteY15" fmla="*/ 633827 h 1814927"/>
                    <a:gd name="connsiteX16" fmla="*/ 923925 w 2216150"/>
                    <a:gd name="connsiteY16" fmla="*/ 671927 h 1814927"/>
                    <a:gd name="connsiteX17" fmla="*/ 898525 w 2216150"/>
                    <a:gd name="connsiteY17" fmla="*/ 684627 h 1814927"/>
                    <a:gd name="connsiteX18" fmla="*/ 889000 w 2216150"/>
                    <a:gd name="connsiteY18" fmla="*/ 687802 h 1814927"/>
                    <a:gd name="connsiteX19" fmla="*/ 882650 w 2216150"/>
                    <a:gd name="connsiteY19" fmla="*/ 690977 h 1814927"/>
                    <a:gd name="connsiteX20" fmla="*/ 857250 w 2216150"/>
                    <a:gd name="connsiteY20" fmla="*/ 703677 h 1814927"/>
                    <a:gd name="connsiteX21" fmla="*/ 831850 w 2216150"/>
                    <a:gd name="connsiteY21" fmla="*/ 713202 h 1814927"/>
                    <a:gd name="connsiteX22" fmla="*/ 802898 w 2216150"/>
                    <a:gd name="connsiteY22" fmla="*/ 701540 h 1814927"/>
                    <a:gd name="connsiteX23" fmla="*/ 754432 w 2216150"/>
                    <a:gd name="connsiteY23" fmla="*/ 685368 h 1814927"/>
                    <a:gd name="connsiteX24" fmla="*/ 722637 w 2216150"/>
                    <a:gd name="connsiteY24" fmla="*/ 655163 h 1814927"/>
                    <a:gd name="connsiteX25" fmla="*/ 651327 w 2216150"/>
                    <a:gd name="connsiteY25" fmla="*/ 579408 h 1814927"/>
                    <a:gd name="connsiteX26" fmla="*/ 607630 w 2216150"/>
                    <a:gd name="connsiteY26" fmla="*/ 514870 h 1814927"/>
                    <a:gd name="connsiteX27" fmla="*/ 564308 w 2216150"/>
                    <a:gd name="connsiteY27" fmla="*/ 444576 h 1814927"/>
                    <a:gd name="connsiteX28" fmla="*/ 520069 w 2216150"/>
                    <a:gd name="connsiteY28" fmla="*/ 363360 h 1814927"/>
                    <a:gd name="connsiteX29" fmla="*/ 467222 w 2216150"/>
                    <a:gd name="connsiteY29" fmla="*/ 261611 h 1814927"/>
                    <a:gd name="connsiteX30" fmla="*/ 445373 w 2216150"/>
                    <a:gd name="connsiteY30" fmla="*/ 217457 h 1814927"/>
                    <a:gd name="connsiteX31" fmla="*/ 401676 w 2216150"/>
                    <a:gd name="connsiteY31" fmla="*/ 132769 h 1814927"/>
                    <a:gd name="connsiteX32" fmla="*/ 338762 w 2216150"/>
                    <a:gd name="connsiteY32" fmla="*/ 79388 h 1814927"/>
                    <a:gd name="connsiteX33" fmla="*/ 293184 w 2216150"/>
                    <a:gd name="connsiteY33" fmla="*/ 44907 h 1814927"/>
                    <a:gd name="connsiteX34" fmla="*/ 227095 w 2216150"/>
                    <a:gd name="connsiteY34" fmla="*/ 35678 h 1814927"/>
                    <a:gd name="connsiteX35" fmla="*/ 172202 w 2216150"/>
                    <a:gd name="connsiteY35" fmla="*/ 44611 h 1814927"/>
                    <a:gd name="connsiteX36" fmla="*/ 130175 w 2216150"/>
                    <a:gd name="connsiteY36" fmla="*/ 71852 h 1814927"/>
                    <a:gd name="connsiteX37" fmla="*/ 104775 w 2216150"/>
                    <a:gd name="connsiteY37" fmla="*/ 78202 h 1814927"/>
                    <a:gd name="connsiteX38" fmla="*/ 0 w 2216150"/>
                    <a:gd name="connsiteY38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252710 w 2216150"/>
                    <a:gd name="connsiteY11" fmla="*/ 560992 h 1814927"/>
                    <a:gd name="connsiteX12" fmla="*/ 1151320 w 2216150"/>
                    <a:gd name="connsiteY12" fmla="*/ 611761 h 1814927"/>
                    <a:gd name="connsiteX13" fmla="*/ 1133475 w 2216150"/>
                    <a:gd name="connsiteY13" fmla="*/ 525877 h 1814927"/>
                    <a:gd name="connsiteX14" fmla="*/ 1047750 w 2216150"/>
                    <a:gd name="connsiteY14" fmla="*/ 595727 h 1814927"/>
                    <a:gd name="connsiteX15" fmla="*/ 923925 w 2216150"/>
                    <a:gd name="connsiteY15" fmla="*/ 671927 h 1814927"/>
                    <a:gd name="connsiteX16" fmla="*/ 898525 w 2216150"/>
                    <a:gd name="connsiteY16" fmla="*/ 684627 h 1814927"/>
                    <a:gd name="connsiteX17" fmla="*/ 889000 w 2216150"/>
                    <a:gd name="connsiteY17" fmla="*/ 687802 h 1814927"/>
                    <a:gd name="connsiteX18" fmla="*/ 882650 w 2216150"/>
                    <a:gd name="connsiteY18" fmla="*/ 690977 h 1814927"/>
                    <a:gd name="connsiteX19" fmla="*/ 857250 w 2216150"/>
                    <a:gd name="connsiteY19" fmla="*/ 703677 h 1814927"/>
                    <a:gd name="connsiteX20" fmla="*/ 831850 w 2216150"/>
                    <a:gd name="connsiteY20" fmla="*/ 713202 h 1814927"/>
                    <a:gd name="connsiteX21" fmla="*/ 802898 w 2216150"/>
                    <a:gd name="connsiteY21" fmla="*/ 701540 h 1814927"/>
                    <a:gd name="connsiteX22" fmla="*/ 754432 w 2216150"/>
                    <a:gd name="connsiteY22" fmla="*/ 685368 h 1814927"/>
                    <a:gd name="connsiteX23" fmla="*/ 722637 w 2216150"/>
                    <a:gd name="connsiteY23" fmla="*/ 655163 h 1814927"/>
                    <a:gd name="connsiteX24" fmla="*/ 651327 w 2216150"/>
                    <a:gd name="connsiteY24" fmla="*/ 579408 h 1814927"/>
                    <a:gd name="connsiteX25" fmla="*/ 607630 w 2216150"/>
                    <a:gd name="connsiteY25" fmla="*/ 514870 h 1814927"/>
                    <a:gd name="connsiteX26" fmla="*/ 564308 w 2216150"/>
                    <a:gd name="connsiteY26" fmla="*/ 444576 h 1814927"/>
                    <a:gd name="connsiteX27" fmla="*/ 520069 w 2216150"/>
                    <a:gd name="connsiteY27" fmla="*/ 363360 h 1814927"/>
                    <a:gd name="connsiteX28" fmla="*/ 467222 w 2216150"/>
                    <a:gd name="connsiteY28" fmla="*/ 261611 h 1814927"/>
                    <a:gd name="connsiteX29" fmla="*/ 445373 w 2216150"/>
                    <a:gd name="connsiteY29" fmla="*/ 217457 h 1814927"/>
                    <a:gd name="connsiteX30" fmla="*/ 401676 w 2216150"/>
                    <a:gd name="connsiteY30" fmla="*/ 132769 h 1814927"/>
                    <a:gd name="connsiteX31" fmla="*/ 338762 w 2216150"/>
                    <a:gd name="connsiteY31" fmla="*/ 79388 h 1814927"/>
                    <a:gd name="connsiteX32" fmla="*/ 293184 w 2216150"/>
                    <a:gd name="connsiteY32" fmla="*/ 44907 h 1814927"/>
                    <a:gd name="connsiteX33" fmla="*/ 227095 w 2216150"/>
                    <a:gd name="connsiteY33" fmla="*/ 35678 h 1814927"/>
                    <a:gd name="connsiteX34" fmla="*/ 172202 w 2216150"/>
                    <a:gd name="connsiteY34" fmla="*/ 44611 h 1814927"/>
                    <a:gd name="connsiteX35" fmla="*/ 130175 w 2216150"/>
                    <a:gd name="connsiteY35" fmla="*/ 71852 h 1814927"/>
                    <a:gd name="connsiteX36" fmla="*/ 104775 w 2216150"/>
                    <a:gd name="connsiteY36" fmla="*/ 78202 h 1814927"/>
                    <a:gd name="connsiteX37" fmla="*/ 0 w 2216150"/>
                    <a:gd name="connsiteY37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252710 w 2216150"/>
                    <a:gd name="connsiteY11" fmla="*/ 560992 h 1814927"/>
                    <a:gd name="connsiteX12" fmla="*/ 1151320 w 2216150"/>
                    <a:gd name="connsiteY12" fmla="*/ 611761 h 1814927"/>
                    <a:gd name="connsiteX13" fmla="*/ 1133475 w 2216150"/>
                    <a:gd name="connsiteY13" fmla="*/ 525877 h 1814927"/>
                    <a:gd name="connsiteX14" fmla="*/ 923925 w 2216150"/>
                    <a:gd name="connsiteY14" fmla="*/ 671927 h 1814927"/>
                    <a:gd name="connsiteX15" fmla="*/ 898525 w 2216150"/>
                    <a:gd name="connsiteY15" fmla="*/ 684627 h 1814927"/>
                    <a:gd name="connsiteX16" fmla="*/ 889000 w 2216150"/>
                    <a:gd name="connsiteY16" fmla="*/ 687802 h 1814927"/>
                    <a:gd name="connsiteX17" fmla="*/ 882650 w 2216150"/>
                    <a:gd name="connsiteY17" fmla="*/ 690977 h 1814927"/>
                    <a:gd name="connsiteX18" fmla="*/ 857250 w 2216150"/>
                    <a:gd name="connsiteY18" fmla="*/ 703677 h 1814927"/>
                    <a:gd name="connsiteX19" fmla="*/ 831850 w 2216150"/>
                    <a:gd name="connsiteY19" fmla="*/ 713202 h 1814927"/>
                    <a:gd name="connsiteX20" fmla="*/ 802898 w 2216150"/>
                    <a:gd name="connsiteY20" fmla="*/ 701540 h 1814927"/>
                    <a:gd name="connsiteX21" fmla="*/ 754432 w 2216150"/>
                    <a:gd name="connsiteY21" fmla="*/ 685368 h 1814927"/>
                    <a:gd name="connsiteX22" fmla="*/ 722637 w 2216150"/>
                    <a:gd name="connsiteY22" fmla="*/ 655163 h 1814927"/>
                    <a:gd name="connsiteX23" fmla="*/ 651327 w 2216150"/>
                    <a:gd name="connsiteY23" fmla="*/ 579408 h 1814927"/>
                    <a:gd name="connsiteX24" fmla="*/ 607630 w 2216150"/>
                    <a:gd name="connsiteY24" fmla="*/ 514870 h 1814927"/>
                    <a:gd name="connsiteX25" fmla="*/ 564308 w 2216150"/>
                    <a:gd name="connsiteY25" fmla="*/ 444576 h 1814927"/>
                    <a:gd name="connsiteX26" fmla="*/ 520069 w 2216150"/>
                    <a:gd name="connsiteY26" fmla="*/ 363360 h 1814927"/>
                    <a:gd name="connsiteX27" fmla="*/ 467222 w 2216150"/>
                    <a:gd name="connsiteY27" fmla="*/ 261611 h 1814927"/>
                    <a:gd name="connsiteX28" fmla="*/ 445373 w 2216150"/>
                    <a:gd name="connsiteY28" fmla="*/ 217457 h 1814927"/>
                    <a:gd name="connsiteX29" fmla="*/ 401676 w 2216150"/>
                    <a:gd name="connsiteY29" fmla="*/ 132769 h 1814927"/>
                    <a:gd name="connsiteX30" fmla="*/ 338762 w 2216150"/>
                    <a:gd name="connsiteY30" fmla="*/ 79388 h 1814927"/>
                    <a:gd name="connsiteX31" fmla="*/ 293184 w 2216150"/>
                    <a:gd name="connsiteY31" fmla="*/ 44907 h 1814927"/>
                    <a:gd name="connsiteX32" fmla="*/ 227095 w 2216150"/>
                    <a:gd name="connsiteY32" fmla="*/ 35678 h 1814927"/>
                    <a:gd name="connsiteX33" fmla="*/ 172202 w 2216150"/>
                    <a:gd name="connsiteY33" fmla="*/ 44611 h 1814927"/>
                    <a:gd name="connsiteX34" fmla="*/ 130175 w 2216150"/>
                    <a:gd name="connsiteY34" fmla="*/ 71852 h 1814927"/>
                    <a:gd name="connsiteX35" fmla="*/ 104775 w 2216150"/>
                    <a:gd name="connsiteY35" fmla="*/ 78202 h 1814927"/>
                    <a:gd name="connsiteX36" fmla="*/ 0 w 2216150"/>
                    <a:gd name="connsiteY36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252710 w 2216150"/>
                    <a:gd name="connsiteY11" fmla="*/ 560992 h 1814927"/>
                    <a:gd name="connsiteX12" fmla="*/ 1151320 w 2216150"/>
                    <a:gd name="connsiteY12" fmla="*/ 611761 h 1814927"/>
                    <a:gd name="connsiteX13" fmla="*/ 1003329 w 2216150"/>
                    <a:gd name="connsiteY13" fmla="*/ 671164 h 1814927"/>
                    <a:gd name="connsiteX14" fmla="*/ 923925 w 2216150"/>
                    <a:gd name="connsiteY14" fmla="*/ 671927 h 1814927"/>
                    <a:gd name="connsiteX15" fmla="*/ 898525 w 2216150"/>
                    <a:gd name="connsiteY15" fmla="*/ 684627 h 1814927"/>
                    <a:gd name="connsiteX16" fmla="*/ 889000 w 2216150"/>
                    <a:gd name="connsiteY16" fmla="*/ 687802 h 1814927"/>
                    <a:gd name="connsiteX17" fmla="*/ 882650 w 2216150"/>
                    <a:gd name="connsiteY17" fmla="*/ 690977 h 1814927"/>
                    <a:gd name="connsiteX18" fmla="*/ 857250 w 2216150"/>
                    <a:gd name="connsiteY18" fmla="*/ 703677 h 1814927"/>
                    <a:gd name="connsiteX19" fmla="*/ 831850 w 2216150"/>
                    <a:gd name="connsiteY19" fmla="*/ 713202 h 1814927"/>
                    <a:gd name="connsiteX20" fmla="*/ 802898 w 2216150"/>
                    <a:gd name="connsiteY20" fmla="*/ 701540 h 1814927"/>
                    <a:gd name="connsiteX21" fmla="*/ 754432 w 2216150"/>
                    <a:gd name="connsiteY21" fmla="*/ 685368 h 1814927"/>
                    <a:gd name="connsiteX22" fmla="*/ 722637 w 2216150"/>
                    <a:gd name="connsiteY22" fmla="*/ 655163 h 1814927"/>
                    <a:gd name="connsiteX23" fmla="*/ 651327 w 2216150"/>
                    <a:gd name="connsiteY23" fmla="*/ 579408 h 1814927"/>
                    <a:gd name="connsiteX24" fmla="*/ 607630 w 2216150"/>
                    <a:gd name="connsiteY24" fmla="*/ 514870 h 1814927"/>
                    <a:gd name="connsiteX25" fmla="*/ 564308 w 2216150"/>
                    <a:gd name="connsiteY25" fmla="*/ 444576 h 1814927"/>
                    <a:gd name="connsiteX26" fmla="*/ 520069 w 2216150"/>
                    <a:gd name="connsiteY26" fmla="*/ 363360 h 1814927"/>
                    <a:gd name="connsiteX27" fmla="*/ 467222 w 2216150"/>
                    <a:gd name="connsiteY27" fmla="*/ 261611 h 1814927"/>
                    <a:gd name="connsiteX28" fmla="*/ 445373 w 2216150"/>
                    <a:gd name="connsiteY28" fmla="*/ 217457 h 1814927"/>
                    <a:gd name="connsiteX29" fmla="*/ 401676 w 2216150"/>
                    <a:gd name="connsiteY29" fmla="*/ 132769 h 1814927"/>
                    <a:gd name="connsiteX30" fmla="*/ 338762 w 2216150"/>
                    <a:gd name="connsiteY30" fmla="*/ 79388 h 1814927"/>
                    <a:gd name="connsiteX31" fmla="*/ 293184 w 2216150"/>
                    <a:gd name="connsiteY31" fmla="*/ 44907 h 1814927"/>
                    <a:gd name="connsiteX32" fmla="*/ 227095 w 2216150"/>
                    <a:gd name="connsiteY32" fmla="*/ 35678 h 1814927"/>
                    <a:gd name="connsiteX33" fmla="*/ 172202 w 2216150"/>
                    <a:gd name="connsiteY33" fmla="*/ 44611 h 1814927"/>
                    <a:gd name="connsiteX34" fmla="*/ 130175 w 2216150"/>
                    <a:gd name="connsiteY34" fmla="*/ 71852 h 1814927"/>
                    <a:gd name="connsiteX35" fmla="*/ 104775 w 2216150"/>
                    <a:gd name="connsiteY35" fmla="*/ 78202 h 1814927"/>
                    <a:gd name="connsiteX36" fmla="*/ 0 w 2216150"/>
                    <a:gd name="connsiteY36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252710 w 2216150"/>
                    <a:gd name="connsiteY11" fmla="*/ 560992 h 1814927"/>
                    <a:gd name="connsiteX12" fmla="*/ 1151320 w 2216150"/>
                    <a:gd name="connsiteY12" fmla="*/ 611761 h 1814927"/>
                    <a:gd name="connsiteX13" fmla="*/ 1003329 w 2216150"/>
                    <a:gd name="connsiteY13" fmla="*/ 671164 h 1814927"/>
                    <a:gd name="connsiteX14" fmla="*/ 898525 w 2216150"/>
                    <a:gd name="connsiteY14" fmla="*/ 684627 h 1814927"/>
                    <a:gd name="connsiteX15" fmla="*/ 889000 w 2216150"/>
                    <a:gd name="connsiteY15" fmla="*/ 687802 h 1814927"/>
                    <a:gd name="connsiteX16" fmla="*/ 882650 w 2216150"/>
                    <a:gd name="connsiteY16" fmla="*/ 690977 h 1814927"/>
                    <a:gd name="connsiteX17" fmla="*/ 857250 w 2216150"/>
                    <a:gd name="connsiteY17" fmla="*/ 703677 h 1814927"/>
                    <a:gd name="connsiteX18" fmla="*/ 831850 w 2216150"/>
                    <a:gd name="connsiteY18" fmla="*/ 713202 h 1814927"/>
                    <a:gd name="connsiteX19" fmla="*/ 802898 w 2216150"/>
                    <a:gd name="connsiteY19" fmla="*/ 701540 h 1814927"/>
                    <a:gd name="connsiteX20" fmla="*/ 754432 w 2216150"/>
                    <a:gd name="connsiteY20" fmla="*/ 685368 h 1814927"/>
                    <a:gd name="connsiteX21" fmla="*/ 722637 w 2216150"/>
                    <a:gd name="connsiteY21" fmla="*/ 655163 h 1814927"/>
                    <a:gd name="connsiteX22" fmla="*/ 651327 w 2216150"/>
                    <a:gd name="connsiteY22" fmla="*/ 579408 h 1814927"/>
                    <a:gd name="connsiteX23" fmla="*/ 607630 w 2216150"/>
                    <a:gd name="connsiteY23" fmla="*/ 514870 h 1814927"/>
                    <a:gd name="connsiteX24" fmla="*/ 564308 w 2216150"/>
                    <a:gd name="connsiteY24" fmla="*/ 444576 h 1814927"/>
                    <a:gd name="connsiteX25" fmla="*/ 520069 w 2216150"/>
                    <a:gd name="connsiteY25" fmla="*/ 363360 h 1814927"/>
                    <a:gd name="connsiteX26" fmla="*/ 467222 w 2216150"/>
                    <a:gd name="connsiteY26" fmla="*/ 261611 h 1814927"/>
                    <a:gd name="connsiteX27" fmla="*/ 445373 w 2216150"/>
                    <a:gd name="connsiteY27" fmla="*/ 217457 h 1814927"/>
                    <a:gd name="connsiteX28" fmla="*/ 401676 w 2216150"/>
                    <a:gd name="connsiteY28" fmla="*/ 132769 h 1814927"/>
                    <a:gd name="connsiteX29" fmla="*/ 338762 w 2216150"/>
                    <a:gd name="connsiteY29" fmla="*/ 79388 h 1814927"/>
                    <a:gd name="connsiteX30" fmla="*/ 293184 w 2216150"/>
                    <a:gd name="connsiteY30" fmla="*/ 44907 h 1814927"/>
                    <a:gd name="connsiteX31" fmla="*/ 227095 w 2216150"/>
                    <a:gd name="connsiteY31" fmla="*/ 35678 h 1814927"/>
                    <a:gd name="connsiteX32" fmla="*/ 172202 w 2216150"/>
                    <a:gd name="connsiteY32" fmla="*/ 44611 h 1814927"/>
                    <a:gd name="connsiteX33" fmla="*/ 130175 w 2216150"/>
                    <a:gd name="connsiteY33" fmla="*/ 71852 h 1814927"/>
                    <a:gd name="connsiteX34" fmla="*/ 104775 w 2216150"/>
                    <a:gd name="connsiteY34" fmla="*/ 78202 h 1814927"/>
                    <a:gd name="connsiteX35" fmla="*/ 0 w 2216150"/>
                    <a:gd name="connsiteY35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252710 w 2216150"/>
                    <a:gd name="connsiteY11" fmla="*/ 560992 h 1814927"/>
                    <a:gd name="connsiteX12" fmla="*/ 1151320 w 2216150"/>
                    <a:gd name="connsiteY12" fmla="*/ 611761 h 1814927"/>
                    <a:gd name="connsiteX13" fmla="*/ 1003329 w 2216150"/>
                    <a:gd name="connsiteY13" fmla="*/ 671164 h 1814927"/>
                    <a:gd name="connsiteX14" fmla="*/ 898525 w 2216150"/>
                    <a:gd name="connsiteY14" fmla="*/ 684627 h 1814927"/>
                    <a:gd name="connsiteX15" fmla="*/ 889000 w 2216150"/>
                    <a:gd name="connsiteY15" fmla="*/ 687802 h 1814927"/>
                    <a:gd name="connsiteX16" fmla="*/ 909939 w 2216150"/>
                    <a:gd name="connsiteY16" fmla="*/ 700058 h 1814927"/>
                    <a:gd name="connsiteX17" fmla="*/ 857250 w 2216150"/>
                    <a:gd name="connsiteY17" fmla="*/ 703677 h 1814927"/>
                    <a:gd name="connsiteX18" fmla="*/ 831850 w 2216150"/>
                    <a:gd name="connsiteY18" fmla="*/ 713202 h 1814927"/>
                    <a:gd name="connsiteX19" fmla="*/ 802898 w 2216150"/>
                    <a:gd name="connsiteY19" fmla="*/ 701540 h 1814927"/>
                    <a:gd name="connsiteX20" fmla="*/ 754432 w 2216150"/>
                    <a:gd name="connsiteY20" fmla="*/ 685368 h 1814927"/>
                    <a:gd name="connsiteX21" fmla="*/ 722637 w 2216150"/>
                    <a:gd name="connsiteY21" fmla="*/ 655163 h 1814927"/>
                    <a:gd name="connsiteX22" fmla="*/ 651327 w 2216150"/>
                    <a:gd name="connsiteY22" fmla="*/ 579408 h 1814927"/>
                    <a:gd name="connsiteX23" fmla="*/ 607630 w 2216150"/>
                    <a:gd name="connsiteY23" fmla="*/ 514870 h 1814927"/>
                    <a:gd name="connsiteX24" fmla="*/ 564308 w 2216150"/>
                    <a:gd name="connsiteY24" fmla="*/ 444576 h 1814927"/>
                    <a:gd name="connsiteX25" fmla="*/ 520069 w 2216150"/>
                    <a:gd name="connsiteY25" fmla="*/ 363360 h 1814927"/>
                    <a:gd name="connsiteX26" fmla="*/ 467222 w 2216150"/>
                    <a:gd name="connsiteY26" fmla="*/ 261611 h 1814927"/>
                    <a:gd name="connsiteX27" fmla="*/ 445373 w 2216150"/>
                    <a:gd name="connsiteY27" fmla="*/ 217457 h 1814927"/>
                    <a:gd name="connsiteX28" fmla="*/ 401676 w 2216150"/>
                    <a:gd name="connsiteY28" fmla="*/ 132769 h 1814927"/>
                    <a:gd name="connsiteX29" fmla="*/ 338762 w 2216150"/>
                    <a:gd name="connsiteY29" fmla="*/ 79388 h 1814927"/>
                    <a:gd name="connsiteX30" fmla="*/ 293184 w 2216150"/>
                    <a:gd name="connsiteY30" fmla="*/ 44907 h 1814927"/>
                    <a:gd name="connsiteX31" fmla="*/ 227095 w 2216150"/>
                    <a:gd name="connsiteY31" fmla="*/ 35678 h 1814927"/>
                    <a:gd name="connsiteX32" fmla="*/ 172202 w 2216150"/>
                    <a:gd name="connsiteY32" fmla="*/ 44611 h 1814927"/>
                    <a:gd name="connsiteX33" fmla="*/ 130175 w 2216150"/>
                    <a:gd name="connsiteY33" fmla="*/ 71852 h 1814927"/>
                    <a:gd name="connsiteX34" fmla="*/ 104775 w 2216150"/>
                    <a:gd name="connsiteY34" fmla="*/ 78202 h 1814927"/>
                    <a:gd name="connsiteX35" fmla="*/ 0 w 2216150"/>
                    <a:gd name="connsiteY35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252710 w 2216150"/>
                    <a:gd name="connsiteY11" fmla="*/ 560992 h 1814927"/>
                    <a:gd name="connsiteX12" fmla="*/ 1151320 w 2216150"/>
                    <a:gd name="connsiteY12" fmla="*/ 611761 h 1814927"/>
                    <a:gd name="connsiteX13" fmla="*/ 1003329 w 2216150"/>
                    <a:gd name="connsiteY13" fmla="*/ 671164 h 1814927"/>
                    <a:gd name="connsiteX14" fmla="*/ 898525 w 2216150"/>
                    <a:gd name="connsiteY14" fmla="*/ 684627 h 1814927"/>
                    <a:gd name="connsiteX15" fmla="*/ 909939 w 2216150"/>
                    <a:gd name="connsiteY15" fmla="*/ 700058 h 1814927"/>
                    <a:gd name="connsiteX16" fmla="*/ 857250 w 2216150"/>
                    <a:gd name="connsiteY16" fmla="*/ 703677 h 1814927"/>
                    <a:gd name="connsiteX17" fmla="*/ 831850 w 2216150"/>
                    <a:gd name="connsiteY17" fmla="*/ 713202 h 1814927"/>
                    <a:gd name="connsiteX18" fmla="*/ 802898 w 2216150"/>
                    <a:gd name="connsiteY18" fmla="*/ 701540 h 1814927"/>
                    <a:gd name="connsiteX19" fmla="*/ 754432 w 2216150"/>
                    <a:gd name="connsiteY19" fmla="*/ 685368 h 1814927"/>
                    <a:gd name="connsiteX20" fmla="*/ 722637 w 2216150"/>
                    <a:gd name="connsiteY20" fmla="*/ 655163 h 1814927"/>
                    <a:gd name="connsiteX21" fmla="*/ 651327 w 2216150"/>
                    <a:gd name="connsiteY21" fmla="*/ 579408 h 1814927"/>
                    <a:gd name="connsiteX22" fmla="*/ 607630 w 2216150"/>
                    <a:gd name="connsiteY22" fmla="*/ 514870 h 1814927"/>
                    <a:gd name="connsiteX23" fmla="*/ 564308 w 2216150"/>
                    <a:gd name="connsiteY23" fmla="*/ 444576 h 1814927"/>
                    <a:gd name="connsiteX24" fmla="*/ 520069 w 2216150"/>
                    <a:gd name="connsiteY24" fmla="*/ 363360 h 1814927"/>
                    <a:gd name="connsiteX25" fmla="*/ 467222 w 2216150"/>
                    <a:gd name="connsiteY25" fmla="*/ 261611 h 1814927"/>
                    <a:gd name="connsiteX26" fmla="*/ 445373 w 2216150"/>
                    <a:gd name="connsiteY26" fmla="*/ 217457 h 1814927"/>
                    <a:gd name="connsiteX27" fmla="*/ 401676 w 2216150"/>
                    <a:gd name="connsiteY27" fmla="*/ 132769 h 1814927"/>
                    <a:gd name="connsiteX28" fmla="*/ 338762 w 2216150"/>
                    <a:gd name="connsiteY28" fmla="*/ 79388 h 1814927"/>
                    <a:gd name="connsiteX29" fmla="*/ 293184 w 2216150"/>
                    <a:gd name="connsiteY29" fmla="*/ 44907 h 1814927"/>
                    <a:gd name="connsiteX30" fmla="*/ 227095 w 2216150"/>
                    <a:gd name="connsiteY30" fmla="*/ 35678 h 1814927"/>
                    <a:gd name="connsiteX31" fmla="*/ 172202 w 2216150"/>
                    <a:gd name="connsiteY31" fmla="*/ 44611 h 1814927"/>
                    <a:gd name="connsiteX32" fmla="*/ 130175 w 2216150"/>
                    <a:gd name="connsiteY32" fmla="*/ 71852 h 1814927"/>
                    <a:gd name="connsiteX33" fmla="*/ 104775 w 2216150"/>
                    <a:gd name="connsiteY33" fmla="*/ 78202 h 1814927"/>
                    <a:gd name="connsiteX34" fmla="*/ 0 w 2216150"/>
                    <a:gd name="connsiteY34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252710 w 2216150"/>
                    <a:gd name="connsiteY11" fmla="*/ 560992 h 1814927"/>
                    <a:gd name="connsiteX12" fmla="*/ 1151320 w 2216150"/>
                    <a:gd name="connsiteY12" fmla="*/ 611761 h 1814927"/>
                    <a:gd name="connsiteX13" fmla="*/ 1003329 w 2216150"/>
                    <a:gd name="connsiteY13" fmla="*/ 671164 h 1814927"/>
                    <a:gd name="connsiteX14" fmla="*/ 898525 w 2216150"/>
                    <a:gd name="connsiteY14" fmla="*/ 684627 h 1814927"/>
                    <a:gd name="connsiteX15" fmla="*/ 857250 w 2216150"/>
                    <a:gd name="connsiteY15" fmla="*/ 703677 h 1814927"/>
                    <a:gd name="connsiteX16" fmla="*/ 831850 w 2216150"/>
                    <a:gd name="connsiteY16" fmla="*/ 713202 h 1814927"/>
                    <a:gd name="connsiteX17" fmla="*/ 802898 w 2216150"/>
                    <a:gd name="connsiteY17" fmla="*/ 701540 h 1814927"/>
                    <a:gd name="connsiteX18" fmla="*/ 754432 w 2216150"/>
                    <a:gd name="connsiteY18" fmla="*/ 685368 h 1814927"/>
                    <a:gd name="connsiteX19" fmla="*/ 722637 w 2216150"/>
                    <a:gd name="connsiteY19" fmla="*/ 655163 h 1814927"/>
                    <a:gd name="connsiteX20" fmla="*/ 651327 w 2216150"/>
                    <a:gd name="connsiteY20" fmla="*/ 579408 h 1814927"/>
                    <a:gd name="connsiteX21" fmla="*/ 607630 w 2216150"/>
                    <a:gd name="connsiteY21" fmla="*/ 514870 h 1814927"/>
                    <a:gd name="connsiteX22" fmla="*/ 564308 w 2216150"/>
                    <a:gd name="connsiteY22" fmla="*/ 444576 h 1814927"/>
                    <a:gd name="connsiteX23" fmla="*/ 520069 w 2216150"/>
                    <a:gd name="connsiteY23" fmla="*/ 363360 h 1814927"/>
                    <a:gd name="connsiteX24" fmla="*/ 467222 w 2216150"/>
                    <a:gd name="connsiteY24" fmla="*/ 261611 h 1814927"/>
                    <a:gd name="connsiteX25" fmla="*/ 445373 w 2216150"/>
                    <a:gd name="connsiteY25" fmla="*/ 217457 h 1814927"/>
                    <a:gd name="connsiteX26" fmla="*/ 401676 w 2216150"/>
                    <a:gd name="connsiteY26" fmla="*/ 132769 h 1814927"/>
                    <a:gd name="connsiteX27" fmla="*/ 338762 w 2216150"/>
                    <a:gd name="connsiteY27" fmla="*/ 79388 h 1814927"/>
                    <a:gd name="connsiteX28" fmla="*/ 293184 w 2216150"/>
                    <a:gd name="connsiteY28" fmla="*/ 44907 h 1814927"/>
                    <a:gd name="connsiteX29" fmla="*/ 227095 w 2216150"/>
                    <a:gd name="connsiteY29" fmla="*/ 35678 h 1814927"/>
                    <a:gd name="connsiteX30" fmla="*/ 172202 w 2216150"/>
                    <a:gd name="connsiteY30" fmla="*/ 44611 h 1814927"/>
                    <a:gd name="connsiteX31" fmla="*/ 130175 w 2216150"/>
                    <a:gd name="connsiteY31" fmla="*/ 71852 h 1814927"/>
                    <a:gd name="connsiteX32" fmla="*/ 104775 w 2216150"/>
                    <a:gd name="connsiteY32" fmla="*/ 78202 h 1814927"/>
                    <a:gd name="connsiteX33" fmla="*/ 0 w 2216150"/>
                    <a:gd name="connsiteY33" fmla="*/ 138527 h 1814927"/>
                    <a:gd name="connsiteX0" fmla="*/ 0 w 2216150"/>
                    <a:gd name="connsiteY0" fmla="*/ 138527 h 1814927"/>
                    <a:gd name="connsiteX1" fmla="*/ 6350 w 2216150"/>
                    <a:gd name="connsiteY1" fmla="*/ 1814927 h 1814927"/>
                    <a:gd name="connsiteX2" fmla="*/ 2212975 w 2216150"/>
                    <a:gd name="connsiteY2" fmla="*/ 1814927 h 1814927"/>
                    <a:gd name="connsiteX3" fmla="*/ 2216150 w 2216150"/>
                    <a:gd name="connsiteY3" fmla="*/ 0 h 1814927"/>
                    <a:gd name="connsiteX4" fmla="*/ 2140973 w 2216150"/>
                    <a:gd name="connsiteY4" fmla="*/ 14955 h 1814927"/>
                    <a:gd name="connsiteX5" fmla="*/ 2036514 w 2216150"/>
                    <a:gd name="connsiteY5" fmla="*/ 62580 h 1814927"/>
                    <a:gd name="connsiteX6" fmla="*/ 1913110 w 2216150"/>
                    <a:gd name="connsiteY6" fmla="*/ 120650 h 1814927"/>
                    <a:gd name="connsiteX7" fmla="*/ 1790729 w 2216150"/>
                    <a:gd name="connsiteY7" fmla="*/ 200978 h 1814927"/>
                    <a:gd name="connsiteX8" fmla="*/ 1674487 w 2216150"/>
                    <a:gd name="connsiteY8" fmla="*/ 273082 h 1814927"/>
                    <a:gd name="connsiteX9" fmla="*/ 1535390 w 2216150"/>
                    <a:gd name="connsiteY9" fmla="*/ 388239 h 1814927"/>
                    <a:gd name="connsiteX10" fmla="*/ 1366723 w 2216150"/>
                    <a:gd name="connsiteY10" fmla="*/ 465360 h 1814927"/>
                    <a:gd name="connsiteX11" fmla="*/ 1252710 w 2216150"/>
                    <a:gd name="connsiteY11" fmla="*/ 560992 h 1814927"/>
                    <a:gd name="connsiteX12" fmla="*/ 1151320 w 2216150"/>
                    <a:gd name="connsiteY12" fmla="*/ 611761 h 1814927"/>
                    <a:gd name="connsiteX13" fmla="*/ 1003329 w 2216150"/>
                    <a:gd name="connsiteY13" fmla="*/ 671164 h 1814927"/>
                    <a:gd name="connsiteX14" fmla="*/ 921616 w 2216150"/>
                    <a:gd name="connsiteY14" fmla="*/ 700518 h 1814927"/>
                    <a:gd name="connsiteX15" fmla="*/ 857250 w 2216150"/>
                    <a:gd name="connsiteY15" fmla="*/ 703677 h 1814927"/>
                    <a:gd name="connsiteX16" fmla="*/ 831850 w 2216150"/>
                    <a:gd name="connsiteY16" fmla="*/ 713202 h 1814927"/>
                    <a:gd name="connsiteX17" fmla="*/ 802898 w 2216150"/>
                    <a:gd name="connsiteY17" fmla="*/ 701540 h 1814927"/>
                    <a:gd name="connsiteX18" fmla="*/ 754432 w 2216150"/>
                    <a:gd name="connsiteY18" fmla="*/ 685368 h 1814927"/>
                    <a:gd name="connsiteX19" fmla="*/ 722637 w 2216150"/>
                    <a:gd name="connsiteY19" fmla="*/ 655163 h 1814927"/>
                    <a:gd name="connsiteX20" fmla="*/ 651327 w 2216150"/>
                    <a:gd name="connsiteY20" fmla="*/ 579408 h 1814927"/>
                    <a:gd name="connsiteX21" fmla="*/ 607630 w 2216150"/>
                    <a:gd name="connsiteY21" fmla="*/ 514870 h 1814927"/>
                    <a:gd name="connsiteX22" fmla="*/ 564308 w 2216150"/>
                    <a:gd name="connsiteY22" fmla="*/ 444576 h 1814927"/>
                    <a:gd name="connsiteX23" fmla="*/ 520069 w 2216150"/>
                    <a:gd name="connsiteY23" fmla="*/ 363360 h 1814927"/>
                    <a:gd name="connsiteX24" fmla="*/ 467222 w 2216150"/>
                    <a:gd name="connsiteY24" fmla="*/ 261611 h 1814927"/>
                    <a:gd name="connsiteX25" fmla="*/ 445373 w 2216150"/>
                    <a:gd name="connsiteY25" fmla="*/ 217457 h 1814927"/>
                    <a:gd name="connsiteX26" fmla="*/ 401676 w 2216150"/>
                    <a:gd name="connsiteY26" fmla="*/ 132769 h 1814927"/>
                    <a:gd name="connsiteX27" fmla="*/ 338762 w 2216150"/>
                    <a:gd name="connsiteY27" fmla="*/ 79388 h 1814927"/>
                    <a:gd name="connsiteX28" fmla="*/ 293184 w 2216150"/>
                    <a:gd name="connsiteY28" fmla="*/ 44907 h 1814927"/>
                    <a:gd name="connsiteX29" fmla="*/ 227095 w 2216150"/>
                    <a:gd name="connsiteY29" fmla="*/ 35678 h 1814927"/>
                    <a:gd name="connsiteX30" fmla="*/ 172202 w 2216150"/>
                    <a:gd name="connsiteY30" fmla="*/ 44611 h 1814927"/>
                    <a:gd name="connsiteX31" fmla="*/ 130175 w 2216150"/>
                    <a:gd name="connsiteY31" fmla="*/ 71852 h 1814927"/>
                    <a:gd name="connsiteX32" fmla="*/ 104775 w 2216150"/>
                    <a:gd name="connsiteY32" fmla="*/ 78202 h 1814927"/>
                    <a:gd name="connsiteX33" fmla="*/ 0 w 2216150"/>
                    <a:gd name="connsiteY33" fmla="*/ 138527 h 1814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2216150" h="1814927">
                      <a:moveTo>
                        <a:pt x="0" y="138527"/>
                      </a:moveTo>
                      <a:cubicBezTo>
                        <a:pt x="2117" y="697327"/>
                        <a:pt x="4233" y="1256127"/>
                        <a:pt x="6350" y="1814927"/>
                      </a:cubicBezTo>
                      <a:lnTo>
                        <a:pt x="2212975" y="1814927"/>
                      </a:lnTo>
                      <a:cubicBezTo>
                        <a:pt x="2214033" y="1120660"/>
                        <a:pt x="2215092" y="694267"/>
                        <a:pt x="2216150" y="0"/>
                      </a:cubicBezTo>
                      <a:lnTo>
                        <a:pt x="2140973" y="14955"/>
                      </a:lnTo>
                      <a:lnTo>
                        <a:pt x="2036514" y="62580"/>
                      </a:lnTo>
                      <a:lnTo>
                        <a:pt x="1913110" y="120650"/>
                      </a:lnTo>
                      <a:lnTo>
                        <a:pt x="1790729" y="200978"/>
                      </a:lnTo>
                      <a:lnTo>
                        <a:pt x="1674487" y="273082"/>
                      </a:lnTo>
                      <a:lnTo>
                        <a:pt x="1535390" y="388239"/>
                      </a:lnTo>
                      <a:lnTo>
                        <a:pt x="1366723" y="465360"/>
                      </a:lnTo>
                      <a:lnTo>
                        <a:pt x="1252710" y="560992"/>
                      </a:lnTo>
                      <a:lnTo>
                        <a:pt x="1151320" y="611761"/>
                      </a:lnTo>
                      <a:lnTo>
                        <a:pt x="1003329" y="671164"/>
                      </a:lnTo>
                      <a:cubicBezTo>
                        <a:pt x="968394" y="675652"/>
                        <a:pt x="945963" y="695099"/>
                        <a:pt x="921616" y="700518"/>
                      </a:cubicBezTo>
                      <a:cubicBezTo>
                        <a:pt x="897270" y="705937"/>
                        <a:pt x="868362" y="698915"/>
                        <a:pt x="857250" y="703677"/>
                      </a:cubicBezTo>
                      <a:lnTo>
                        <a:pt x="831850" y="713202"/>
                      </a:lnTo>
                      <a:lnTo>
                        <a:pt x="802898" y="701540"/>
                      </a:lnTo>
                      <a:lnTo>
                        <a:pt x="754432" y="685368"/>
                      </a:lnTo>
                      <a:cubicBezTo>
                        <a:pt x="756867" y="674636"/>
                        <a:pt x="722562" y="675345"/>
                        <a:pt x="722637" y="655163"/>
                      </a:cubicBezTo>
                      <a:lnTo>
                        <a:pt x="651327" y="579408"/>
                      </a:lnTo>
                      <a:lnTo>
                        <a:pt x="607630" y="514870"/>
                      </a:lnTo>
                      <a:lnTo>
                        <a:pt x="564308" y="444576"/>
                      </a:lnTo>
                      <a:lnTo>
                        <a:pt x="520069" y="363360"/>
                      </a:lnTo>
                      <a:cubicBezTo>
                        <a:pt x="520681" y="339424"/>
                        <a:pt x="467077" y="283910"/>
                        <a:pt x="467222" y="261611"/>
                      </a:cubicBezTo>
                      <a:lnTo>
                        <a:pt x="445373" y="217457"/>
                      </a:lnTo>
                      <a:cubicBezTo>
                        <a:pt x="445644" y="198506"/>
                        <a:pt x="408716" y="154267"/>
                        <a:pt x="401676" y="132769"/>
                      </a:cubicBezTo>
                      <a:lnTo>
                        <a:pt x="338762" y="79388"/>
                      </a:lnTo>
                      <a:lnTo>
                        <a:pt x="293184" y="44907"/>
                      </a:lnTo>
                      <a:cubicBezTo>
                        <a:pt x="259328" y="41521"/>
                        <a:pt x="244081" y="35678"/>
                        <a:pt x="227095" y="35678"/>
                      </a:cubicBezTo>
                      <a:lnTo>
                        <a:pt x="172202" y="44611"/>
                      </a:lnTo>
                      <a:lnTo>
                        <a:pt x="130175" y="71852"/>
                      </a:lnTo>
                      <a:lnTo>
                        <a:pt x="104775" y="78202"/>
                      </a:lnTo>
                      <a:lnTo>
                        <a:pt x="0" y="138527"/>
                      </a:lnTo>
                      <a:close/>
                    </a:path>
                  </a:pathLst>
                </a:custGeom>
                <a:gradFill>
                  <a:gsLst>
                    <a:gs pos="89000">
                      <a:srgbClr val="77EE00"/>
                    </a:gs>
                    <a:gs pos="23000">
                      <a:srgbClr val="5DBA00">
                        <a:lumMod val="40000"/>
                        <a:lumOff val="60000"/>
                      </a:srgbClr>
                    </a:gs>
                  </a:gsLst>
                  <a:lin ang="0" scaled="1"/>
                </a:gra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73D6D745-E909-4544-BFB4-B797912A4C65}"/>
                    </a:ext>
                  </a:extLst>
                </p:cNvPr>
                <p:cNvSpPr/>
                <p:nvPr/>
              </p:nvSpPr>
              <p:spPr>
                <a:xfrm>
                  <a:off x="5502276" y="3076619"/>
                  <a:ext cx="1939311" cy="2044656"/>
                </a:xfrm>
                <a:custGeom>
                  <a:avLst/>
                  <a:gdLst>
                    <a:gd name="connsiteX0" fmla="*/ 12700 w 1936750"/>
                    <a:gd name="connsiteY0" fmla="*/ 1044575 h 1647825"/>
                    <a:gd name="connsiteX1" fmla="*/ 0 w 1936750"/>
                    <a:gd name="connsiteY1" fmla="*/ 1647825 h 1647825"/>
                    <a:gd name="connsiteX2" fmla="*/ 1936750 w 1936750"/>
                    <a:gd name="connsiteY2" fmla="*/ 1641475 h 1647825"/>
                    <a:gd name="connsiteX3" fmla="*/ 1933575 w 1936750"/>
                    <a:gd name="connsiteY3" fmla="*/ 0 h 1647825"/>
                    <a:gd name="connsiteX4" fmla="*/ 1800225 w 1936750"/>
                    <a:gd name="connsiteY4" fmla="*/ 101600 h 1647825"/>
                    <a:gd name="connsiteX5" fmla="*/ 1647825 w 1936750"/>
                    <a:gd name="connsiteY5" fmla="*/ 250825 h 1647825"/>
                    <a:gd name="connsiteX6" fmla="*/ 1524000 w 1936750"/>
                    <a:gd name="connsiteY6" fmla="*/ 365125 h 1647825"/>
                    <a:gd name="connsiteX7" fmla="*/ 1320800 w 1936750"/>
                    <a:gd name="connsiteY7" fmla="*/ 520700 h 1647825"/>
                    <a:gd name="connsiteX8" fmla="*/ 1168400 w 1936750"/>
                    <a:gd name="connsiteY8" fmla="*/ 612775 h 1647825"/>
                    <a:gd name="connsiteX9" fmla="*/ 984250 w 1936750"/>
                    <a:gd name="connsiteY9" fmla="*/ 695325 h 1647825"/>
                    <a:gd name="connsiteX10" fmla="*/ 755650 w 1936750"/>
                    <a:gd name="connsiteY10" fmla="*/ 787400 h 1647825"/>
                    <a:gd name="connsiteX11" fmla="*/ 501650 w 1936750"/>
                    <a:gd name="connsiteY11" fmla="*/ 889000 h 1647825"/>
                    <a:gd name="connsiteX12" fmla="*/ 438150 w 1936750"/>
                    <a:gd name="connsiteY12" fmla="*/ 914400 h 1647825"/>
                    <a:gd name="connsiteX13" fmla="*/ 349250 w 1936750"/>
                    <a:gd name="connsiteY13" fmla="*/ 949325 h 1647825"/>
                    <a:gd name="connsiteX14" fmla="*/ 282575 w 1936750"/>
                    <a:gd name="connsiteY14" fmla="*/ 962025 h 1647825"/>
                    <a:gd name="connsiteX15" fmla="*/ 250825 w 1936750"/>
                    <a:gd name="connsiteY15" fmla="*/ 971550 h 1647825"/>
                    <a:gd name="connsiteX16" fmla="*/ 206375 w 1936750"/>
                    <a:gd name="connsiteY16" fmla="*/ 990600 h 1647825"/>
                    <a:gd name="connsiteX17" fmla="*/ 171450 w 1936750"/>
                    <a:gd name="connsiteY17" fmla="*/ 996950 h 1647825"/>
                    <a:gd name="connsiteX18" fmla="*/ 101600 w 1936750"/>
                    <a:gd name="connsiteY18" fmla="*/ 1025525 h 1647825"/>
                    <a:gd name="connsiteX19" fmla="*/ 95250 w 1936750"/>
                    <a:gd name="connsiteY19" fmla="*/ 1025525 h 1647825"/>
                    <a:gd name="connsiteX20" fmla="*/ 12700 w 1936750"/>
                    <a:gd name="connsiteY20" fmla="*/ 1044575 h 1647825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800225 w 1939311"/>
                    <a:gd name="connsiteY4" fmla="*/ 370277 h 1916502"/>
                    <a:gd name="connsiteX5" fmla="*/ 1647825 w 1939311"/>
                    <a:gd name="connsiteY5" fmla="*/ 519502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4250 w 1939311"/>
                    <a:gd name="connsiteY9" fmla="*/ 964002 h 1916502"/>
                    <a:gd name="connsiteX10" fmla="*/ 755650 w 1939311"/>
                    <a:gd name="connsiteY10" fmla="*/ 1056077 h 1916502"/>
                    <a:gd name="connsiteX11" fmla="*/ 501650 w 1939311"/>
                    <a:gd name="connsiteY11" fmla="*/ 1157677 h 1916502"/>
                    <a:gd name="connsiteX12" fmla="*/ 438150 w 1939311"/>
                    <a:gd name="connsiteY12" fmla="*/ 1183077 h 1916502"/>
                    <a:gd name="connsiteX13" fmla="*/ 349250 w 1939311"/>
                    <a:gd name="connsiteY13" fmla="*/ 1218002 h 1916502"/>
                    <a:gd name="connsiteX14" fmla="*/ 282575 w 1939311"/>
                    <a:gd name="connsiteY14" fmla="*/ 1230702 h 1916502"/>
                    <a:gd name="connsiteX15" fmla="*/ 250825 w 1939311"/>
                    <a:gd name="connsiteY15" fmla="*/ 1240227 h 1916502"/>
                    <a:gd name="connsiteX16" fmla="*/ 206375 w 1939311"/>
                    <a:gd name="connsiteY16" fmla="*/ 1259277 h 1916502"/>
                    <a:gd name="connsiteX17" fmla="*/ 171450 w 1939311"/>
                    <a:gd name="connsiteY17" fmla="*/ 1265627 h 1916502"/>
                    <a:gd name="connsiteX18" fmla="*/ 101600 w 1939311"/>
                    <a:gd name="connsiteY18" fmla="*/ 1294202 h 1916502"/>
                    <a:gd name="connsiteX19" fmla="*/ 95250 w 1939311"/>
                    <a:gd name="connsiteY19" fmla="*/ 1294202 h 1916502"/>
                    <a:gd name="connsiteX20" fmla="*/ 12700 w 1939311"/>
                    <a:gd name="connsiteY20" fmla="*/ 1313252 h 1916502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647825 w 1939311"/>
                    <a:gd name="connsiteY5" fmla="*/ 519502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4250 w 1939311"/>
                    <a:gd name="connsiteY9" fmla="*/ 964002 h 1916502"/>
                    <a:gd name="connsiteX10" fmla="*/ 755650 w 1939311"/>
                    <a:gd name="connsiteY10" fmla="*/ 1056077 h 1916502"/>
                    <a:gd name="connsiteX11" fmla="*/ 501650 w 1939311"/>
                    <a:gd name="connsiteY11" fmla="*/ 1157677 h 1916502"/>
                    <a:gd name="connsiteX12" fmla="*/ 438150 w 1939311"/>
                    <a:gd name="connsiteY12" fmla="*/ 1183077 h 1916502"/>
                    <a:gd name="connsiteX13" fmla="*/ 349250 w 1939311"/>
                    <a:gd name="connsiteY13" fmla="*/ 1218002 h 1916502"/>
                    <a:gd name="connsiteX14" fmla="*/ 282575 w 1939311"/>
                    <a:gd name="connsiteY14" fmla="*/ 1230702 h 1916502"/>
                    <a:gd name="connsiteX15" fmla="*/ 250825 w 1939311"/>
                    <a:gd name="connsiteY15" fmla="*/ 1240227 h 1916502"/>
                    <a:gd name="connsiteX16" fmla="*/ 206375 w 1939311"/>
                    <a:gd name="connsiteY16" fmla="*/ 1259277 h 1916502"/>
                    <a:gd name="connsiteX17" fmla="*/ 171450 w 1939311"/>
                    <a:gd name="connsiteY17" fmla="*/ 1265627 h 1916502"/>
                    <a:gd name="connsiteX18" fmla="*/ 101600 w 1939311"/>
                    <a:gd name="connsiteY18" fmla="*/ 1294202 h 1916502"/>
                    <a:gd name="connsiteX19" fmla="*/ 95250 w 1939311"/>
                    <a:gd name="connsiteY19" fmla="*/ 1294202 h 1916502"/>
                    <a:gd name="connsiteX20" fmla="*/ 12700 w 1939311"/>
                    <a:gd name="connsiteY20" fmla="*/ 1313252 h 1916502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4250 w 1939311"/>
                    <a:gd name="connsiteY9" fmla="*/ 964002 h 1916502"/>
                    <a:gd name="connsiteX10" fmla="*/ 755650 w 1939311"/>
                    <a:gd name="connsiteY10" fmla="*/ 1056077 h 1916502"/>
                    <a:gd name="connsiteX11" fmla="*/ 501650 w 1939311"/>
                    <a:gd name="connsiteY11" fmla="*/ 1157677 h 1916502"/>
                    <a:gd name="connsiteX12" fmla="*/ 438150 w 1939311"/>
                    <a:gd name="connsiteY12" fmla="*/ 1183077 h 1916502"/>
                    <a:gd name="connsiteX13" fmla="*/ 349250 w 1939311"/>
                    <a:gd name="connsiteY13" fmla="*/ 1218002 h 1916502"/>
                    <a:gd name="connsiteX14" fmla="*/ 282575 w 1939311"/>
                    <a:gd name="connsiteY14" fmla="*/ 1230702 h 1916502"/>
                    <a:gd name="connsiteX15" fmla="*/ 250825 w 1939311"/>
                    <a:gd name="connsiteY15" fmla="*/ 1240227 h 1916502"/>
                    <a:gd name="connsiteX16" fmla="*/ 206375 w 1939311"/>
                    <a:gd name="connsiteY16" fmla="*/ 1259277 h 1916502"/>
                    <a:gd name="connsiteX17" fmla="*/ 171450 w 1939311"/>
                    <a:gd name="connsiteY17" fmla="*/ 1265627 h 1916502"/>
                    <a:gd name="connsiteX18" fmla="*/ 101600 w 1939311"/>
                    <a:gd name="connsiteY18" fmla="*/ 1294202 h 1916502"/>
                    <a:gd name="connsiteX19" fmla="*/ 95250 w 1939311"/>
                    <a:gd name="connsiteY19" fmla="*/ 1294202 h 1916502"/>
                    <a:gd name="connsiteX20" fmla="*/ 12700 w 1939311"/>
                    <a:gd name="connsiteY20" fmla="*/ 1313252 h 1916502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8431 w 1939311"/>
                    <a:gd name="connsiteY9" fmla="*/ 1043544 h 1916502"/>
                    <a:gd name="connsiteX10" fmla="*/ 755650 w 1939311"/>
                    <a:gd name="connsiteY10" fmla="*/ 1056077 h 1916502"/>
                    <a:gd name="connsiteX11" fmla="*/ 501650 w 1939311"/>
                    <a:gd name="connsiteY11" fmla="*/ 1157677 h 1916502"/>
                    <a:gd name="connsiteX12" fmla="*/ 438150 w 1939311"/>
                    <a:gd name="connsiteY12" fmla="*/ 1183077 h 1916502"/>
                    <a:gd name="connsiteX13" fmla="*/ 349250 w 1939311"/>
                    <a:gd name="connsiteY13" fmla="*/ 1218002 h 1916502"/>
                    <a:gd name="connsiteX14" fmla="*/ 282575 w 1939311"/>
                    <a:gd name="connsiteY14" fmla="*/ 1230702 h 1916502"/>
                    <a:gd name="connsiteX15" fmla="*/ 250825 w 1939311"/>
                    <a:gd name="connsiteY15" fmla="*/ 1240227 h 1916502"/>
                    <a:gd name="connsiteX16" fmla="*/ 206375 w 1939311"/>
                    <a:gd name="connsiteY16" fmla="*/ 1259277 h 1916502"/>
                    <a:gd name="connsiteX17" fmla="*/ 171450 w 1939311"/>
                    <a:gd name="connsiteY17" fmla="*/ 1265627 h 1916502"/>
                    <a:gd name="connsiteX18" fmla="*/ 101600 w 1939311"/>
                    <a:gd name="connsiteY18" fmla="*/ 1294202 h 1916502"/>
                    <a:gd name="connsiteX19" fmla="*/ 95250 w 1939311"/>
                    <a:gd name="connsiteY19" fmla="*/ 1294202 h 1916502"/>
                    <a:gd name="connsiteX20" fmla="*/ 12700 w 1939311"/>
                    <a:gd name="connsiteY20" fmla="*/ 1313252 h 1916502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01650 w 1939311"/>
                    <a:gd name="connsiteY11" fmla="*/ 1157677 h 1916502"/>
                    <a:gd name="connsiteX12" fmla="*/ 438150 w 1939311"/>
                    <a:gd name="connsiteY12" fmla="*/ 1183077 h 1916502"/>
                    <a:gd name="connsiteX13" fmla="*/ 349250 w 1939311"/>
                    <a:gd name="connsiteY13" fmla="*/ 1218002 h 1916502"/>
                    <a:gd name="connsiteX14" fmla="*/ 282575 w 1939311"/>
                    <a:gd name="connsiteY14" fmla="*/ 1230702 h 1916502"/>
                    <a:gd name="connsiteX15" fmla="*/ 250825 w 1939311"/>
                    <a:gd name="connsiteY15" fmla="*/ 1240227 h 1916502"/>
                    <a:gd name="connsiteX16" fmla="*/ 206375 w 1939311"/>
                    <a:gd name="connsiteY16" fmla="*/ 1259277 h 1916502"/>
                    <a:gd name="connsiteX17" fmla="*/ 171450 w 1939311"/>
                    <a:gd name="connsiteY17" fmla="*/ 1265627 h 1916502"/>
                    <a:gd name="connsiteX18" fmla="*/ 101600 w 1939311"/>
                    <a:gd name="connsiteY18" fmla="*/ 1294202 h 1916502"/>
                    <a:gd name="connsiteX19" fmla="*/ 95250 w 1939311"/>
                    <a:gd name="connsiteY19" fmla="*/ 1294202 h 1916502"/>
                    <a:gd name="connsiteX20" fmla="*/ 12700 w 1939311"/>
                    <a:gd name="connsiteY20" fmla="*/ 1313252 h 1916502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30921 w 1939311"/>
                    <a:gd name="connsiteY11" fmla="*/ 1218660 h 1916502"/>
                    <a:gd name="connsiteX12" fmla="*/ 438150 w 1939311"/>
                    <a:gd name="connsiteY12" fmla="*/ 1183077 h 1916502"/>
                    <a:gd name="connsiteX13" fmla="*/ 349250 w 1939311"/>
                    <a:gd name="connsiteY13" fmla="*/ 1218002 h 1916502"/>
                    <a:gd name="connsiteX14" fmla="*/ 282575 w 1939311"/>
                    <a:gd name="connsiteY14" fmla="*/ 1230702 h 1916502"/>
                    <a:gd name="connsiteX15" fmla="*/ 250825 w 1939311"/>
                    <a:gd name="connsiteY15" fmla="*/ 1240227 h 1916502"/>
                    <a:gd name="connsiteX16" fmla="*/ 206375 w 1939311"/>
                    <a:gd name="connsiteY16" fmla="*/ 1259277 h 1916502"/>
                    <a:gd name="connsiteX17" fmla="*/ 171450 w 1939311"/>
                    <a:gd name="connsiteY17" fmla="*/ 1265627 h 1916502"/>
                    <a:gd name="connsiteX18" fmla="*/ 101600 w 1939311"/>
                    <a:gd name="connsiteY18" fmla="*/ 1294202 h 1916502"/>
                    <a:gd name="connsiteX19" fmla="*/ 95250 w 1939311"/>
                    <a:gd name="connsiteY19" fmla="*/ 1294202 h 1916502"/>
                    <a:gd name="connsiteX20" fmla="*/ 12700 w 1939311"/>
                    <a:gd name="connsiteY20" fmla="*/ 1313252 h 1916502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30921 w 1939311"/>
                    <a:gd name="connsiteY11" fmla="*/ 1218660 h 1916502"/>
                    <a:gd name="connsiteX12" fmla="*/ 448603 w 1939311"/>
                    <a:gd name="connsiteY12" fmla="*/ 1249363 h 1916502"/>
                    <a:gd name="connsiteX13" fmla="*/ 349250 w 1939311"/>
                    <a:gd name="connsiteY13" fmla="*/ 1218002 h 1916502"/>
                    <a:gd name="connsiteX14" fmla="*/ 282575 w 1939311"/>
                    <a:gd name="connsiteY14" fmla="*/ 1230702 h 1916502"/>
                    <a:gd name="connsiteX15" fmla="*/ 250825 w 1939311"/>
                    <a:gd name="connsiteY15" fmla="*/ 1240227 h 1916502"/>
                    <a:gd name="connsiteX16" fmla="*/ 206375 w 1939311"/>
                    <a:gd name="connsiteY16" fmla="*/ 1259277 h 1916502"/>
                    <a:gd name="connsiteX17" fmla="*/ 171450 w 1939311"/>
                    <a:gd name="connsiteY17" fmla="*/ 1265627 h 1916502"/>
                    <a:gd name="connsiteX18" fmla="*/ 101600 w 1939311"/>
                    <a:gd name="connsiteY18" fmla="*/ 1294202 h 1916502"/>
                    <a:gd name="connsiteX19" fmla="*/ 95250 w 1939311"/>
                    <a:gd name="connsiteY19" fmla="*/ 1294202 h 1916502"/>
                    <a:gd name="connsiteX20" fmla="*/ 12700 w 1939311"/>
                    <a:gd name="connsiteY20" fmla="*/ 1313252 h 1916502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30921 w 1939311"/>
                    <a:gd name="connsiteY11" fmla="*/ 1218660 h 1916502"/>
                    <a:gd name="connsiteX12" fmla="*/ 448603 w 1939311"/>
                    <a:gd name="connsiteY12" fmla="*/ 1249363 h 1916502"/>
                    <a:gd name="connsiteX13" fmla="*/ 349250 w 1939311"/>
                    <a:gd name="connsiteY13" fmla="*/ 1218002 h 1916502"/>
                    <a:gd name="connsiteX14" fmla="*/ 250825 w 1939311"/>
                    <a:gd name="connsiteY14" fmla="*/ 1240227 h 1916502"/>
                    <a:gd name="connsiteX15" fmla="*/ 206375 w 1939311"/>
                    <a:gd name="connsiteY15" fmla="*/ 1259277 h 1916502"/>
                    <a:gd name="connsiteX16" fmla="*/ 171450 w 1939311"/>
                    <a:gd name="connsiteY16" fmla="*/ 1265627 h 1916502"/>
                    <a:gd name="connsiteX17" fmla="*/ 101600 w 1939311"/>
                    <a:gd name="connsiteY17" fmla="*/ 1294202 h 1916502"/>
                    <a:gd name="connsiteX18" fmla="*/ 95250 w 1939311"/>
                    <a:gd name="connsiteY18" fmla="*/ 1294202 h 1916502"/>
                    <a:gd name="connsiteX19" fmla="*/ 12700 w 1939311"/>
                    <a:gd name="connsiteY19" fmla="*/ 1313252 h 1916502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30921 w 1939311"/>
                    <a:gd name="connsiteY11" fmla="*/ 1218660 h 1916502"/>
                    <a:gd name="connsiteX12" fmla="*/ 448603 w 1939311"/>
                    <a:gd name="connsiteY12" fmla="*/ 1249363 h 1916502"/>
                    <a:gd name="connsiteX13" fmla="*/ 349250 w 1939311"/>
                    <a:gd name="connsiteY13" fmla="*/ 1218002 h 1916502"/>
                    <a:gd name="connsiteX14" fmla="*/ 206375 w 1939311"/>
                    <a:gd name="connsiteY14" fmla="*/ 1259277 h 1916502"/>
                    <a:gd name="connsiteX15" fmla="*/ 171450 w 1939311"/>
                    <a:gd name="connsiteY15" fmla="*/ 1265627 h 1916502"/>
                    <a:gd name="connsiteX16" fmla="*/ 101600 w 1939311"/>
                    <a:gd name="connsiteY16" fmla="*/ 1294202 h 1916502"/>
                    <a:gd name="connsiteX17" fmla="*/ 95250 w 1939311"/>
                    <a:gd name="connsiteY17" fmla="*/ 1294202 h 1916502"/>
                    <a:gd name="connsiteX18" fmla="*/ 12700 w 1939311"/>
                    <a:gd name="connsiteY18" fmla="*/ 1313252 h 1916502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30921 w 1939311"/>
                    <a:gd name="connsiteY11" fmla="*/ 1218660 h 1916502"/>
                    <a:gd name="connsiteX12" fmla="*/ 448603 w 1939311"/>
                    <a:gd name="connsiteY12" fmla="*/ 1249363 h 1916502"/>
                    <a:gd name="connsiteX13" fmla="*/ 334614 w 1939311"/>
                    <a:gd name="connsiteY13" fmla="*/ 1286939 h 1916502"/>
                    <a:gd name="connsiteX14" fmla="*/ 206375 w 1939311"/>
                    <a:gd name="connsiteY14" fmla="*/ 1259277 h 1916502"/>
                    <a:gd name="connsiteX15" fmla="*/ 171450 w 1939311"/>
                    <a:gd name="connsiteY15" fmla="*/ 1265627 h 1916502"/>
                    <a:gd name="connsiteX16" fmla="*/ 101600 w 1939311"/>
                    <a:gd name="connsiteY16" fmla="*/ 1294202 h 1916502"/>
                    <a:gd name="connsiteX17" fmla="*/ 95250 w 1939311"/>
                    <a:gd name="connsiteY17" fmla="*/ 1294202 h 1916502"/>
                    <a:gd name="connsiteX18" fmla="*/ 12700 w 1939311"/>
                    <a:gd name="connsiteY18" fmla="*/ 1313252 h 1916502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30921 w 1939311"/>
                    <a:gd name="connsiteY11" fmla="*/ 1218660 h 1916502"/>
                    <a:gd name="connsiteX12" fmla="*/ 448603 w 1939311"/>
                    <a:gd name="connsiteY12" fmla="*/ 1249363 h 1916502"/>
                    <a:gd name="connsiteX13" fmla="*/ 334614 w 1939311"/>
                    <a:gd name="connsiteY13" fmla="*/ 1286939 h 1916502"/>
                    <a:gd name="connsiteX14" fmla="*/ 206375 w 1939311"/>
                    <a:gd name="connsiteY14" fmla="*/ 1259277 h 1916502"/>
                    <a:gd name="connsiteX15" fmla="*/ 171450 w 1939311"/>
                    <a:gd name="connsiteY15" fmla="*/ 1337215 h 1916502"/>
                    <a:gd name="connsiteX16" fmla="*/ 101600 w 1939311"/>
                    <a:gd name="connsiteY16" fmla="*/ 1294202 h 1916502"/>
                    <a:gd name="connsiteX17" fmla="*/ 95250 w 1939311"/>
                    <a:gd name="connsiteY17" fmla="*/ 1294202 h 1916502"/>
                    <a:gd name="connsiteX18" fmla="*/ 12700 w 1939311"/>
                    <a:gd name="connsiteY18" fmla="*/ 1313252 h 1916502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30921 w 1939311"/>
                    <a:gd name="connsiteY11" fmla="*/ 1218660 h 1916502"/>
                    <a:gd name="connsiteX12" fmla="*/ 448603 w 1939311"/>
                    <a:gd name="connsiteY12" fmla="*/ 1249363 h 1916502"/>
                    <a:gd name="connsiteX13" fmla="*/ 334614 w 1939311"/>
                    <a:gd name="connsiteY13" fmla="*/ 1286939 h 1916502"/>
                    <a:gd name="connsiteX14" fmla="*/ 171450 w 1939311"/>
                    <a:gd name="connsiteY14" fmla="*/ 1337215 h 1916502"/>
                    <a:gd name="connsiteX15" fmla="*/ 101600 w 1939311"/>
                    <a:gd name="connsiteY15" fmla="*/ 1294202 h 1916502"/>
                    <a:gd name="connsiteX16" fmla="*/ 95250 w 1939311"/>
                    <a:gd name="connsiteY16" fmla="*/ 1294202 h 1916502"/>
                    <a:gd name="connsiteX17" fmla="*/ 12700 w 1939311"/>
                    <a:gd name="connsiteY17" fmla="*/ 1313252 h 1916502"/>
                    <a:gd name="connsiteX0" fmla="*/ 12700 w 1939311"/>
                    <a:gd name="connsiteY0" fmla="*/ 1313252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30921 w 1939311"/>
                    <a:gd name="connsiteY11" fmla="*/ 1218660 h 1916502"/>
                    <a:gd name="connsiteX12" fmla="*/ 448603 w 1939311"/>
                    <a:gd name="connsiteY12" fmla="*/ 1249363 h 1916502"/>
                    <a:gd name="connsiteX13" fmla="*/ 334614 w 1939311"/>
                    <a:gd name="connsiteY13" fmla="*/ 1286939 h 1916502"/>
                    <a:gd name="connsiteX14" fmla="*/ 171450 w 1939311"/>
                    <a:gd name="connsiteY14" fmla="*/ 1337215 h 1916502"/>
                    <a:gd name="connsiteX15" fmla="*/ 101600 w 1939311"/>
                    <a:gd name="connsiteY15" fmla="*/ 1294202 h 1916502"/>
                    <a:gd name="connsiteX16" fmla="*/ 95250 w 1939311"/>
                    <a:gd name="connsiteY16" fmla="*/ 1344579 h 1916502"/>
                    <a:gd name="connsiteX17" fmla="*/ 12700 w 1939311"/>
                    <a:gd name="connsiteY17" fmla="*/ 1313252 h 1916502"/>
                    <a:gd name="connsiteX0" fmla="*/ 10610 w 1939311"/>
                    <a:gd name="connsiteY0" fmla="*/ 1371584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30921 w 1939311"/>
                    <a:gd name="connsiteY11" fmla="*/ 1218660 h 1916502"/>
                    <a:gd name="connsiteX12" fmla="*/ 448603 w 1939311"/>
                    <a:gd name="connsiteY12" fmla="*/ 1249363 h 1916502"/>
                    <a:gd name="connsiteX13" fmla="*/ 334614 w 1939311"/>
                    <a:gd name="connsiteY13" fmla="*/ 1286939 h 1916502"/>
                    <a:gd name="connsiteX14" fmla="*/ 171450 w 1939311"/>
                    <a:gd name="connsiteY14" fmla="*/ 1337215 h 1916502"/>
                    <a:gd name="connsiteX15" fmla="*/ 101600 w 1939311"/>
                    <a:gd name="connsiteY15" fmla="*/ 1294202 h 1916502"/>
                    <a:gd name="connsiteX16" fmla="*/ 95250 w 1939311"/>
                    <a:gd name="connsiteY16" fmla="*/ 1344579 h 1916502"/>
                    <a:gd name="connsiteX17" fmla="*/ 10610 w 1939311"/>
                    <a:gd name="connsiteY17" fmla="*/ 1371584 h 1916502"/>
                    <a:gd name="connsiteX0" fmla="*/ 10610 w 1939311"/>
                    <a:gd name="connsiteY0" fmla="*/ 1371584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68400 w 1939311"/>
                    <a:gd name="connsiteY8" fmla="*/ 881452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30921 w 1939311"/>
                    <a:gd name="connsiteY11" fmla="*/ 1218660 h 1916502"/>
                    <a:gd name="connsiteX12" fmla="*/ 448603 w 1939311"/>
                    <a:gd name="connsiteY12" fmla="*/ 1249363 h 1916502"/>
                    <a:gd name="connsiteX13" fmla="*/ 334614 w 1939311"/>
                    <a:gd name="connsiteY13" fmla="*/ 1286939 h 1916502"/>
                    <a:gd name="connsiteX14" fmla="*/ 171450 w 1939311"/>
                    <a:gd name="connsiteY14" fmla="*/ 1337215 h 1916502"/>
                    <a:gd name="connsiteX15" fmla="*/ 95250 w 1939311"/>
                    <a:gd name="connsiteY15" fmla="*/ 1344579 h 1916502"/>
                    <a:gd name="connsiteX16" fmla="*/ 10610 w 1939311"/>
                    <a:gd name="connsiteY16" fmla="*/ 1371584 h 1916502"/>
                    <a:gd name="connsiteX0" fmla="*/ 10610 w 1939311"/>
                    <a:gd name="connsiteY0" fmla="*/ 1371584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524000 w 1939311"/>
                    <a:gd name="connsiteY6" fmla="*/ 633802 h 1916502"/>
                    <a:gd name="connsiteX7" fmla="*/ 1320800 w 1939311"/>
                    <a:gd name="connsiteY7" fmla="*/ 789377 h 1916502"/>
                    <a:gd name="connsiteX8" fmla="*/ 1178854 w 1939311"/>
                    <a:gd name="connsiteY8" fmla="*/ 923875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30921 w 1939311"/>
                    <a:gd name="connsiteY11" fmla="*/ 1218660 h 1916502"/>
                    <a:gd name="connsiteX12" fmla="*/ 448603 w 1939311"/>
                    <a:gd name="connsiteY12" fmla="*/ 1249363 h 1916502"/>
                    <a:gd name="connsiteX13" fmla="*/ 334614 w 1939311"/>
                    <a:gd name="connsiteY13" fmla="*/ 1286939 h 1916502"/>
                    <a:gd name="connsiteX14" fmla="*/ 171450 w 1939311"/>
                    <a:gd name="connsiteY14" fmla="*/ 1337215 h 1916502"/>
                    <a:gd name="connsiteX15" fmla="*/ 95250 w 1939311"/>
                    <a:gd name="connsiteY15" fmla="*/ 1344579 h 1916502"/>
                    <a:gd name="connsiteX16" fmla="*/ 10610 w 1939311"/>
                    <a:gd name="connsiteY16" fmla="*/ 1371584 h 1916502"/>
                    <a:gd name="connsiteX0" fmla="*/ 10610 w 1939311"/>
                    <a:gd name="connsiteY0" fmla="*/ 1371584 h 1916502"/>
                    <a:gd name="connsiteX1" fmla="*/ 0 w 1939311"/>
                    <a:gd name="connsiteY1" fmla="*/ 1916502 h 1916502"/>
                    <a:gd name="connsiteX2" fmla="*/ 1936750 w 1939311"/>
                    <a:gd name="connsiteY2" fmla="*/ 1910152 h 1916502"/>
                    <a:gd name="connsiteX3" fmla="*/ 1939150 w 1939311"/>
                    <a:gd name="connsiteY3" fmla="*/ 0 h 1916502"/>
                    <a:gd name="connsiteX4" fmla="*/ 1733322 w 1939311"/>
                    <a:gd name="connsiteY4" fmla="*/ 278361 h 1916502"/>
                    <a:gd name="connsiteX5" fmla="*/ 1597647 w 1939311"/>
                    <a:gd name="connsiteY5" fmla="*/ 448798 h 1916502"/>
                    <a:gd name="connsiteX6" fmla="*/ 1480095 w 1939311"/>
                    <a:gd name="connsiteY6" fmla="*/ 591379 h 1916502"/>
                    <a:gd name="connsiteX7" fmla="*/ 1320800 w 1939311"/>
                    <a:gd name="connsiteY7" fmla="*/ 789377 h 1916502"/>
                    <a:gd name="connsiteX8" fmla="*/ 1178854 w 1939311"/>
                    <a:gd name="connsiteY8" fmla="*/ 923875 h 1916502"/>
                    <a:gd name="connsiteX9" fmla="*/ 988431 w 1939311"/>
                    <a:gd name="connsiteY9" fmla="*/ 1043544 h 1916502"/>
                    <a:gd name="connsiteX10" fmla="*/ 774467 w 1939311"/>
                    <a:gd name="connsiteY10" fmla="*/ 1130317 h 1916502"/>
                    <a:gd name="connsiteX11" fmla="*/ 530921 w 1939311"/>
                    <a:gd name="connsiteY11" fmla="*/ 1218660 h 1916502"/>
                    <a:gd name="connsiteX12" fmla="*/ 448603 w 1939311"/>
                    <a:gd name="connsiteY12" fmla="*/ 1249363 h 1916502"/>
                    <a:gd name="connsiteX13" fmla="*/ 334614 w 1939311"/>
                    <a:gd name="connsiteY13" fmla="*/ 1286939 h 1916502"/>
                    <a:gd name="connsiteX14" fmla="*/ 171450 w 1939311"/>
                    <a:gd name="connsiteY14" fmla="*/ 1337215 h 1916502"/>
                    <a:gd name="connsiteX15" fmla="*/ 95250 w 1939311"/>
                    <a:gd name="connsiteY15" fmla="*/ 1344579 h 1916502"/>
                    <a:gd name="connsiteX16" fmla="*/ 10610 w 1939311"/>
                    <a:gd name="connsiteY16" fmla="*/ 1371584 h 1916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939311" h="1916502">
                      <a:moveTo>
                        <a:pt x="10610" y="1371584"/>
                      </a:moveTo>
                      <a:lnTo>
                        <a:pt x="0" y="1916502"/>
                      </a:lnTo>
                      <a:lnTo>
                        <a:pt x="1936750" y="1910152"/>
                      </a:lnTo>
                      <a:cubicBezTo>
                        <a:pt x="1935692" y="1362994"/>
                        <a:pt x="1940208" y="547158"/>
                        <a:pt x="1939150" y="0"/>
                      </a:cubicBezTo>
                      <a:lnTo>
                        <a:pt x="1733322" y="278361"/>
                      </a:lnTo>
                      <a:lnTo>
                        <a:pt x="1597647" y="448798"/>
                      </a:lnTo>
                      <a:lnTo>
                        <a:pt x="1480095" y="591379"/>
                      </a:lnTo>
                      <a:lnTo>
                        <a:pt x="1320800" y="789377"/>
                      </a:lnTo>
                      <a:lnTo>
                        <a:pt x="1178854" y="923875"/>
                      </a:lnTo>
                      <a:lnTo>
                        <a:pt x="988431" y="1043544"/>
                      </a:lnTo>
                      <a:lnTo>
                        <a:pt x="774467" y="1130317"/>
                      </a:lnTo>
                      <a:lnTo>
                        <a:pt x="530921" y="1218660"/>
                      </a:lnTo>
                      <a:lnTo>
                        <a:pt x="448603" y="1249363"/>
                      </a:lnTo>
                      <a:lnTo>
                        <a:pt x="334614" y="1286939"/>
                      </a:lnTo>
                      <a:lnTo>
                        <a:pt x="171450" y="1337215"/>
                      </a:lnTo>
                      <a:lnTo>
                        <a:pt x="95250" y="1344579"/>
                      </a:lnTo>
                      <a:lnTo>
                        <a:pt x="10610" y="1371584"/>
                      </a:lnTo>
                      <a:close/>
                    </a:path>
                  </a:pathLst>
                </a:custGeom>
                <a:gradFill>
                  <a:gsLst>
                    <a:gs pos="89000">
                      <a:srgbClr val="5DBA00">
                        <a:lumMod val="40000"/>
                        <a:lumOff val="60000"/>
                      </a:srgbClr>
                    </a:gs>
                    <a:gs pos="11000">
                      <a:srgbClr val="5DBA00">
                        <a:lumMod val="20000"/>
                        <a:lumOff val="80000"/>
                      </a:srgbClr>
                    </a:gs>
                  </a:gsLst>
                  <a:lin ang="0" scaled="1"/>
                </a:gra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" name="Freeform: Shape 107">
                  <a:extLst>
                    <a:ext uri="{FF2B5EF4-FFF2-40B4-BE49-F238E27FC236}">
                      <a16:creationId xmlns:a16="http://schemas.microsoft.com/office/drawing/2014/main" id="{7ED46826-8C6B-47D5-B5BF-BD68DF27CA95}"/>
                    </a:ext>
                  </a:extLst>
                </p:cNvPr>
                <p:cNvSpPr/>
                <p:nvPr/>
              </p:nvSpPr>
              <p:spPr>
                <a:xfrm>
                  <a:off x="3524405" y="4163075"/>
                  <a:ext cx="1996920" cy="961378"/>
                </a:xfrm>
                <a:custGeom>
                  <a:avLst/>
                  <a:gdLst>
                    <a:gd name="connsiteX0" fmla="*/ 0 w 1984375"/>
                    <a:gd name="connsiteY0" fmla="*/ 0 h 1397000"/>
                    <a:gd name="connsiteX1" fmla="*/ 0 w 1984375"/>
                    <a:gd name="connsiteY1" fmla="*/ 1393825 h 1397000"/>
                    <a:gd name="connsiteX2" fmla="*/ 1971675 w 1984375"/>
                    <a:gd name="connsiteY2" fmla="*/ 1397000 h 1397000"/>
                    <a:gd name="connsiteX3" fmla="*/ 1984375 w 1984375"/>
                    <a:gd name="connsiteY3" fmla="*/ 787400 h 1397000"/>
                    <a:gd name="connsiteX4" fmla="*/ 1657350 w 1984375"/>
                    <a:gd name="connsiteY4" fmla="*/ 892175 h 1397000"/>
                    <a:gd name="connsiteX5" fmla="*/ 1447800 w 1984375"/>
                    <a:gd name="connsiteY5" fmla="*/ 927100 h 1397000"/>
                    <a:gd name="connsiteX6" fmla="*/ 1276350 w 1984375"/>
                    <a:gd name="connsiteY6" fmla="*/ 958850 h 1397000"/>
                    <a:gd name="connsiteX7" fmla="*/ 1104900 w 1984375"/>
                    <a:gd name="connsiteY7" fmla="*/ 981075 h 1397000"/>
                    <a:gd name="connsiteX8" fmla="*/ 971550 w 1984375"/>
                    <a:gd name="connsiteY8" fmla="*/ 981075 h 1397000"/>
                    <a:gd name="connsiteX9" fmla="*/ 822325 w 1984375"/>
                    <a:gd name="connsiteY9" fmla="*/ 942975 h 1397000"/>
                    <a:gd name="connsiteX10" fmla="*/ 669925 w 1984375"/>
                    <a:gd name="connsiteY10" fmla="*/ 835025 h 1397000"/>
                    <a:gd name="connsiteX11" fmla="*/ 590550 w 1984375"/>
                    <a:gd name="connsiteY11" fmla="*/ 758825 h 1397000"/>
                    <a:gd name="connsiteX12" fmla="*/ 488950 w 1984375"/>
                    <a:gd name="connsiteY12" fmla="*/ 612775 h 1397000"/>
                    <a:gd name="connsiteX13" fmla="*/ 412750 w 1984375"/>
                    <a:gd name="connsiteY13" fmla="*/ 504825 h 1397000"/>
                    <a:gd name="connsiteX14" fmla="*/ 327025 w 1984375"/>
                    <a:gd name="connsiteY14" fmla="*/ 342900 h 1397000"/>
                    <a:gd name="connsiteX15" fmla="*/ 238125 w 1984375"/>
                    <a:gd name="connsiteY15" fmla="*/ 187325 h 1397000"/>
                    <a:gd name="connsiteX16" fmla="*/ 149225 w 1984375"/>
                    <a:gd name="connsiteY16" fmla="*/ 60325 h 1397000"/>
                    <a:gd name="connsiteX17" fmla="*/ 85725 w 1984375"/>
                    <a:gd name="connsiteY17" fmla="*/ 15875 h 1397000"/>
                    <a:gd name="connsiteX18" fmla="*/ 0 w 1984375"/>
                    <a:gd name="connsiteY18" fmla="*/ 0 h 1397000"/>
                    <a:gd name="connsiteX0" fmla="*/ 0 w 1996920"/>
                    <a:gd name="connsiteY0" fmla="*/ 419748 h 1381125"/>
                    <a:gd name="connsiteX1" fmla="*/ 12545 w 1996920"/>
                    <a:gd name="connsiteY1" fmla="*/ 1377950 h 1381125"/>
                    <a:gd name="connsiteX2" fmla="*/ 1984220 w 1996920"/>
                    <a:gd name="connsiteY2" fmla="*/ 1381125 h 1381125"/>
                    <a:gd name="connsiteX3" fmla="*/ 1996920 w 1996920"/>
                    <a:gd name="connsiteY3" fmla="*/ 771525 h 1381125"/>
                    <a:gd name="connsiteX4" fmla="*/ 1669895 w 1996920"/>
                    <a:gd name="connsiteY4" fmla="*/ 876300 h 1381125"/>
                    <a:gd name="connsiteX5" fmla="*/ 1460345 w 1996920"/>
                    <a:gd name="connsiteY5" fmla="*/ 911225 h 1381125"/>
                    <a:gd name="connsiteX6" fmla="*/ 1288895 w 1996920"/>
                    <a:gd name="connsiteY6" fmla="*/ 942975 h 1381125"/>
                    <a:gd name="connsiteX7" fmla="*/ 1117445 w 1996920"/>
                    <a:gd name="connsiteY7" fmla="*/ 965200 h 1381125"/>
                    <a:gd name="connsiteX8" fmla="*/ 984095 w 1996920"/>
                    <a:gd name="connsiteY8" fmla="*/ 965200 h 1381125"/>
                    <a:gd name="connsiteX9" fmla="*/ 834870 w 1996920"/>
                    <a:gd name="connsiteY9" fmla="*/ 927100 h 1381125"/>
                    <a:gd name="connsiteX10" fmla="*/ 682470 w 1996920"/>
                    <a:gd name="connsiteY10" fmla="*/ 819150 h 1381125"/>
                    <a:gd name="connsiteX11" fmla="*/ 603095 w 1996920"/>
                    <a:gd name="connsiteY11" fmla="*/ 742950 h 1381125"/>
                    <a:gd name="connsiteX12" fmla="*/ 501495 w 1996920"/>
                    <a:gd name="connsiteY12" fmla="*/ 596900 h 1381125"/>
                    <a:gd name="connsiteX13" fmla="*/ 425295 w 1996920"/>
                    <a:gd name="connsiteY13" fmla="*/ 488950 h 1381125"/>
                    <a:gd name="connsiteX14" fmla="*/ 339570 w 1996920"/>
                    <a:gd name="connsiteY14" fmla="*/ 327025 h 1381125"/>
                    <a:gd name="connsiteX15" fmla="*/ 250670 w 1996920"/>
                    <a:gd name="connsiteY15" fmla="*/ 171450 h 1381125"/>
                    <a:gd name="connsiteX16" fmla="*/ 161770 w 1996920"/>
                    <a:gd name="connsiteY16" fmla="*/ 44450 h 1381125"/>
                    <a:gd name="connsiteX17" fmla="*/ 98270 w 1996920"/>
                    <a:gd name="connsiteY17" fmla="*/ 0 h 1381125"/>
                    <a:gd name="connsiteX18" fmla="*/ 0 w 1996920"/>
                    <a:gd name="connsiteY18" fmla="*/ 419748 h 1381125"/>
                    <a:gd name="connsiteX0" fmla="*/ 0 w 1996920"/>
                    <a:gd name="connsiteY0" fmla="*/ 375298 h 1336675"/>
                    <a:gd name="connsiteX1" fmla="*/ 12545 w 1996920"/>
                    <a:gd name="connsiteY1" fmla="*/ 1333500 h 1336675"/>
                    <a:gd name="connsiteX2" fmla="*/ 1984220 w 1996920"/>
                    <a:gd name="connsiteY2" fmla="*/ 1336675 h 1336675"/>
                    <a:gd name="connsiteX3" fmla="*/ 1996920 w 1996920"/>
                    <a:gd name="connsiteY3" fmla="*/ 727075 h 1336675"/>
                    <a:gd name="connsiteX4" fmla="*/ 1669895 w 1996920"/>
                    <a:gd name="connsiteY4" fmla="*/ 831850 h 1336675"/>
                    <a:gd name="connsiteX5" fmla="*/ 1460345 w 1996920"/>
                    <a:gd name="connsiteY5" fmla="*/ 866775 h 1336675"/>
                    <a:gd name="connsiteX6" fmla="*/ 1288895 w 1996920"/>
                    <a:gd name="connsiteY6" fmla="*/ 898525 h 1336675"/>
                    <a:gd name="connsiteX7" fmla="*/ 1117445 w 1996920"/>
                    <a:gd name="connsiteY7" fmla="*/ 920750 h 1336675"/>
                    <a:gd name="connsiteX8" fmla="*/ 984095 w 1996920"/>
                    <a:gd name="connsiteY8" fmla="*/ 920750 h 1336675"/>
                    <a:gd name="connsiteX9" fmla="*/ 834870 w 1996920"/>
                    <a:gd name="connsiteY9" fmla="*/ 882650 h 1336675"/>
                    <a:gd name="connsiteX10" fmla="*/ 682470 w 1996920"/>
                    <a:gd name="connsiteY10" fmla="*/ 774700 h 1336675"/>
                    <a:gd name="connsiteX11" fmla="*/ 603095 w 1996920"/>
                    <a:gd name="connsiteY11" fmla="*/ 698500 h 1336675"/>
                    <a:gd name="connsiteX12" fmla="*/ 501495 w 1996920"/>
                    <a:gd name="connsiteY12" fmla="*/ 552450 h 1336675"/>
                    <a:gd name="connsiteX13" fmla="*/ 425295 w 1996920"/>
                    <a:gd name="connsiteY13" fmla="*/ 444500 h 1336675"/>
                    <a:gd name="connsiteX14" fmla="*/ 339570 w 1996920"/>
                    <a:gd name="connsiteY14" fmla="*/ 282575 h 1336675"/>
                    <a:gd name="connsiteX15" fmla="*/ 250670 w 1996920"/>
                    <a:gd name="connsiteY15" fmla="*/ 127000 h 1336675"/>
                    <a:gd name="connsiteX16" fmla="*/ 161770 w 1996920"/>
                    <a:gd name="connsiteY16" fmla="*/ 0 h 1336675"/>
                    <a:gd name="connsiteX17" fmla="*/ 106633 w 1996920"/>
                    <a:gd name="connsiteY17" fmla="*/ 425116 h 1336675"/>
                    <a:gd name="connsiteX18" fmla="*/ 0 w 1996920"/>
                    <a:gd name="connsiteY18" fmla="*/ 375298 h 1336675"/>
                    <a:gd name="connsiteX0" fmla="*/ 0 w 1996920"/>
                    <a:gd name="connsiteY0" fmla="*/ 248298 h 1209675"/>
                    <a:gd name="connsiteX1" fmla="*/ 12545 w 1996920"/>
                    <a:gd name="connsiteY1" fmla="*/ 1206500 h 1209675"/>
                    <a:gd name="connsiteX2" fmla="*/ 1984220 w 1996920"/>
                    <a:gd name="connsiteY2" fmla="*/ 1209675 h 1209675"/>
                    <a:gd name="connsiteX3" fmla="*/ 1996920 w 1996920"/>
                    <a:gd name="connsiteY3" fmla="*/ 600075 h 1209675"/>
                    <a:gd name="connsiteX4" fmla="*/ 1669895 w 1996920"/>
                    <a:gd name="connsiteY4" fmla="*/ 704850 h 1209675"/>
                    <a:gd name="connsiteX5" fmla="*/ 1460345 w 1996920"/>
                    <a:gd name="connsiteY5" fmla="*/ 739775 h 1209675"/>
                    <a:gd name="connsiteX6" fmla="*/ 1288895 w 1996920"/>
                    <a:gd name="connsiteY6" fmla="*/ 771525 h 1209675"/>
                    <a:gd name="connsiteX7" fmla="*/ 1117445 w 1996920"/>
                    <a:gd name="connsiteY7" fmla="*/ 793750 h 1209675"/>
                    <a:gd name="connsiteX8" fmla="*/ 984095 w 1996920"/>
                    <a:gd name="connsiteY8" fmla="*/ 793750 h 1209675"/>
                    <a:gd name="connsiteX9" fmla="*/ 834870 w 1996920"/>
                    <a:gd name="connsiteY9" fmla="*/ 755650 h 1209675"/>
                    <a:gd name="connsiteX10" fmla="*/ 682470 w 1996920"/>
                    <a:gd name="connsiteY10" fmla="*/ 647700 h 1209675"/>
                    <a:gd name="connsiteX11" fmla="*/ 603095 w 1996920"/>
                    <a:gd name="connsiteY11" fmla="*/ 571500 h 1209675"/>
                    <a:gd name="connsiteX12" fmla="*/ 501495 w 1996920"/>
                    <a:gd name="connsiteY12" fmla="*/ 425450 h 1209675"/>
                    <a:gd name="connsiteX13" fmla="*/ 425295 w 1996920"/>
                    <a:gd name="connsiteY13" fmla="*/ 317500 h 1209675"/>
                    <a:gd name="connsiteX14" fmla="*/ 339570 w 1996920"/>
                    <a:gd name="connsiteY14" fmla="*/ 155575 h 1209675"/>
                    <a:gd name="connsiteX15" fmla="*/ 250670 w 1996920"/>
                    <a:gd name="connsiteY15" fmla="*/ 0 h 1209675"/>
                    <a:gd name="connsiteX16" fmla="*/ 228673 w 1996920"/>
                    <a:gd name="connsiteY16" fmla="*/ 410456 h 1209675"/>
                    <a:gd name="connsiteX17" fmla="*/ 106633 w 1996920"/>
                    <a:gd name="connsiteY17" fmla="*/ 298116 h 1209675"/>
                    <a:gd name="connsiteX18" fmla="*/ 0 w 1996920"/>
                    <a:gd name="connsiteY18" fmla="*/ 248298 h 1209675"/>
                    <a:gd name="connsiteX0" fmla="*/ 0 w 1996920"/>
                    <a:gd name="connsiteY0" fmla="*/ 92723 h 1054100"/>
                    <a:gd name="connsiteX1" fmla="*/ 12545 w 1996920"/>
                    <a:gd name="connsiteY1" fmla="*/ 1050925 h 1054100"/>
                    <a:gd name="connsiteX2" fmla="*/ 1984220 w 1996920"/>
                    <a:gd name="connsiteY2" fmla="*/ 1054100 h 1054100"/>
                    <a:gd name="connsiteX3" fmla="*/ 1996920 w 1996920"/>
                    <a:gd name="connsiteY3" fmla="*/ 444500 h 1054100"/>
                    <a:gd name="connsiteX4" fmla="*/ 1669895 w 1996920"/>
                    <a:gd name="connsiteY4" fmla="*/ 549275 h 1054100"/>
                    <a:gd name="connsiteX5" fmla="*/ 1460345 w 1996920"/>
                    <a:gd name="connsiteY5" fmla="*/ 584200 h 1054100"/>
                    <a:gd name="connsiteX6" fmla="*/ 1288895 w 1996920"/>
                    <a:gd name="connsiteY6" fmla="*/ 615950 h 1054100"/>
                    <a:gd name="connsiteX7" fmla="*/ 1117445 w 1996920"/>
                    <a:gd name="connsiteY7" fmla="*/ 638175 h 1054100"/>
                    <a:gd name="connsiteX8" fmla="*/ 984095 w 1996920"/>
                    <a:gd name="connsiteY8" fmla="*/ 638175 h 1054100"/>
                    <a:gd name="connsiteX9" fmla="*/ 834870 w 1996920"/>
                    <a:gd name="connsiteY9" fmla="*/ 600075 h 1054100"/>
                    <a:gd name="connsiteX10" fmla="*/ 682470 w 1996920"/>
                    <a:gd name="connsiteY10" fmla="*/ 492125 h 1054100"/>
                    <a:gd name="connsiteX11" fmla="*/ 603095 w 1996920"/>
                    <a:gd name="connsiteY11" fmla="*/ 415925 h 1054100"/>
                    <a:gd name="connsiteX12" fmla="*/ 501495 w 1996920"/>
                    <a:gd name="connsiteY12" fmla="*/ 269875 h 1054100"/>
                    <a:gd name="connsiteX13" fmla="*/ 425295 w 1996920"/>
                    <a:gd name="connsiteY13" fmla="*/ 161925 h 1054100"/>
                    <a:gd name="connsiteX14" fmla="*/ 339570 w 1996920"/>
                    <a:gd name="connsiteY14" fmla="*/ 0 h 1054100"/>
                    <a:gd name="connsiteX15" fmla="*/ 355206 w 1996920"/>
                    <a:gd name="connsiteY15" fmla="*/ 359252 h 1054100"/>
                    <a:gd name="connsiteX16" fmla="*/ 228673 w 1996920"/>
                    <a:gd name="connsiteY16" fmla="*/ 254881 h 1054100"/>
                    <a:gd name="connsiteX17" fmla="*/ 106633 w 1996920"/>
                    <a:gd name="connsiteY17" fmla="*/ 142541 h 1054100"/>
                    <a:gd name="connsiteX18" fmla="*/ 0 w 1996920"/>
                    <a:gd name="connsiteY18" fmla="*/ 92723 h 1054100"/>
                    <a:gd name="connsiteX0" fmla="*/ 0 w 1996920"/>
                    <a:gd name="connsiteY0" fmla="*/ 0 h 961377"/>
                    <a:gd name="connsiteX1" fmla="*/ 12545 w 1996920"/>
                    <a:gd name="connsiteY1" fmla="*/ 958202 h 961377"/>
                    <a:gd name="connsiteX2" fmla="*/ 1984220 w 1996920"/>
                    <a:gd name="connsiteY2" fmla="*/ 961377 h 961377"/>
                    <a:gd name="connsiteX3" fmla="*/ 1996920 w 1996920"/>
                    <a:gd name="connsiteY3" fmla="*/ 351777 h 961377"/>
                    <a:gd name="connsiteX4" fmla="*/ 1669895 w 1996920"/>
                    <a:gd name="connsiteY4" fmla="*/ 456552 h 961377"/>
                    <a:gd name="connsiteX5" fmla="*/ 1460345 w 1996920"/>
                    <a:gd name="connsiteY5" fmla="*/ 491477 h 961377"/>
                    <a:gd name="connsiteX6" fmla="*/ 1288895 w 1996920"/>
                    <a:gd name="connsiteY6" fmla="*/ 523227 h 961377"/>
                    <a:gd name="connsiteX7" fmla="*/ 1117445 w 1996920"/>
                    <a:gd name="connsiteY7" fmla="*/ 545452 h 961377"/>
                    <a:gd name="connsiteX8" fmla="*/ 984095 w 1996920"/>
                    <a:gd name="connsiteY8" fmla="*/ 545452 h 961377"/>
                    <a:gd name="connsiteX9" fmla="*/ 834870 w 1996920"/>
                    <a:gd name="connsiteY9" fmla="*/ 507352 h 961377"/>
                    <a:gd name="connsiteX10" fmla="*/ 682470 w 1996920"/>
                    <a:gd name="connsiteY10" fmla="*/ 399402 h 961377"/>
                    <a:gd name="connsiteX11" fmla="*/ 603095 w 1996920"/>
                    <a:gd name="connsiteY11" fmla="*/ 323202 h 961377"/>
                    <a:gd name="connsiteX12" fmla="*/ 501495 w 1996920"/>
                    <a:gd name="connsiteY12" fmla="*/ 177152 h 961377"/>
                    <a:gd name="connsiteX13" fmla="*/ 425295 w 1996920"/>
                    <a:gd name="connsiteY13" fmla="*/ 69202 h 961377"/>
                    <a:gd name="connsiteX14" fmla="*/ 469194 w 1996920"/>
                    <a:gd name="connsiteY14" fmla="*/ 342899 h 961377"/>
                    <a:gd name="connsiteX15" fmla="*/ 355206 w 1996920"/>
                    <a:gd name="connsiteY15" fmla="*/ 266529 h 961377"/>
                    <a:gd name="connsiteX16" fmla="*/ 228673 w 1996920"/>
                    <a:gd name="connsiteY16" fmla="*/ 162158 h 961377"/>
                    <a:gd name="connsiteX17" fmla="*/ 106633 w 1996920"/>
                    <a:gd name="connsiteY17" fmla="*/ 49818 h 961377"/>
                    <a:gd name="connsiteX18" fmla="*/ 0 w 1996920"/>
                    <a:gd name="connsiteY18" fmla="*/ 0 h 961377"/>
                    <a:gd name="connsiteX0" fmla="*/ 0 w 1996920"/>
                    <a:gd name="connsiteY0" fmla="*/ 0 h 961377"/>
                    <a:gd name="connsiteX1" fmla="*/ 12545 w 1996920"/>
                    <a:gd name="connsiteY1" fmla="*/ 958202 h 961377"/>
                    <a:gd name="connsiteX2" fmla="*/ 1984220 w 1996920"/>
                    <a:gd name="connsiteY2" fmla="*/ 961377 h 961377"/>
                    <a:gd name="connsiteX3" fmla="*/ 1996920 w 1996920"/>
                    <a:gd name="connsiteY3" fmla="*/ 351777 h 961377"/>
                    <a:gd name="connsiteX4" fmla="*/ 1669895 w 1996920"/>
                    <a:gd name="connsiteY4" fmla="*/ 456552 h 961377"/>
                    <a:gd name="connsiteX5" fmla="*/ 1460345 w 1996920"/>
                    <a:gd name="connsiteY5" fmla="*/ 491477 h 961377"/>
                    <a:gd name="connsiteX6" fmla="*/ 1288895 w 1996920"/>
                    <a:gd name="connsiteY6" fmla="*/ 523227 h 961377"/>
                    <a:gd name="connsiteX7" fmla="*/ 1117445 w 1996920"/>
                    <a:gd name="connsiteY7" fmla="*/ 545452 h 961377"/>
                    <a:gd name="connsiteX8" fmla="*/ 984095 w 1996920"/>
                    <a:gd name="connsiteY8" fmla="*/ 545452 h 961377"/>
                    <a:gd name="connsiteX9" fmla="*/ 834870 w 1996920"/>
                    <a:gd name="connsiteY9" fmla="*/ 507352 h 961377"/>
                    <a:gd name="connsiteX10" fmla="*/ 682470 w 1996920"/>
                    <a:gd name="connsiteY10" fmla="*/ 399402 h 961377"/>
                    <a:gd name="connsiteX11" fmla="*/ 603095 w 1996920"/>
                    <a:gd name="connsiteY11" fmla="*/ 323202 h 961377"/>
                    <a:gd name="connsiteX12" fmla="*/ 501495 w 1996920"/>
                    <a:gd name="connsiteY12" fmla="*/ 177152 h 961377"/>
                    <a:gd name="connsiteX13" fmla="*/ 605098 w 1996920"/>
                    <a:gd name="connsiteY13" fmla="*/ 465222 h 961377"/>
                    <a:gd name="connsiteX14" fmla="*/ 469194 w 1996920"/>
                    <a:gd name="connsiteY14" fmla="*/ 342899 h 961377"/>
                    <a:gd name="connsiteX15" fmla="*/ 355206 w 1996920"/>
                    <a:gd name="connsiteY15" fmla="*/ 266529 h 961377"/>
                    <a:gd name="connsiteX16" fmla="*/ 228673 w 1996920"/>
                    <a:gd name="connsiteY16" fmla="*/ 162158 h 961377"/>
                    <a:gd name="connsiteX17" fmla="*/ 106633 w 1996920"/>
                    <a:gd name="connsiteY17" fmla="*/ 49818 h 961377"/>
                    <a:gd name="connsiteX18" fmla="*/ 0 w 1996920"/>
                    <a:gd name="connsiteY18" fmla="*/ 0 h 961377"/>
                    <a:gd name="connsiteX0" fmla="*/ 0 w 1996920"/>
                    <a:gd name="connsiteY0" fmla="*/ 0 h 961377"/>
                    <a:gd name="connsiteX1" fmla="*/ 12545 w 1996920"/>
                    <a:gd name="connsiteY1" fmla="*/ 958202 h 961377"/>
                    <a:gd name="connsiteX2" fmla="*/ 1984220 w 1996920"/>
                    <a:gd name="connsiteY2" fmla="*/ 961377 h 961377"/>
                    <a:gd name="connsiteX3" fmla="*/ 1996920 w 1996920"/>
                    <a:gd name="connsiteY3" fmla="*/ 351777 h 961377"/>
                    <a:gd name="connsiteX4" fmla="*/ 1669895 w 1996920"/>
                    <a:gd name="connsiteY4" fmla="*/ 456552 h 961377"/>
                    <a:gd name="connsiteX5" fmla="*/ 1460345 w 1996920"/>
                    <a:gd name="connsiteY5" fmla="*/ 491477 h 961377"/>
                    <a:gd name="connsiteX6" fmla="*/ 1288895 w 1996920"/>
                    <a:gd name="connsiteY6" fmla="*/ 523227 h 961377"/>
                    <a:gd name="connsiteX7" fmla="*/ 1117445 w 1996920"/>
                    <a:gd name="connsiteY7" fmla="*/ 545452 h 961377"/>
                    <a:gd name="connsiteX8" fmla="*/ 984095 w 1996920"/>
                    <a:gd name="connsiteY8" fmla="*/ 545452 h 961377"/>
                    <a:gd name="connsiteX9" fmla="*/ 834870 w 1996920"/>
                    <a:gd name="connsiteY9" fmla="*/ 507352 h 961377"/>
                    <a:gd name="connsiteX10" fmla="*/ 682470 w 1996920"/>
                    <a:gd name="connsiteY10" fmla="*/ 399402 h 961377"/>
                    <a:gd name="connsiteX11" fmla="*/ 603095 w 1996920"/>
                    <a:gd name="connsiteY11" fmla="*/ 323202 h 961377"/>
                    <a:gd name="connsiteX12" fmla="*/ 710567 w 1996920"/>
                    <a:gd name="connsiteY12" fmla="*/ 493968 h 961377"/>
                    <a:gd name="connsiteX13" fmla="*/ 605098 w 1996920"/>
                    <a:gd name="connsiteY13" fmla="*/ 465222 h 961377"/>
                    <a:gd name="connsiteX14" fmla="*/ 469194 w 1996920"/>
                    <a:gd name="connsiteY14" fmla="*/ 342899 h 961377"/>
                    <a:gd name="connsiteX15" fmla="*/ 355206 w 1996920"/>
                    <a:gd name="connsiteY15" fmla="*/ 266529 h 961377"/>
                    <a:gd name="connsiteX16" fmla="*/ 228673 w 1996920"/>
                    <a:gd name="connsiteY16" fmla="*/ 162158 h 961377"/>
                    <a:gd name="connsiteX17" fmla="*/ 106633 w 1996920"/>
                    <a:gd name="connsiteY17" fmla="*/ 49818 h 961377"/>
                    <a:gd name="connsiteX18" fmla="*/ 0 w 1996920"/>
                    <a:gd name="connsiteY18" fmla="*/ 0 h 961377"/>
                    <a:gd name="connsiteX0" fmla="*/ 0 w 1996920"/>
                    <a:gd name="connsiteY0" fmla="*/ 0 h 961377"/>
                    <a:gd name="connsiteX1" fmla="*/ 12545 w 1996920"/>
                    <a:gd name="connsiteY1" fmla="*/ 958202 h 961377"/>
                    <a:gd name="connsiteX2" fmla="*/ 1984220 w 1996920"/>
                    <a:gd name="connsiteY2" fmla="*/ 961377 h 961377"/>
                    <a:gd name="connsiteX3" fmla="*/ 1996920 w 1996920"/>
                    <a:gd name="connsiteY3" fmla="*/ 351777 h 961377"/>
                    <a:gd name="connsiteX4" fmla="*/ 1669895 w 1996920"/>
                    <a:gd name="connsiteY4" fmla="*/ 456552 h 961377"/>
                    <a:gd name="connsiteX5" fmla="*/ 1460345 w 1996920"/>
                    <a:gd name="connsiteY5" fmla="*/ 491477 h 961377"/>
                    <a:gd name="connsiteX6" fmla="*/ 1288895 w 1996920"/>
                    <a:gd name="connsiteY6" fmla="*/ 523227 h 961377"/>
                    <a:gd name="connsiteX7" fmla="*/ 1117445 w 1996920"/>
                    <a:gd name="connsiteY7" fmla="*/ 545452 h 961377"/>
                    <a:gd name="connsiteX8" fmla="*/ 984095 w 1996920"/>
                    <a:gd name="connsiteY8" fmla="*/ 545452 h 961377"/>
                    <a:gd name="connsiteX9" fmla="*/ 834870 w 1996920"/>
                    <a:gd name="connsiteY9" fmla="*/ 507352 h 961377"/>
                    <a:gd name="connsiteX10" fmla="*/ 682470 w 1996920"/>
                    <a:gd name="connsiteY10" fmla="*/ 399402 h 961377"/>
                    <a:gd name="connsiteX11" fmla="*/ 710567 w 1996920"/>
                    <a:gd name="connsiteY11" fmla="*/ 493968 h 961377"/>
                    <a:gd name="connsiteX12" fmla="*/ 605098 w 1996920"/>
                    <a:gd name="connsiteY12" fmla="*/ 465222 h 961377"/>
                    <a:gd name="connsiteX13" fmla="*/ 469194 w 1996920"/>
                    <a:gd name="connsiteY13" fmla="*/ 342899 h 961377"/>
                    <a:gd name="connsiteX14" fmla="*/ 355206 w 1996920"/>
                    <a:gd name="connsiteY14" fmla="*/ 266529 h 961377"/>
                    <a:gd name="connsiteX15" fmla="*/ 228673 w 1996920"/>
                    <a:gd name="connsiteY15" fmla="*/ 162158 h 961377"/>
                    <a:gd name="connsiteX16" fmla="*/ 106633 w 1996920"/>
                    <a:gd name="connsiteY16" fmla="*/ 49818 h 961377"/>
                    <a:gd name="connsiteX17" fmla="*/ 0 w 1996920"/>
                    <a:gd name="connsiteY17" fmla="*/ 0 h 961377"/>
                    <a:gd name="connsiteX0" fmla="*/ 0 w 1996920"/>
                    <a:gd name="connsiteY0" fmla="*/ 0 h 961377"/>
                    <a:gd name="connsiteX1" fmla="*/ 12545 w 1996920"/>
                    <a:gd name="connsiteY1" fmla="*/ 958202 h 961377"/>
                    <a:gd name="connsiteX2" fmla="*/ 1984220 w 1996920"/>
                    <a:gd name="connsiteY2" fmla="*/ 961377 h 961377"/>
                    <a:gd name="connsiteX3" fmla="*/ 1996920 w 1996920"/>
                    <a:gd name="connsiteY3" fmla="*/ 351777 h 961377"/>
                    <a:gd name="connsiteX4" fmla="*/ 1669895 w 1996920"/>
                    <a:gd name="connsiteY4" fmla="*/ 456552 h 961377"/>
                    <a:gd name="connsiteX5" fmla="*/ 1460345 w 1996920"/>
                    <a:gd name="connsiteY5" fmla="*/ 491477 h 961377"/>
                    <a:gd name="connsiteX6" fmla="*/ 1288895 w 1996920"/>
                    <a:gd name="connsiteY6" fmla="*/ 523227 h 961377"/>
                    <a:gd name="connsiteX7" fmla="*/ 1117445 w 1996920"/>
                    <a:gd name="connsiteY7" fmla="*/ 545452 h 961377"/>
                    <a:gd name="connsiteX8" fmla="*/ 984095 w 1996920"/>
                    <a:gd name="connsiteY8" fmla="*/ 545452 h 961377"/>
                    <a:gd name="connsiteX9" fmla="*/ 834870 w 1996920"/>
                    <a:gd name="connsiteY9" fmla="*/ 507352 h 961377"/>
                    <a:gd name="connsiteX10" fmla="*/ 770280 w 1996920"/>
                    <a:gd name="connsiteY10" fmla="*/ 518208 h 961377"/>
                    <a:gd name="connsiteX11" fmla="*/ 710567 w 1996920"/>
                    <a:gd name="connsiteY11" fmla="*/ 493968 h 961377"/>
                    <a:gd name="connsiteX12" fmla="*/ 605098 w 1996920"/>
                    <a:gd name="connsiteY12" fmla="*/ 465222 h 961377"/>
                    <a:gd name="connsiteX13" fmla="*/ 469194 w 1996920"/>
                    <a:gd name="connsiteY13" fmla="*/ 342899 h 961377"/>
                    <a:gd name="connsiteX14" fmla="*/ 355206 w 1996920"/>
                    <a:gd name="connsiteY14" fmla="*/ 266529 h 961377"/>
                    <a:gd name="connsiteX15" fmla="*/ 228673 w 1996920"/>
                    <a:gd name="connsiteY15" fmla="*/ 162158 h 961377"/>
                    <a:gd name="connsiteX16" fmla="*/ 106633 w 1996920"/>
                    <a:gd name="connsiteY16" fmla="*/ 49818 h 961377"/>
                    <a:gd name="connsiteX17" fmla="*/ 0 w 1996920"/>
                    <a:gd name="connsiteY17" fmla="*/ 0 h 961377"/>
                    <a:gd name="connsiteX0" fmla="*/ 0 w 1996920"/>
                    <a:gd name="connsiteY0" fmla="*/ 0 h 961377"/>
                    <a:gd name="connsiteX1" fmla="*/ 12545 w 1996920"/>
                    <a:gd name="connsiteY1" fmla="*/ 958202 h 961377"/>
                    <a:gd name="connsiteX2" fmla="*/ 1984220 w 1996920"/>
                    <a:gd name="connsiteY2" fmla="*/ 961377 h 961377"/>
                    <a:gd name="connsiteX3" fmla="*/ 1996920 w 1996920"/>
                    <a:gd name="connsiteY3" fmla="*/ 351777 h 961377"/>
                    <a:gd name="connsiteX4" fmla="*/ 1669895 w 1996920"/>
                    <a:gd name="connsiteY4" fmla="*/ 456552 h 961377"/>
                    <a:gd name="connsiteX5" fmla="*/ 1460345 w 1996920"/>
                    <a:gd name="connsiteY5" fmla="*/ 491477 h 961377"/>
                    <a:gd name="connsiteX6" fmla="*/ 1288895 w 1996920"/>
                    <a:gd name="connsiteY6" fmla="*/ 523227 h 961377"/>
                    <a:gd name="connsiteX7" fmla="*/ 1117445 w 1996920"/>
                    <a:gd name="connsiteY7" fmla="*/ 545452 h 961377"/>
                    <a:gd name="connsiteX8" fmla="*/ 984095 w 1996920"/>
                    <a:gd name="connsiteY8" fmla="*/ 545452 h 961377"/>
                    <a:gd name="connsiteX9" fmla="*/ 843233 w 1996920"/>
                    <a:gd name="connsiteY9" fmla="*/ 524324 h 961377"/>
                    <a:gd name="connsiteX10" fmla="*/ 770280 w 1996920"/>
                    <a:gd name="connsiteY10" fmla="*/ 518208 h 961377"/>
                    <a:gd name="connsiteX11" fmla="*/ 710567 w 1996920"/>
                    <a:gd name="connsiteY11" fmla="*/ 493968 h 961377"/>
                    <a:gd name="connsiteX12" fmla="*/ 605098 w 1996920"/>
                    <a:gd name="connsiteY12" fmla="*/ 465222 h 961377"/>
                    <a:gd name="connsiteX13" fmla="*/ 469194 w 1996920"/>
                    <a:gd name="connsiteY13" fmla="*/ 342899 h 961377"/>
                    <a:gd name="connsiteX14" fmla="*/ 355206 w 1996920"/>
                    <a:gd name="connsiteY14" fmla="*/ 266529 h 961377"/>
                    <a:gd name="connsiteX15" fmla="*/ 228673 w 1996920"/>
                    <a:gd name="connsiteY15" fmla="*/ 162158 h 961377"/>
                    <a:gd name="connsiteX16" fmla="*/ 106633 w 1996920"/>
                    <a:gd name="connsiteY16" fmla="*/ 49818 h 961377"/>
                    <a:gd name="connsiteX17" fmla="*/ 0 w 1996920"/>
                    <a:gd name="connsiteY17" fmla="*/ 0 h 9613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996920" h="961377">
                      <a:moveTo>
                        <a:pt x="0" y="0"/>
                      </a:moveTo>
                      <a:lnTo>
                        <a:pt x="12545" y="958202"/>
                      </a:lnTo>
                      <a:lnTo>
                        <a:pt x="1984220" y="961377"/>
                      </a:lnTo>
                      <a:lnTo>
                        <a:pt x="1996920" y="351777"/>
                      </a:lnTo>
                      <a:lnTo>
                        <a:pt x="1669895" y="456552"/>
                      </a:lnTo>
                      <a:lnTo>
                        <a:pt x="1460345" y="491477"/>
                      </a:lnTo>
                      <a:lnTo>
                        <a:pt x="1288895" y="523227"/>
                      </a:lnTo>
                      <a:lnTo>
                        <a:pt x="1117445" y="545452"/>
                      </a:lnTo>
                      <a:lnTo>
                        <a:pt x="984095" y="545452"/>
                      </a:lnTo>
                      <a:lnTo>
                        <a:pt x="843233" y="524324"/>
                      </a:lnTo>
                      <a:lnTo>
                        <a:pt x="770280" y="518208"/>
                      </a:lnTo>
                      <a:lnTo>
                        <a:pt x="710567" y="493968"/>
                      </a:lnTo>
                      <a:lnTo>
                        <a:pt x="605098" y="465222"/>
                      </a:lnTo>
                      <a:lnTo>
                        <a:pt x="469194" y="342899"/>
                      </a:lnTo>
                      <a:lnTo>
                        <a:pt x="355206" y="266529"/>
                      </a:lnTo>
                      <a:lnTo>
                        <a:pt x="228673" y="162158"/>
                      </a:lnTo>
                      <a:lnTo>
                        <a:pt x="106633" y="498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89000">
                      <a:srgbClr val="5DBA00">
                        <a:lumMod val="20000"/>
                        <a:lumOff val="80000"/>
                      </a:srgbClr>
                    </a:gs>
                    <a:gs pos="0">
                      <a:srgbClr val="F3FFE7"/>
                    </a:gs>
                  </a:gsLst>
                  <a:lin ang="0" scaled="1"/>
                  <a:tileRect/>
                </a:gra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061E0ABF-A709-4F48-93E3-092C82D989F0}"/>
                  </a:ext>
                </a:extLst>
              </p:cNvPr>
              <p:cNvSpPr/>
              <p:nvPr/>
            </p:nvSpPr>
            <p:spPr>
              <a:xfrm>
                <a:off x="1084959" y="3314344"/>
                <a:ext cx="10634312" cy="1611235"/>
              </a:xfrm>
              <a:custGeom>
                <a:avLst/>
                <a:gdLst>
                  <a:gd name="connsiteX0" fmla="*/ 0 w 9903417"/>
                  <a:gd name="connsiteY0" fmla="*/ 1606948 h 1710790"/>
                  <a:gd name="connsiteX1" fmla="*/ 395925 w 9903417"/>
                  <a:gd name="connsiteY1" fmla="*/ 1691790 h 1710790"/>
                  <a:gd name="connsiteX2" fmla="*/ 575035 w 9903417"/>
                  <a:gd name="connsiteY2" fmla="*/ 1286437 h 1710790"/>
                  <a:gd name="connsiteX3" fmla="*/ 961534 w 9903417"/>
                  <a:gd name="connsiteY3" fmla="*/ 1672936 h 1710790"/>
                  <a:gd name="connsiteX4" fmla="*/ 1187777 w 9903417"/>
                  <a:gd name="connsiteY4" fmla="*/ 965926 h 1710790"/>
                  <a:gd name="connsiteX5" fmla="*/ 1527142 w 9903417"/>
                  <a:gd name="connsiteY5" fmla="*/ 1682363 h 1710790"/>
                  <a:gd name="connsiteX6" fmla="*/ 2196445 w 9903417"/>
                  <a:gd name="connsiteY6" fmla="*/ 692548 h 1710790"/>
                  <a:gd name="connsiteX7" fmla="*/ 2799760 w 9903417"/>
                  <a:gd name="connsiteY7" fmla="*/ 1654082 h 1710790"/>
                  <a:gd name="connsiteX8" fmla="*/ 5099901 w 9903417"/>
                  <a:gd name="connsiteY8" fmla="*/ 1116755 h 1710790"/>
                  <a:gd name="connsiteX9" fmla="*/ 6202837 w 9903417"/>
                  <a:gd name="connsiteY9" fmla="*/ 343757 h 1710790"/>
                  <a:gd name="connsiteX10" fmla="*/ 6928701 w 9903417"/>
                  <a:gd name="connsiteY10" fmla="*/ 1022486 h 1710790"/>
                  <a:gd name="connsiteX11" fmla="*/ 8276734 w 9903417"/>
                  <a:gd name="connsiteY11" fmla="*/ 13818 h 1710790"/>
                  <a:gd name="connsiteX12" fmla="*/ 9040305 w 9903417"/>
                  <a:gd name="connsiteY12" fmla="*/ 428598 h 1710790"/>
                  <a:gd name="connsiteX13" fmla="*/ 9775595 w 9903417"/>
                  <a:gd name="connsiteY13" fmla="*/ 315476 h 1710790"/>
                  <a:gd name="connsiteX14" fmla="*/ 9898144 w 9903417"/>
                  <a:gd name="connsiteY14" fmla="*/ 51526 h 1710790"/>
                  <a:gd name="connsiteX0" fmla="*/ 0 w 9954538"/>
                  <a:gd name="connsiteY0" fmla="*/ 1606948 h 1710790"/>
                  <a:gd name="connsiteX1" fmla="*/ 395925 w 9954538"/>
                  <a:gd name="connsiteY1" fmla="*/ 1691790 h 1710790"/>
                  <a:gd name="connsiteX2" fmla="*/ 575035 w 9954538"/>
                  <a:gd name="connsiteY2" fmla="*/ 1286437 h 1710790"/>
                  <a:gd name="connsiteX3" fmla="*/ 961534 w 9954538"/>
                  <a:gd name="connsiteY3" fmla="*/ 1672936 h 1710790"/>
                  <a:gd name="connsiteX4" fmla="*/ 1187777 w 9954538"/>
                  <a:gd name="connsiteY4" fmla="*/ 965926 h 1710790"/>
                  <a:gd name="connsiteX5" fmla="*/ 1527142 w 9954538"/>
                  <a:gd name="connsiteY5" fmla="*/ 1682363 h 1710790"/>
                  <a:gd name="connsiteX6" fmla="*/ 2196445 w 9954538"/>
                  <a:gd name="connsiteY6" fmla="*/ 692548 h 1710790"/>
                  <a:gd name="connsiteX7" fmla="*/ 2799760 w 9954538"/>
                  <a:gd name="connsiteY7" fmla="*/ 1654082 h 1710790"/>
                  <a:gd name="connsiteX8" fmla="*/ 5099901 w 9954538"/>
                  <a:gd name="connsiteY8" fmla="*/ 1116755 h 1710790"/>
                  <a:gd name="connsiteX9" fmla="*/ 6202837 w 9954538"/>
                  <a:gd name="connsiteY9" fmla="*/ 343757 h 1710790"/>
                  <a:gd name="connsiteX10" fmla="*/ 6928701 w 9954538"/>
                  <a:gd name="connsiteY10" fmla="*/ 1022486 h 1710790"/>
                  <a:gd name="connsiteX11" fmla="*/ 8276734 w 9954538"/>
                  <a:gd name="connsiteY11" fmla="*/ 13818 h 1710790"/>
                  <a:gd name="connsiteX12" fmla="*/ 9040305 w 9954538"/>
                  <a:gd name="connsiteY12" fmla="*/ 428598 h 1710790"/>
                  <a:gd name="connsiteX13" fmla="*/ 9775595 w 9954538"/>
                  <a:gd name="connsiteY13" fmla="*/ 315476 h 1710790"/>
                  <a:gd name="connsiteX14" fmla="*/ 9952913 w 9954538"/>
                  <a:gd name="connsiteY14" fmla="*/ 61051 h 1710790"/>
                  <a:gd name="connsiteX0" fmla="*/ 0 w 10003816"/>
                  <a:gd name="connsiteY0" fmla="*/ 1606948 h 1710790"/>
                  <a:gd name="connsiteX1" fmla="*/ 395925 w 10003816"/>
                  <a:gd name="connsiteY1" fmla="*/ 1691790 h 1710790"/>
                  <a:gd name="connsiteX2" fmla="*/ 575035 w 10003816"/>
                  <a:gd name="connsiteY2" fmla="*/ 1286437 h 1710790"/>
                  <a:gd name="connsiteX3" fmla="*/ 961534 w 10003816"/>
                  <a:gd name="connsiteY3" fmla="*/ 1672936 h 1710790"/>
                  <a:gd name="connsiteX4" fmla="*/ 1187777 w 10003816"/>
                  <a:gd name="connsiteY4" fmla="*/ 965926 h 1710790"/>
                  <a:gd name="connsiteX5" fmla="*/ 1527142 w 10003816"/>
                  <a:gd name="connsiteY5" fmla="*/ 1682363 h 1710790"/>
                  <a:gd name="connsiteX6" fmla="*/ 2196445 w 10003816"/>
                  <a:gd name="connsiteY6" fmla="*/ 692548 h 1710790"/>
                  <a:gd name="connsiteX7" fmla="*/ 2799760 w 10003816"/>
                  <a:gd name="connsiteY7" fmla="*/ 1654082 h 1710790"/>
                  <a:gd name="connsiteX8" fmla="*/ 5099901 w 10003816"/>
                  <a:gd name="connsiteY8" fmla="*/ 1116755 h 1710790"/>
                  <a:gd name="connsiteX9" fmla="*/ 6202837 w 10003816"/>
                  <a:gd name="connsiteY9" fmla="*/ 343757 h 1710790"/>
                  <a:gd name="connsiteX10" fmla="*/ 6928701 w 10003816"/>
                  <a:gd name="connsiteY10" fmla="*/ 1022486 h 1710790"/>
                  <a:gd name="connsiteX11" fmla="*/ 8276734 w 10003816"/>
                  <a:gd name="connsiteY11" fmla="*/ 13818 h 1710790"/>
                  <a:gd name="connsiteX12" fmla="*/ 9040305 w 10003816"/>
                  <a:gd name="connsiteY12" fmla="*/ 428598 h 1710790"/>
                  <a:gd name="connsiteX13" fmla="*/ 9775595 w 10003816"/>
                  <a:gd name="connsiteY13" fmla="*/ 315476 h 1710790"/>
                  <a:gd name="connsiteX14" fmla="*/ 10002920 w 10003816"/>
                  <a:gd name="connsiteY14" fmla="*/ 103913 h 1710790"/>
                  <a:gd name="connsiteX0" fmla="*/ 0 w 9966188"/>
                  <a:gd name="connsiteY0" fmla="*/ 1606948 h 1710790"/>
                  <a:gd name="connsiteX1" fmla="*/ 395925 w 9966188"/>
                  <a:gd name="connsiteY1" fmla="*/ 1691790 h 1710790"/>
                  <a:gd name="connsiteX2" fmla="*/ 575035 w 9966188"/>
                  <a:gd name="connsiteY2" fmla="*/ 1286437 h 1710790"/>
                  <a:gd name="connsiteX3" fmla="*/ 961534 w 9966188"/>
                  <a:gd name="connsiteY3" fmla="*/ 1672936 h 1710790"/>
                  <a:gd name="connsiteX4" fmla="*/ 1187777 w 9966188"/>
                  <a:gd name="connsiteY4" fmla="*/ 965926 h 1710790"/>
                  <a:gd name="connsiteX5" fmla="*/ 1527142 w 9966188"/>
                  <a:gd name="connsiteY5" fmla="*/ 1682363 h 1710790"/>
                  <a:gd name="connsiteX6" fmla="*/ 2196445 w 9966188"/>
                  <a:gd name="connsiteY6" fmla="*/ 692548 h 1710790"/>
                  <a:gd name="connsiteX7" fmla="*/ 2799760 w 9966188"/>
                  <a:gd name="connsiteY7" fmla="*/ 1654082 h 1710790"/>
                  <a:gd name="connsiteX8" fmla="*/ 5099901 w 9966188"/>
                  <a:gd name="connsiteY8" fmla="*/ 1116755 h 1710790"/>
                  <a:gd name="connsiteX9" fmla="*/ 6202837 w 9966188"/>
                  <a:gd name="connsiteY9" fmla="*/ 343757 h 1710790"/>
                  <a:gd name="connsiteX10" fmla="*/ 6928701 w 9966188"/>
                  <a:gd name="connsiteY10" fmla="*/ 1022486 h 1710790"/>
                  <a:gd name="connsiteX11" fmla="*/ 8276734 w 9966188"/>
                  <a:gd name="connsiteY11" fmla="*/ 13818 h 1710790"/>
                  <a:gd name="connsiteX12" fmla="*/ 9040305 w 9966188"/>
                  <a:gd name="connsiteY12" fmla="*/ 428598 h 1710790"/>
                  <a:gd name="connsiteX13" fmla="*/ 9775595 w 9966188"/>
                  <a:gd name="connsiteY13" fmla="*/ 315476 h 1710790"/>
                  <a:gd name="connsiteX14" fmla="*/ 9964820 w 9966188"/>
                  <a:gd name="connsiteY14" fmla="*/ 46763 h 1710790"/>
                  <a:gd name="connsiteX0" fmla="*/ 0 w 9935371"/>
                  <a:gd name="connsiteY0" fmla="*/ 1606948 h 1710790"/>
                  <a:gd name="connsiteX1" fmla="*/ 395925 w 9935371"/>
                  <a:gd name="connsiteY1" fmla="*/ 1691790 h 1710790"/>
                  <a:gd name="connsiteX2" fmla="*/ 575035 w 9935371"/>
                  <a:gd name="connsiteY2" fmla="*/ 1286437 h 1710790"/>
                  <a:gd name="connsiteX3" fmla="*/ 961534 w 9935371"/>
                  <a:gd name="connsiteY3" fmla="*/ 1672936 h 1710790"/>
                  <a:gd name="connsiteX4" fmla="*/ 1187777 w 9935371"/>
                  <a:gd name="connsiteY4" fmla="*/ 965926 h 1710790"/>
                  <a:gd name="connsiteX5" fmla="*/ 1527142 w 9935371"/>
                  <a:gd name="connsiteY5" fmla="*/ 1682363 h 1710790"/>
                  <a:gd name="connsiteX6" fmla="*/ 2196445 w 9935371"/>
                  <a:gd name="connsiteY6" fmla="*/ 692548 h 1710790"/>
                  <a:gd name="connsiteX7" fmla="*/ 2799760 w 9935371"/>
                  <a:gd name="connsiteY7" fmla="*/ 1654082 h 1710790"/>
                  <a:gd name="connsiteX8" fmla="*/ 5099901 w 9935371"/>
                  <a:gd name="connsiteY8" fmla="*/ 1116755 h 1710790"/>
                  <a:gd name="connsiteX9" fmla="*/ 6202837 w 9935371"/>
                  <a:gd name="connsiteY9" fmla="*/ 343757 h 1710790"/>
                  <a:gd name="connsiteX10" fmla="*/ 6928701 w 9935371"/>
                  <a:gd name="connsiteY10" fmla="*/ 1022486 h 1710790"/>
                  <a:gd name="connsiteX11" fmla="*/ 8276734 w 9935371"/>
                  <a:gd name="connsiteY11" fmla="*/ 13818 h 1710790"/>
                  <a:gd name="connsiteX12" fmla="*/ 9040305 w 9935371"/>
                  <a:gd name="connsiteY12" fmla="*/ 428598 h 1710790"/>
                  <a:gd name="connsiteX13" fmla="*/ 9775595 w 9935371"/>
                  <a:gd name="connsiteY13" fmla="*/ 315476 h 1710790"/>
                  <a:gd name="connsiteX14" fmla="*/ 9933070 w 9935371"/>
                  <a:gd name="connsiteY14" fmla="*/ 15013 h 1710790"/>
                  <a:gd name="connsiteX0" fmla="*/ 0 w 9933818"/>
                  <a:gd name="connsiteY0" fmla="*/ 1607082 h 1710924"/>
                  <a:gd name="connsiteX1" fmla="*/ 395925 w 9933818"/>
                  <a:gd name="connsiteY1" fmla="*/ 1691924 h 1710924"/>
                  <a:gd name="connsiteX2" fmla="*/ 575035 w 9933818"/>
                  <a:gd name="connsiteY2" fmla="*/ 1286571 h 1710924"/>
                  <a:gd name="connsiteX3" fmla="*/ 961534 w 9933818"/>
                  <a:gd name="connsiteY3" fmla="*/ 1673070 h 1710924"/>
                  <a:gd name="connsiteX4" fmla="*/ 1187777 w 9933818"/>
                  <a:gd name="connsiteY4" fmla="*/ 966060 h 1710924"/>
                  <a:gd name="connsiteX5" fmla="*/ 1527142 w 9933818"/>
                  <a:gd name="connsiteY5" fmla="*/ 1682497 h 1710924"/>
                  <a:gd name="connsiteX6" fmla="*/ 2196445 w 9933818"/>
                  <a:gd name="connsiteY6" fmla="*/ 692682 h 1710924"/>
                  <a:gd name="connsiteX7" fmla="*/ 2799760 w 9933818"/>
                  <a:gd name="connsiteY7" fmla="*/ 1654216 h 1710924"/>
                  <a:gd name="connsiteX8" fmla="*/ 5099901 w 9933818"/>
                  <a:gd name="connsiteY8" fmla="*/ 1116889 h 1710924"/>
                  <a:gd name="connsiteX9" fmla="*/ 6202837 w 9933818"/>
                  <a:gd name="connsiteY9" fmla="*/ 343891 h 1710924"/>
                  <a:gd name="connsiteX10" fmla="*/ 6928701 w 9933818"/>
                  <a:gd name="connsiteY10" fmla="*/ 1022620 h 1710924"/>
                  <a:gd name="connsiteX11" fmla="*/ 8276734 w 9933818"/>
                  <a:gd name="connsiteY11" fmla="*/ 13952 h 1710924"/>
                  <a:gd name="connsiteX12" fmla="*/ 9040305 w 9933818"/>
                  <a:gd name="connsiteY12" fmla="*/ 428732 h 1710924"/>
                  <a:gd name="connsiteX13" fmla="*/ 9699395 w 9933818"/>
                  <a:gd name="connsiteY13" fmla="*/ 347360 h 1710924"/>
                  <a:gd name="connsiteX14" fmla="*/ 9933070 w 9933818"/>
                  <a:gd name="connsiteY14" fmla="*/ 15147 h 1710924"/>
                  <a:gd name="connsiteX0" fmla="*/ 0 w 9933576"/>
                  <a:gd name="connsiteY0" fmla="*/ 1607190 h 1711032"/>
                  <a:gd name="connsiteX1" fmla="*/ 395925 w 9933576"/>
                  <a:gd name="connsiteY1" fmla="*/ 1692032 h 1711032"/>
                  <a:gd name="connsiteX2" fmla="*/ 575035 w 9933576"/>
                  <a:gd name="connsiteY2" fmla="*/ 1286679 h 1711032"/>
                  <a:gd name="connsiteX3" fmla="*/ 961534 w 9933576"/>
                  <a:gd name="connsiteY3" fmla="*/ 1673178 h 1711032"/>
                  <a:gd name="connsiteX4" fmla="*/ 1187777 w 9933576"/>
                  <a:gd name="connsiteY4" fmla="*/ 966168 h 1711032"/>
                  <a:gd name="connsiteX5" fmla="*/ 1527142 w 9933576"/>
                  <a:gd name="connsiteY5" fmla="*/ 1682605 h 1711032"/>
                  <a:gd name="connsiteX6" fmla="*/ 2196445 w 9933576"/>
                  <a:gd name="connsiteY6" fmla="*/ 692790 h 1711032"/>
                  <a:gd name="connsiteX7" fmla="*/ 2799760 w 9933576"/>
                  <a:gd name="connsiteY7" fmla="*/ 1654324 h 1711032"/>
                  <a:gd name="connsiteX8" fmla="*/ 5099901 w 9933576"/>
                  <a:gd name="connsiteY8" fmla="*/ 1116997 h 1711032"/>
                  <a:gd name="connsiteX9" fmla="*/ 6202837 w 9933576"/>
                  <a:gd name="connsiteY9" fmla="*/ 343999 h 1711032"/>
                  <a:gd name="connsiteX10" fmla="*/ 6928701 w 9933576"/>
                  <a:gd name="connsiteY10" fmla="*/ 1022728 h 1711032"/>
                  <a:gd name="connsiteX11" fmla="*/ 8276734 w 9933576"/>
                  <a:gd name="connsiteY11" fmla="*/ 14060 h 1711032"/>
                  <a:gd name="connsiteX12" fmla="*/ 9040305 w 9933576"/>
                  <a:gd name="connsiteY12" fmla="*/ 428840 h 1711032"/>
                  <a:gd name="connsiteX13" fmla="*/ 9648595 w 9933576"/>
                  <a:gd name="connsiteY13" fmla="*/ 372868 h 1711032"/>
                  <a:gd name="connsiteX14" fmla="*/ 9933070 w 9933576"/>
                  <a:gd name="connsiteY14" fmla="*/ 15255 h 1711032"/>
                  <a:gd name="connsiteX0" fmla="*/ 0 w 9933576"/>
                  <a:gd name="connsiteY0" fmla="*/ 1607190 h 1711032"/>
                  <a:gd name="connsiteX1" fmla="*/ 395925 w 9933576"/>
                  <a:gd name="connsiteY1" fmla="*/ 1692032 h 1711032"/>
                  <a:gd name="connsiteX2" fmla="*/ 575035 w 9933576"/>
                  <a:gd name="connsiteY2" fmla="*/ 1286679 h 1711032"/>
                  <a:gd name="connsiteX3" fmla="*/ 961534 w 9933576"/>
                  <a:gd name="connsiteY3" fmla="*/ 1673178 h 1711032"/>
                  <a:gd name="connsiteX4" fmla="*/ 1187777 w 9933576"/>
                  <a:gd name="connsiteY4" fmla="*/ 966168 h 1711032"/>
                  <a:gd name="connsiteX5" fmla="*/ 1527142 w 9933576"/>
                  <a:gd name="connsiteY5" fmla="*/ 1682605 h 1711032"/>
                  <a:gd name="connsiteX6" fmla="*/ 2196445 w 9933576"/>
                  <a:gd name="connsiteY6" fmla="*/ 692790 h 1711032"/>
                  <a:gd name="connsiteX7" fmla="*/ 3009310 w 9933576"/>
                  <a:gd name="connsiteY7" fmla="*/ 1654324 h 1711032"/>
                  <a:gd name="connsiteX8" fmla="*/ 5099901 w 9933576"/>
                  <a:gd name="connsiteY8" fmla="*/ 1116997 h 1711032"/>
                  <a:gd name="connsiteX9" fmla="*/ 6202837 w 9933576"/>
                  <a:gd name="connsiteY9" fmla="*/ 343999 h 1711032"/>
                  <a:gd name="connsiteX10" fmla="*/ 6928701 w 9933576"/>
                  <a:gd name="connsiteY10" fmla="*/ 1022728 h 1711032"/>
                  <a:gd name="connsiteX11" fmla="*/ 8276734 w 9933576"/>
                  <a:gd name="connsiteY11" fmla="*/ 14060 h 1711032"/>
                  <a:gd name="connsiteX12" fmla="*/ 9040305 w 9933576"/>
                  <a:gd name="connsiteY12" fmla="*/ 428840 h 1711032"/>
                  <a:gd name="connsiteX13" fmla="*/ 9648595 w 9933576"/>
                  <a:gd name="connsiteY13" fmla="*/ 372868 h 1711032"/>
                  <a:gd name="connsiteX14" fmla="*/ 9933070 w 9933576"/>
                  <a:gd name="connsiteY14" fmla="*/ 15255 h 1711032"/>
                  <a:gd name="connsiteX0" fmla="*/ 0 w 9933576"/>
                  <a:gd name="connsiteY0" fmla="*/ 1607190 h 1711032"/>
                  <a:gd name="connsiteX1" fmla="*/ 395925 w 9933576"/>
                  <a:gd name="connsiteY1" fmla="*/ 1692032 h 1711032"/>
                  <a:gd name="connsiteX2" fmla="*/ 575035 w 9933576"/>
                  <a:gd name="connsiteY2" fmla="*/ 1286679 h 1711032"/>
                  <a:gd name="connsiteX3" fmla="*/ 904384 w 9933576"/>
                  <a:gd name="connsiteY3" fmla="*/ 1673178 h 1711032"/>
                  <a:gd name="connsiteX4" fmla="*/ 1187777 w 9933576"/>
                  <a:gd name="connsiteY4" fmla="*/ 966168 h 1711032"/>
                  <a:gd name="connsiteX5" fmla="*/ 1527142 w 9933576"/>
                  <a:gd name="connsiteY5" fmla="*/ 1682605 h 1711032"/>
                  <a:gd name="connsiteX6" fmla="*/ 2196445 w 9933576"/>
                  <a:gd name="connsiteY6" fmla="*/ 692790 h 1711032"/>
                  <a:gd name="connsiteX7" fmla="*/ 3009310 w 9933576"/>
                  <a:gd name="connsiteY7" fmla="*/ 1654324 h 1711032"/>
                  <a:gd name="connsiteX8" fmla="*/ 5099901 w 9933576"/>
                  <a:gd name="connsiteY8" fmla="*/ 1116997 h 1711032"/>
                  <a:gd name="connsiteX9" fmla="*/ 6202837 w 9933576"/>
                  <a:gd name="connsiteY9" fmla="*/ 343999 h 1711032"/>
                  <a:gd name="connsiteX10" fmla="*/ 6928701 w 9933576"/>
                  <a:gd name="connsiteY10" fmla="*/ 1022728 h 1711032"/>
                  <a:gd name="connsiteX11" fmla="*/ 8276734 w 9933576"/>
                  <a:gd name="connsiteY11" fmla="*/ 14060 h 1711032"/>
                  <a:gd name="connsiteX12" fmla="*/ 9040305 w 9933576"/>
                  <a:gd name="connsiteY12" fmla="*/ 428840 h 1711032"/>
                  <a:gd name="connsiteX13" fmla="*/ 9648595 w 9933576"/>
                  <a:gd name="connsiteY13" fmla="*/ 372868 h 1711032"/>
                  <a:gd name="connsiteX14" fmla="*/ 9933070 w 9933576"/>
                  <a:gd name="connsiteY14" fmla="*/ 15255 h 1711032"/>
                  <a:gd name="connsiteX0" fmla="*/ 0 w 9933576"/>
                  <a:gd name="connsiteY0" fmla="*/ 1607190 h 1711032"/>
                  <a:gd name="connsiteX1" fmla="*/ 348300 w 9933576"/>
                  <a:gd name="connsiteY1" fmla="*/ 1692032 h 1711032"/>
                  <a:gd name="connsiteX2" fmla="*/ 575035 w 9933576"/>
                  <a:gd name="connsiteY2" fmla="*/ 1286679 h 1711032"/>
                  <a:gd name="connsiteX3" fmla="*/ 904384 w 9933576"/>
                  <a:gd name="connsiteY3" fmla="*/ 1673178 h 1711032"/>
                  <a:gd name="connsiteX4" fmla="*/ 1187777 w 9933576"/>
                  <a:gd name="connsiteY4" fmla="*/ 966168 h 1711032"/>
                  <a:gd name="connsiteX5" fmla="*/ 1527142 w 9933576"/>
                  <a:gd name="connsiteY5" fmla="*/ 1682605 h 1711032"/>
                  <a:gd name="connsiteX6" fmla="*/ 2196445 w 9933576"/>
                  <a:gd name="connsiteY6" fmla="*/ 692790 h 1711032"/>
                  <a:gd name="connsiteX7" fmla="*/ 3009310 w 9933576"/>
                  <a:gd name="connsiteY7" fmla="*/ 1654324 h 1711032"/>
                  <a:gd name="connsiteX8" fmla="*/ 5099901 w 9933576"/>
                  <a:gd name="connsiteY8" fmla="*/ 1116997 h 1711032"/>
                  <a:gd name="connsiteX9" fmla="*/ 6202837 w 9933576"/>
                  <a:gd name="connsiteY9" fmla="*/ 343999 h 1711032"/>
                  <a:gd name="connsiteX10" fmla="*/ 6928701 w 9933576"/>
                  <a:gd name="connsiteY10" fmla="*/ 1022728 h 1711032"/>
                  <a:gd name="connsiteX11" fmla="*/ 8276734 w 9933576"/>
                  <a:gd name="connsiteY11" fmla="*/ 14060 h 1711032"/>
                  <a:gd name="connsiteX12" fmla="*/ 9040305 w 9933576"/>
                  <a:gd name="connsiteY12" fmla="*/ 428840 h 1711032"/>
                  <a:gd name="connsiteX13" fmla="*/ 9648595 w 9933576"/>
                  <a:gd name="connsiteY13" fmla="*/ 372868 h 1711032"/>
                  <a:gd name="connsiteX14" fmla="*/ 9933070 w 9933576"/>
                  <a:gd name="connsiteY14" fmla="*/ 15255 h 1711032"/>
                  <a:gd name="connsiteX0" fmla="*/ 0 w 9971676"/>
                  <a:gd name="connsiteY0" fmla="*/ 1550040 h 1701643"/>
                  <a:gd name="connsiteX1" fmla="*/ 386400 w 9971676"/>
                  <a:gd name="connsiteY1" fmla="*/ 1692032 h 1701643"/>
                  <a:gd name="connsiteX2" fmla="*/ 613135 w 9971676"/>
                  <a:gd name="connsiteY2" fmla="*/ 1286679 h 1701643"/>
                  <a:gd name="connsiteX3" fmla="*/ 942484 w 9971676"/>
                  <a:gd name="connsiteY3" fmla="*/ 1673178 h 1701643"/>
                  <a:gd name="connsiteX4" fmla="*/ 1225877 w 9971676"/>
                  <a:gd name="connsiteY4" fmla="*/ 966168 h 1701643"/>
                  <a:gd name="connsiteX5" fmla="*/ 1565242 w 9971676"/>
                  <a:gd name="connsiteY5" fmla="*/ 1682605 h 1701643"/>
                  <a:gd name="connsiteX6" fmla="*/ 2234545 w 9971676"/>
                  <a:gd name="connsiteY6" fmla="*/ 692790 h 1701643"/>
                  <a:gd name="connsiteX7" fmla="*/ 3047410 w 9971676"/>
                  <a:gd name="connsiteY7" fmla="*/ 1654324 h 1701643"/>
                  <a:gd name="connsiteX8" fmla="*/ 5138001 w 9971676"/>
                  <a:gd name="connsiteY8" fmla="*/ 1116997 h 1701643"/>
                  <a:gd name="connsiteX9" fmla="*/ 6240937 w 9971676"/>
                  <a:gd name="connsiteY9" fmla="*/ 343999 h 1701643"/>
                  <a:gd name="connsiteX10" fmla="*/ 6966801 w 9971676"/>
                  <a:gd name="connsiteY10" fmla="*/ 1022728 h 1701643"/>
                  <a:gd name="connsiteX11" fmla="*/ 8314834 w 9971676"/>
                  <a:gd name="connsiteY11" fmla="*/ 14060 h 1701643"/>
                  <a:gd name="connsiteX12" fmla="*/ 9078405 w 9971676"/>
                  <a:gd name="connsiteY12" fmla="*/ 428840 h 1701643"/>
                  <a:gd name="connsiteX13" fmla="*/ 9686695 w 9971676"/>
                  <a:gd name="connsiteY13" fmla="*/ 372868 h 1701643"/>
                  <a:gd name="connsiteX14" fmla="*/ 9971170 w 9971676"/>
                  <a:gd name="connsiteY14" fmla="*/ 15255 h 1701643"/>
                  <a:gd name="connsiteX0" fmla="*/ 0 w 9971676"/>
                  <a:gd name="connsiteY0" fmla="*/ 1550040 h 1700115"/>
                  <a:gd name="connsiteX1" fmla="*/ 386400 w 9971676"/>
                  <a:gd name="connsiteY1" fmla="*/ 1692032 h 1700115"/>
                  <a:gd name="connsiteX2" fmla="*/ 527410 w 9971676"/>
                  <a:gd name="connsiteY2" fmla="*/ 1315254 h 1700115"/>
                  <a:gd name="connsiteX3" fmla="*/ 942484 w 9971676"/>
                  <a:gd name="connsiteY3" fmla="*/ 1673178 h 1700115"/>
                  <a:gd name="connsiteX4" fmla="*/ 1225877 w 9971676"/>
                  <a:gd name="connsiteY4" fmla="*/ 966168 h 1700115"/>
                  <a:gd name="connsiteX5" fmla="*/ 1565242 w 9971676"/>
                  <a:gd name="connsiteY5" fmla="*/ 1682605 h 1700115"/>
                  <a:gd name="connsiteX6" fmla="*/ 2234545 w 9971676"/>
                  <a:gd name="connsiteY6" fmla="*/ 692790 h 1700115"/>
                  <a:gd name="connsiteX7" fmla="*/ 3047410 w 9971676"/>
                  <a:gd name="connsiteY7" fmla="*/ 1654324 h 1700115"/>
                  <a:gd name="connsiteX8" fmla="*/ 5138001 w 9971676"/>
                  <a:gd name="connsiteY8" fmla="*/ 1116997 h 1700115"/>
                  <a:gd name="connsiteX9" fmla="*/ 6240937 w 9971676"/>
                  <a:gd name="connsiteY9" fmla="*/ 343999 h 1700115"/>
                  <a:gd name="connsiteX10" fmla="*/ 6966801 w 9971676"/>
                  <a:gd name="connsiteY10" fmla="*/ 1022728 h 1700115"/>
                  <a:gd name="connsiteX11" fmla="*/ 8314834 w 9971676"/>
                  <a:gd name="connsiteY11" fmla="*/ 14060 h 1700115"/>
                  <a:gd name="connsiteX12" fmla="*/ 9078405 w 9971676"/>
                  <a:gd name="connsiteY12" fmla="*/ 428840 h 1700115"/>
                  <a:gd name="connsiteX13" fmla="*/ 9686695 w 9971676"/>
                  <a:gd name="connsiteY13" fmla="*/ 372868 h 1700115"/>
                  <a:gd name="connsiteX14" fmla="*/ 9971170 w 9971676"/>
                  <a:gd name="connsiteY14" fmla="*/ 15255 h 1700115"/>
                  <a:gd name="connsiteX0" fmla="*/ 0 w 9971676"/>
                  <a:gd name="connsiteY0" fmla="*/ 1550040 h 1700115"/>
                  <a:gd name="connsiteX1" fmla="*/ 386400 w 9971676"/>
                  <a:gd name="connsiteY1" fmla="*/ 1692032 h 1700115"/>
                  <a:gd name="connsiteX2" fmla="*/ 527410 w 9971676"/>
                  <a:gd name="connsiteY2" fmla="*/ 1315254 h 1700115"/>
                  <a:gd name="connsiteX3" fmla="*/ 942484 w 9971676"/>
                  <a:gd name="connsiteY3" fmla="*/ 1673178 h 1700115"/>
                  <a:gd name="connsiteX4" fmla="*/ 1216352 w 9971676"/>
                  <a:gd name="connsiteY4" fmla="*/ 1070943 h 1700115"/>
                  <a:gd name="connsiteX5" fmla="*/ 1565242 w 9971676"/>
                  <a:gd name="connsiteY5" fmla="*/ 1682605 h 1700115"/>
                  <a:gd name="connsiteX6" fmla="*/ 2234545 w 9971676"/>
                  <a:gd name="connsiteY6" fmla="*/ 692790 h 1700115"/>
                  <a:gd name="connsiteX7" fmla="*/ 3047410 w 9971676"/>
                  <a:gd name="connsiteY7" fmla="*/ 1654324 h 1700115"/>
                  <a:gd name="connsiteX8" fmla="*/ 5138001 w 9971676"/>
                  <a:gd name="connsiteY8" fmla="*/ 1116997 h 1700115"/>
                  <a:gd name="connsiteX9" fmla="*/ 6240937 w 9971676"/>
                  <a:gd name="connsiteY9" fmla="*/ 343999 h 1700115"/>
                  <a:gd name="connsiteX10" fmla="*/ 6966801 w 9971676"/>
                  <a:gd name="connsiteY10" fmla="*/ 1022728 h 1700115"/>
                  <a:gd name="connsiteX11" fmla="*/ 8314834 w 9971676"/>
                  <a:gd name="connsiteY11" fmla="*/ 14060 h 1700115"/>
                  <a:gd name="connsiteX12" fmla="*/ 9078405 w 9971676"/>
                  <a:gd name="connsiteY12" fmla="*/ 428840 h 1700115"/>
                  <a:gd name="connsiteX13" fmla="*/ 9686695 w 9971676"/>
                  <a:gd name="connsiteY13" fmla="*/ 372868 h 1700115"/>
                  <a:gd name="connsiteX14" fmla="*/ 9971170 w 9971676"/>
                  <a:gd name="connsiteY14" fmla="*/ 15255 h 1700115"/>
                  <a:gd name="connsiteX0" fmla="*/ 0 w 9971676"/>
                  <a:gd name="connsiteY0" fmla="*/ 1550040 h 1700115"/>
                  <a:gd name="connsiteX1" fmla="*/ 386400 w 9971676"/>
                  <a:gd name="connsiteY1" fmla="*/ 1692032 h 1700115"/>
                  <a:gd name="connsiteX2" fmla="*/ 527410 w 9971676"/>
                  <a:gd name="connsiteY2" fmla="*/ 1315254 h 1700115"/>
                  <a:gd name="connsiteX3" fmla="*/ 942484 w 9971676"/>
                  <a:gd name="connsiteY3" fmla="*/ 1673178 h 1700115"/>
                  <a:gd name="connsiteX4" fmla="*/ 1216352 w 9971676"/>
                  <a:gd name="connsiteY4" fmla="*/ 1070943 h 1700115"/>
                  <a:gd name="connsiteX5" fmla="*/ 1631917 w 9971676"/>
                  <a:gd name="connsiteY5" fmla="*/ 1644505 h 1700115"/>
                  <a:gd name="connsiteX6" fmla="*/ 2234545 w 9971676"/>
                  <a:gd name="connsiteY6" fmla="*/ 692790 h 1700115"/>
                  <a:gd name="connsiteX7" fmla="*/ 3047410 w 9971676"/>
                  <a:gd name="connsiteY7" fmla="*/ 1654324 h 1700115"/>
                  <a:gd name="connsiteX8" fmla="*/ 5138001 w 9971676"/>
                  <a:gd name="connsiteY8" fmla="*/ 1116997 h 1700115"/>
                  <a:gd name="connsiteX9" fmla="*/ 6240937 w 9971676"/>
                  <a:gd name="connsiteY9" fmla="*/ 343999 h 1700115"/>
                  <a:gd name="connsiteX10" fmla="*/ 6966801 w 9971676"/>
                  <a:gd name="connsiteY10" fmla="*/ 1022728 h 1700115"/>
                  <a:gd name="connsiteX11" fmla="*/ 8314834 w 9971676"/>
                  <a:gd name="connsiteY11" fmla="*/ 14060 h 1700115"/>
                  <a:gd name="connsiteX12" fmla="*/ 9078405 w 9971676"/>
                  <a:gd name="connsiteY12" fmla="*/ 428840 h 1700115"/>
                  <a:gd name="connsiteX13" fmla="*/ 9686695 w 9971676"/>
                  <a:gd name="connsiteY13" fmla="*/ 372868 h 1700115"/>
                  <a:gd name="connsiteX14" fmla="*/ 9971170 w 9971676"/>
                  <a:gd name="connsiteY14" fmla="*/ 15255 h 1700115"/>
                  <a:gd name="connsiteX0" fmla="*/ 0 w 9971676"/>
                  <a:gd name="connsiteY0" fmla="*/ 1550040 h 1700115"/>
                  <a:gd name="connsiteX1" fmla="*/ 386400 w 9971676"/>
                  <a:gd name="connsiteY1" fmla="*/ 1692032 h 1700115"/>
                  <a:gd name="connsiteX2" fmla="*/ 527410 w 9971676"/>
                  <a:gd name="connsiteY2" fmla="*/ 1315254 h 1700115"/>
                  <a:gd name="connsiteX3" fmla="*/ 942484 w 9971676"/>
                  <a:gd name="connsiteY3" fmla="*/ 1673178 h 1700115"/>
                  <a:gd name="connsiteX4" fmla="*/ 1311602 w 9971676"/>
                  <a:gd name="connsiteY4" fmla="*/ 1166193 h 1700115"/>
                  <a:gd name="connsiteX5" fmla="*/ 1631917 w 9971676"/>
                  <a:gd name="connsiteY5" fmla="*/ 1644505 h 1700115"/>
                  <a:gd name="connsiteX6" fmla="*/ 2234545 w 9971676"/>
                  <a:gd name="connsiteY6" fmla="*/ 692790 h 1700115"/>
                  <a:gd name="connsiteX7" fmla="*/ 3047410 w 9971676"/>
                  <a:gd name="connsiteY7" fmla="*/ 1654324 h 1700115"/>
                  <a:gd name="connsiteX8" fmla="*/ 5138001 w 9971676"/>
                  <a:gd name="connsiteY8" fmla="*/ 1116997 h 1700115"/>
                  <a:gd name="connsiteX9" fmla="*/ 6240937 w 9971676"/>
                  <a:gd name="connsiteY9" fmla="*/ 343999 h 1700115"/>
                  <a:gd name="connsiteX10" fmla="*/ 6966801 w 9971676"/>
                  <a:gd name="connsiteY10" fmla="*/ 1022728 h 1700115"/>
                  <a:gd name="connsiteX11" fmla="*/ 8314834 w 9971676"/>
                  <a:gd name="connsiteY11" fmla="*/ 14060 h 1700115"/>
                  <a:gd name="connsiteX12" fmla="*/ 9078405 w 9971676"/>
                  <a:gd name="connsiteY12" fmla="*/ 428840 h 1700115"/>
                  <a:gd name="connsiteX13" fmla="*/ 9686695 w 9971676"/>
                  <a:gd name="connsiteY13" fmla="*/ 372868 h 1700115"/>
                  <a:gd name="connsiteX14" fmla="*/ 9971170 w 9971676"/>
                  <a:gd name="connsiteY14" fmla="*/ 15255 h 1700115"/>
                  <a:gd name="connsiteX0" fmla="*/ 0 w 9971676"/>
                  <a:gd name="connsiteY0" fmla="*/ 1550040 h 1696830"/>
                  <a:gd name="connsiteX1" fmla="*/ 386400 w 9971676"/>
                  <a:gd name="connsiteY1" fmla="*/ 1692032 h 1696830"/>
                  <a:gd name="connsiteX2" fmla="*/ 536935 w 9971676"/>
                  <a:gd name="connsiteY2" fmla="*/ 1381929 h 1696830"/>
                  <a:gd name="connsiteX3" fmla="*/ 942484 w 9971676"/>
                  <a:gd name="connsiteY3" fmla="*/ 1673178 h 1696830"/>
                  <a:gd name="connsiteX4" fmla="*/ 1311602 w 9971676"/>
                  <a:gd name="connsiteY4" fmla="*/ 1166193 h 1696830"/>
                  <a:gd name="connsiteX5" fmla="*/ 1631917 w 9971676"/>
                  <a:gd name="connsiteY5" fmla="*/ 1644505 h 1696830"/>
                  <a:gd name="connsiteX6" fmla="*/ 2234545 w 9971676"/>
                  <a:gd name="connsiteY6" fmla="*/ 692790 h 1696830"/>
                  <a:gd name="connsiteX7" fmla="*/ 3047410 w 9971676"/>
                  <a:gd name="connsiteY7" fmla="*/ 1654324 h 1696830"/>
                  <a:gd name="connsiteX8" fmla="*/ 5138001 w 9971676"/>
                  <a:gd name="connsiteY8" fmla="*/ 1116997 h 1696830"/>
                  <a:gd name="connsiteX9" fmla="*/ 6240937 w 9971676"/>
                  <a:gd name="connsiteY9" fmla="*/ 343999 h 1696830"/>
                  <a:gd name="connsiteX10" fmla="*/ 6966801 w 9971676"/>
                  <a:gd name="connsiteY10" fmla="*/ 1022728 h 1696830"/>
                  <a:gd name="connsiteX11" fmla="*/ 8314834 w 9971676"/>
                  <a:gd name="connsiteY11" fmla="*/ 14060 h 1696830"/>
                  <a:gd name="connsiteX12" fmla="*/ 9078405 w 9971676"/>
                  <a:gd name="connsiteY12" fmla="*/ 428840 h 1696830"/>
                  <a:gd name="connsiteX13" fmla="*/ 9686695 w 9971676"/>
                  <a:gd name="connsiteY13" fmla="*/ 372868 h 1696830"/>
                  <a:gd name="connsiteX14" fmla="*/ 9971170 w 9971676"/>
                  <a:gd name="connsiteY14" fmla="*/ 15255 h 1696830"/>
                  <a:gd name="connsiteX0" fmla="*/ 0 w 9971676"/>
                  <a:gd name="connsiteY0" fmla="*/ 1550040 h 1696830"/>
                  <a:gd name="connsiteX1" fmla="*/ 386400 w 9971676"/>
                  <a:gd name="connsiteY1" fmla="*/ 1692032 h 1696830"/>
                  <a:gd name="connsiteX2" fmla="*/ 536935 w 9971676"/>
                  <a:gd name="connsiteY2" fmla="*/ 1381929 h 1696830"/>
                  <a:gd name="connsiteX3" fmla="*/ 942484 w 9971676"/>
                  <a:gd name="connsiteY3" fmla="*/ 1673178 h 1696830"/>
                  <a:gd name="connsiteX4" fmla="*/ 1235402 w 9971676"/>
                  <a:gd name="connsiteY4" fmla="*/ 1175718 h 1696830"/>
                  <a:gd name="connsiteX5" fmla="*/ 1631917 w 9971676"/>
                  <a:gd name="connsiteY5" fmla="*/ 1644505 h 1696830"/>
                  <a:gd name="connsiteX6" fmla="*/ 2234545 w 9971676"/>
                  <a:gd name="connsiteY6" fmla="*/ 692790 h 1696830"/>
                  <a:gd name="connsiteX7" fmla="*/ 3047410 w 9971676"/>
                  <a:gd name="connsiteY7" fmla="*/ 1654324 h 1696830"/>
                  <a:gd name="connsiteX8" fmla="*/ 5138001 w 9971676"/>
                  <a:gd name="connsiteY8" fmla="*/ 1116997 h 1696830"/>
                  <a:gd name="connsiteX9" fmla="*/ 6240937 w 9971676"/>
                  <a:gd name="connsiteY9" fmla="*/ 343999 h 1696830"/>
                  <a:gd name="connsiteX10" fmla="*/ 6966801 w 9971676"/>
                  <a:gd name="connsiteY10" fmla="*/ 1022728 h 1696830"/>
                  <a:gd name="connsiteX11" fmla="*/ 8314834 w 9971676"/>
                  <a:gd name="connsiteY11" fmla="*/ 14060 h 1696830"/>
                  <a:gd name="connsiteX12" fmla="*/ 9078405 w 9971676"/>
                  <a:gd name="connsiteY12" fmla="*/ 428840 h 1696830"/>
                  <a:gd name="connsiteX13" fmla="*/ 9686695 w 9971676"/>
                  <a:gd name="connsiteY13" fmla="*/ 372868 h 1696830"/>
                  <a:gd name="connsiteX14" fmla="*/ 9971170 w 9971676"/>
                  <a:gd name="connsiteY14" fmla="*/ 15255 h 1696830"/>
                  <a:gd name="connsiteX0" fmla="*/ 0 w 9971676"/>
                  <a:gd name="connsiteY0" fmla="*/ 1550040 h 1696830"/>
                  <a:gd name="connsiteX1" fmla="*/ 386400 w 9971676"/>
                  <a:gd name="connsiteY1" fmla="*/ 1692032 h 1696830"/>
                  <a:gd name="connsiteX2" fmla="*/ 536935 w 9971676"/>
                  <a:gd name="connsiteY2" fmla="*/ 1381929 h 1696830"/>
                  <a:gd name="connsiteX3" fmla="*/ 942484 w 9971676"/>
                  <a:gd name="connsiteY3" fmla="*/ 1673178 h 1696830"/>
                  <a:gd name="connsiteX4" fmla="*/ 1235402 w 9971676"/>
                  <a:gd name="connsiteY4" fmla="*/ 1089993 h 1696830"/>
                  <a:gd name="connsiteX5" fmla="*/ 1631917 w 9971676"/>
                  <a:gd name="connsiteY5" fmla="*/ 1644505 h 1696830"/>
                  <a:gd name="connsiteX6" fmla="*/ 2234545 w 9971676"/>
                  <a:gd name="connsiteY6" fmla="*/ 692790 h 1696830"/>
                  <a:gd name="connsiteX7" fmla="*/ 3047410 w 9971676"/>
                  <a:gd name="connsiteY7" fmla="*/ 1654324 h 1696830"/>
                  <a:gd name="connsiteX8" fmla="*/ 5138001 w 9971676"/>
                  <a:gd name="connsiteY8" fmla="*/ 1116997 h 1696830"/>
                  <a:gd name="connsiteX9" fmla="*/ 6240937 w 9971676"/>
                  <a:gd name="connsiteY9" fmla="*/ 343999 h 1696830"/>
                  <a:gd name="connsiteX10" fmla="*/ 6966801 w 9971676"/>
                  <a:gd name="connsiteY10" fmla="*/ 1022728 h 1696830"/>
                  <a:gd name="connsiteX11" fmla="*/ 8314834 w 9971676"/>
                  <a:gd name="connsiteY11" fmla="*/ 14060 h 1696830"/>
                  <a:gd name="connsiteX12" fmla="*/ 9078405 w 9971676"/>
                  <a:gd name="connsiteY12" fmla="*/ 428840 h 1696830"/>
                  <a:gd name="connsiteX13" fmla="*/ 9686695 w 9971676"/>
                  <a:gd name="connsiteY13" fmla="*/ 372868 h 1696830"/>
                  <a:gd name="connsiteX14" fmla="*/ 9971170 w 9971676"/>
                  <a:gd name="connsiteY14" fmla="*/ 15255 h 1696830"/>
                  <a:gd name="connsiteX0" fmla="*/ 0 w 9971676"/>
                  <a:gd name="connsiteY0" fmla="*/ 1550040 h 1696830"/>
                  <a:gd name="connsiteX1" fmla="*/ 386400 w 9971676"/>
                  <a:gd name="connsiteY1" fmla="*/ 1692032 h 1696830"/>
                  <a:gd name="connsiteX2" fmla="*/ 536935 w 9971676"/>
                  <a:gd name="connsiteY2" fmla="*/ 1381929 h 1696830"/>
                  <a:gd name="connsiteX3" fmla="*/ 942484 w 9971676"/>
                  <a:gd name="connsiteY3" fmla="*/ 1673178 h 1696830"/>
                  <a:gd name="connsiteX4" fmla="*/ 1235402 w 9971676"/>
                  <a:gd name="connsiteY4" fmla="*/ 1089993 h 1696830"/>
                  <a:gd name="connsiteX5" fmla="*/ 1631917 w 9971676"/>
                  <a:gd name="connsiteY5" fmla="*/ 1644505 h 1696830"/>
                  <a:gd name="connsiteX6" fmla="*/ 2234545 w 9971676"/>
                  <a:gd name="connsiteY6" fmla="*/ 692790 h 1696830"/>
                  <a:gd name="connsiteX7" fmla="*/ 3047410 w 9971676"/>
                  <a:gd name="connsiteY7" fmla="*/ 1654324 h 1696830"/>
                  <a:gd name="connsiteX8" fmla="*/ 5138001 w 9971676"/>
                  <a:gd name="connsiteY8" fmla="*/ 1116997 h 1696830"/>
                  <a:gd name="connsiteX9" fmla="*/ 6155212 w 9971676"/>
                  <a:gd name="connsiteY9" fmla="*/ 353524 h 1696830"/>
                  <a:gd name="connsiteX10" fmla="*/ 6966801 w 9971676"/>
                  <a:gd name="connsiteY10" fmla="*/ 1022728 h 1696830"/>
                  <a:gd name="connsiteX11" fmla="*/ 8314834 w 9971676"/>
                  <a:gd name="connsiteY11" fmla="*/ 14060 h 1696830"/>
                  <a:gd name="connsiteX12" fmla="*/ 9078405 w 9971676"/>
                  <a:gd name="connsiteY12" fmla="*/ 428840 h 1696830"/>
                  <a:gd name="connsiteX13" fmla="*/ 9686695 w 9971676"/>
                  <a:gd name="connsiteY13" fmla="*/ 372868 h 1696830"/>
                  <a:gd name="connsiteX14" fmla="*/ 9971170 w 9971676"/>
                  <a:gd name="connsiteY14" fmla="*/ 15255 h 1696830"/>
                  <a:gd name="connsiteX0" fmla="*/ 0 w 9971676"/>
                  <a:gd name="connsiteY0" fmla="*/ 1550040 h 1696830"/>
                  <a:gd name="connsiteX1" fmla="*/ 386400 w 9971676"/>
                  <a:gd name="connsiteY1" fmla="*/ 1692032 h 1696830"/>
                  <a:gd name="connsiteX2" fmla="*/ 536935 w 9971676"/>
                  <a:gd name="connsiteY2" fmla="*/ 1381929 h 1696830"/>
                  <a:gd name="connsiteX3" fmla="*/ 942484 w 9971676"/>
                  <a:gd name="connsiteY3" fmla="*/ 1673178 h 1696830"/>
                  <a:gd name="connsiteX4" fmla="*/ 1235402 w 9971676"/>
                  <a:gd name="connsiteY4" fmla="*/ 1089993 h 1696830"/>
                  <a:gd name="connsiteX5" fmla="*/ 1631917 w 9971676"/>
                  <a:gd name="connsiteY5" fmla="*/ 1644505 h 1696830"/>
                  <a:gd name="connsiteX6" fmla="*/ 2234545 w 9971676"/>
                  <a:gd name="connsiteY6" fmla="*/ 692790 h 1696830"/>
                  <a:gd name="connsiteX7" fmla="*/ 3047410 w 9971676"/>
                  <a:gd name="connsiteY7" fmla="*/ 1654324 h 1696830"/>
                  <a:gd name="connsiteX8" fmla="*/ 5138001 w 9971676"/>
                  <a:gd name="connsiteY8" fmla="*/ 1116997 h 1696830"/>
                  <a:gd name="connsiteX9" fmla="*/ 6155212 w 9971676"/>
                  <a:gd name="connsiteY9" fmla="*/ 353524 h 1696830"/>
                  <a:gd name="connsiteX10" fmla="*/ 6966801 w 9971676"/>
                  <a:gd name="connsiteY10" fmla="*/ 1022728 h 1696830"/>
                  <a:gd name="connsiteX11" fmla="*/ 8314834 w 9971676"/>
                  <a:gd name="connsiteY11" fmla="*/ 14060 h 1696830"/>
                  <a:gd name="connsiteX12" fmla="*/ 9078405 w 9971676"/>
                  <a:gd name="connsiteY12" fmla="*/ 428840 h 1696830"/>
                  <a:gd name="connsiteX13" fmla="*/ 9686695 w 9971676"/>
                  <a:gd name="connsiteY13" fmla="*/ 372868 h 1696830"/>
                  <a:gd name="connsiteX14" fmla="*/ 9971170 w 9971676"/>
                  <a:gd name="connsiteY14" fmla="*/ 15255 h 1696830"/>
                  <a:gd name="connsiteX0" fmla="*/ 0 w 9971676"/>
                  <a:gd name="connsiteY0" fmla="*/ 1550040 h 1696830"/>
                  <a:gd name="connsiteX1" fmla="*/ 386400 w 9971676"/>
                  <a:gd name="connsiteY1" fmla="*/ 1692032 h 1696830"/>
                  <a:gd name="connsiteX2" fmla="*/ 536935 w 9971676"/>
                  <a:gd name="connsiteY2" fmla="*/ 1381929 h 1696830"/>
                  <a:gd name="connsiteX3" fmla="*/ 942484 w 9971676"/>
                  <a:gd name="connsiteY3" fmla="*/ 1673178 h 1696830"/>
                  <a:gd name="connsiteX4" fmla="*/ 1235402 w 9971676"/>
                  <a:gd name="connsiteY4" fmla="*/ 1089993 h 1696830"/>
                  <a:gd name="connsiteX5" fmla="*/ 1631917 w 9971676"/>
                  <a:gd name="connsiteY5" fmla="*/ 1644505 h 1696830"/>
                  <a:gd name="connsiteX6" fmla="*/ 2234545 w 9971676"/>
                  <a:gd name="connsiteY6" fmla="*/ 692790 h 1696830"/>
                  <a:gd name="connsiteX7" fmla="*/ 3047410 w 9971676"/>
                  <a:gd name="connsiteY7" fmla="*/ 1654324 h 1696830"/>
                  <a:gd name="connsiteX8" fmla="*/ 5138001 w 9971676"/>
                  <a:gd name="connsiteY8" fmla="*/ 1116997 h 1696830"/>
                  <a:gd name="connsiteX9" fmla="*/ 6269512 w 9971676"/>
                  <a:gd name="connsiteY9" fmla="*/ 343999 h 1696830"/>
                  <a:gd name="connsiteX10" fmla="*/ 6966801 w 9971676"/>
                  <a:gd name="connsiteY10" fmla="*/ 1022728 h 1696830"/>
                  <a:gd name="connsiteX11" fmla="*/ 8314834 w 9971676"/>
                  <a:gd name="connsiteY11" fmla="*/ 14060 h 1696830"/>
                  <a:gd name="connsiteX12" fmla="*/ 9078405 w 9971676"/>
                  <a:gd name="connsiteY12" fmla="*/ 428840 h 1696830"/>
                  <a:gd name="connsiteX13" fmla="*/ 9686695 w 9971676"/>
                  <a:gd name="connsiteY13" fmla="*/ 372868 h 1696830"/>
                  <a:gd name="connsiteX14" fmla="*/ 9971170 w 9971676"/>
                  <a:gd name="connsiteY14" fmla="*/ 15255 h 1696830"/>
                  <a:gd name="connsiteX0" fmla="*/ 0 w 9971676"/>
                  <a:gd name="connsiteY0" fmla="*/ 1549290 h 1696080"/>
                  <a:gd name="connsiteX1" fmla="*/ 386400 w 9971676"/>
                  <a:gd name="connsiteY1" fmla="*/ 1691282 h 1696080"/>
                  <a:gd name="connsiteX2" fmla="*/ 536935 w 9971676"/>
                  <a:gd name="connsiteY2" fmla="*/ 1381179 h 1696080"/>
                  <a:gd name="connsiteX3" fmla="*/ 942484 w 9971676"/>
                  <a:gd name="connsiteY3" fmla="*/ 1672428 h 1696080"/>
                  <a:gd name="connsiteX4" fmla="*/ 1235402 w 9971676"/>
                  <a:gd name="connsiteY4" fmla="*/ 1089243 h 1696080"/>
                  <a:gd name="connsiteX5" fmla="*/ 1631917 w 9971676"/>
                  <a:gd name="connsiteY5" fmla="*/ 1643755 h 1696080"/>
                  <a:gd name="connsiteX6" fmla="*/ 2234545 w 9971676"/>
                  <a:gd name="connsiteY6" fmla="*/ 692040 h 1696080"/>
                  <a:gd name="connsiteX7" fmla="*/ 3047410 w 9971676"/>
                  <a:gd name="connsiteY7" fmla="*/ 1653574 h 1696080"/>
                  <a:gd name="connsiteX8" fmla="*/ 5138001 w 9971676"/>
                  <a:gd name="connsiteY8" fmla="*/ 1116247 h 1696080"/>
                  <a:gd name="connsiteX9" fmla="*/ 6269512 w 9971676"/>
                  <a:gd name="connsiteY9" fmla="*/ 343249 h 1696080"/>
                  <a:gd name="connsiteX10" fmla="*/ 6881076 w 9971676"/>
                  <a:gd name="connsiteY10" fmla="*/ 1002928 h 1696080"/>
                  <a:gd name="connsiteX11" fmla="*/ 8314834 w 9971676"/>
                  <a:gd name="connsiteY11" fmla="*/ 13310 h 1696080"/>
                  <a:gd name="connsiteX12" fmla="*/ 9078405 w 9971676"/>
                  <a:gd name="connsiteY12" fmla="*/ 428090 h 1696080"/>
                  <a:gd name="connsiteX13" fmla="*/ 9686695 w 9971676"/>
                  <a:gd name="connsiteY13" fmla="*/ 372118 h 1696080"/>
                  <a:gd name="connsiteX14" fmla="*/ 9971170 w 9971676"/>
                  <a:gd name="connsiteY14" fmla="*/ 14505 h 1696080"/>
                  <a:gd name="connsiteX0" fmla="*/ 0 w 9971676"/>
                  <a:gd name="connsiteY0" fmla="*/ 1549290 h 1696080"/>
                  <a:gd name="connsiteX1" fmla="*/ 386400 w 9971676"/>
                  <a:gd name="connsiteY1" fmla="*/ 1691282 h 1696080"/>
                  <a:gd name="connsiteX2" fmla="*/ 536935 w 9971676"/>
                  <a:gd name="connsiteY2" fmla="*/ 1381179 h 1696080"/>
                  <a:gd name="connsiteX3" fmla="*/ 942484 w 9971676"/>
                  <a:gd name="connsiteY3" fmla="*/ 1672428 h 1696080"/>
                  <a:gd name="connsiteX4" fmla="*/ 1235402 w 9971676"/>
                  <a:gd name="connsiteY4" fmla="*/ 1089243 h 1696080"/>
                  <a:gd name="connsiteX5" fmla="*/ 1631917 w 9971676"/>
                  <a:gd name="connsiteY5" fmla="*/ 1643755 h 1696080"/>
                  <a:gd name="connsiteX6" fmla="*/ 2127810 w 9971676"/>
                  <a:gd name="connsiteY6" fmla="*/ 682515 h 1696080"/>
                  <a:gd name="connsiteX7" fmla="*/ 3047410 w 9971676"/>
                  <a:gd name="connsiteY7" fmla="*/ 1653574 h 1696080"/>
                  <a:gd name="connsiteX8" fmla="*/ 5138001 w 9971676"/>
                  <a:gd name="connsiteY8" fmla="*/ 1116247 h 1696080"/>
                  <a:gd name="connsiteX9" fmla="*/ 6269512 w 9971676"/>
                  <a:gd name="connsiteY9" fmla="*/ 343249 h 1696080"/>
                  <a:gd name="connsiteX10" fmla="*/ 6881076 w 9971676"/>
                  <a:gd name="connsiteY10" fmla="*/ 1002928 h 1696080"/>
                  <a:gd name="connsiteX11" fmla="*/ 8314834 w 9971676"/>
                  <a:gd name="connsiteY11" fmla="*/ 13310 h 1696080"/>
                  <a:gd name="connsiteX12" fmla="*/ 9078405 w 9971676"/>
                  <a:gd name="connsiteY12" fmla="*/ 428090 h 1696080"/>
                  <a:gd name="connsiteX13" fmla="*/ 9686695 w 9971676"/>
                  <a:gd name="connsiteY13" fmla="*/ 372118 h 1696080"/>
                  <a:gd name="connsiteX14" fmla="*/ 9971170 w 9971676"/>
                  <a:gd name="connsiteY14" fmla="*/ 14505 h 1696080"/>
                  <a:gd name="connsiteX0" fmla="*/ 0 w 10049302"/>
                  <a:gd name="connsiteY0" fmla="*/ 1463565 h 1692057"/>
                  <a:gd name="connsiteX1" fmla="*/ 464026 w 10049302"/>
                  <a:gd name="connsiteY1" fmla="*/ 1691282 h 1692057"/>
                  <a:gd name="connsiteX2" fmla="*/ 614561 w 10049302"/>
                  <a:gd name="connsiteY2" fmla="*/ 1381179 h 1692057"/>
                  <a:gd name="connsiteX3" fmla="*/ 1020110 w 10049302"/>
                  <a:gd name="connsiteY3" fmla="*/ 1672428 h 1692057"/>
                  <a:gd name="connsiteX4" fmla="*/ 1313028 w 10049302"/>
                  <a:gd name="connsiteY4" fmla="*/ 1089243 h 1692057"/>
                  <a:gd name="connsiteX5" fmla="*/ 1709543 w 10049302"/>
                  <a:gd name="connsiteY5" fmla="*/ 1643755 h 1692057"/>
                  <a:gd name="connsiteX6" fmla="*/ 2205436 w 10049302"/>
                  <a:gd name="connsiteY6" fmla="*/ 682515 h 1692057"/>
                  <a:gd name="connsiteX7" fmla="*/ 3125036 w 10049302"/>
                  <a:gd name="connsiteY7" fmla="*/ 1653574 h 1692057"/>
                  <a:gd name="connsiteX8" fmla="*/ 5215627 w 10049302"/>
                  <a:gd name="connsiteY8" fmla="*/ 1116247 h 1692057"/>
                  <a:gd name="connsiteX9" fmla="*/ 6347138 w 10049302"/>
                  <a:gd name="connsiteY9" fmla="*/ 343249 h 1692057"/>
                  <a:gd name="connsiteX10" fmla="*/ 6958702 w 10049302"/>
                  <a:gd name="connsiteY10" fmla="*/ 1002928 h 1692057"/>
                  <a:gd name="connsiteX11" fmla="*/ 8392460 w 10049302"/>
                  <a:gd name="connsiteY11" fmla="*/ 13310 h 1692057"/>
                  <a:gd name="connsiteX12" fmla="*/ 9156031 w 10049302"/>
                  <a:gd name="connsiteY12" fmla="*/ 428090 h 1692057"/>
                  <a:gd name="connsiteX13" fmla="*/ 9764321 w 10049302"/>
                  <a:gd name="connsiteY13" fmla="*/ 372118 h 1692057"/>
                  <a:gd name="connsiteX14" fmla="*/ 10048796 w 10049302"/>
                  <a:gd name="connsiteY14" fmla="*/ 14505 h 1692057"/>
                  <a:gd name="connsiteX0" fmla="*/ 0 w 10049302"/>
                  <a:gd name="connsiteY0" fmla="*/ 1463565 h 1711034"/>
                  <a:gd name="connsiteX1" fmla="*/ 366993 w 10049302"/>
                  <a:gd name="connsiteY1" fmla="*/ 1710332 h 1711034"/>
                  <a:gd name="connsiteX2" fmla="*/ 614561 w 10049302"/>
                  <a:gd name="connsiteY2" fmla="*/ 1381179 h 1711034"/>
                  <a:gd name="connsiteX3" fmla="*/ 1020110 w 10049302"/>
                  <a:gd name="connsiteY3" fmla="*/ 1672428 h 1711034"/>
                  <a:gd name="connsiteX4" fmla="*/ 1313028 w 10049302"/>
                  <a:gd name="connsiteY4" fmla="*/ 1089243 h 1711034"/>
                  <a:gd name="connsiteX5" fmla="*/ 1709543 w 10049302"/>
                  <a:gd name="connsiteY5" fmla="*/ 1643755 h 1711034"/>
                  <a:gd name="connsiteX6" fmla="*/ 2205436 w 10049302"/>
                  <a:gd name="connsiteY6" fmla="*/ 682515 h 1711034"/>
                  <a:gd name="connsiteX7" fmla="*/ 3125036 w 10049302"/>
                  <a:gd name="connsiteY7" fmla="*/ 1653574 h 1711034"/>
                  <a:gd name="connsiteX8" fmla="*/ 5215627 w 10049302"/>
                  <a:gd name="connsiteY8" fmla="*/ 1116247 h 1711034"/>
                  <a:gd name="connsiteX9" fmla="*/ 6347138 w 10049302"/>
                  <a:gd name="connsiteY9" fmla="*/ 343249 h 1711034"/>
                  <a:gd name="connsiteX10" fmla="*/ 6958702 w 10049302"/>
                  <a:gd name="connsiteY10" fmla="*/ 1002928 h 1711034"/>
                  <a:gd name="connsiteX11" fmla="*/ 8392460 w 10049302"/>
                  <a:gd name="connsiteY11" fmla="*/ 13310 h 1711034"/>
                  <a:gd name="connsiteX12" fmla="*/ 9156031 w 10049302"/>
                  <a:gd name="connsiteY12" fmla="*/ 428090 h 1711034"/>
                  <a:gd name="connsiteX13" fmla="*/ 9764321 w 10049302"/>
                  <a:gd name="connsiteY13" fmla="*/ 372118 h 1711034"/>
                  <a:gd name="connsiteX14" fmla="*/ 10048796 w 10049302"/>
                  <a:gd name="connsiteY14" fmla="*/ 14505 h 1711034"/>
                  <a:gd name="connsiteX0" fmla="*/ 0 w 10039599"/>
                  <a:gd name="connsiteY0" fmla="*/ 1434990 h 1710604"/>
                  <a:gd name="connsiteX1" fmla="*/ 357290 w 10039599"/>
                  <a:gd name="connsiteY1" fmla="*/ 1710332 h 1710604"/>
                  <a:gd name="connsiteX2" fmla="*/ 604858 w 10039599"/>
                  <a:gd name="connsiteY2" fmla="*/ 1381179 h 1710604"/>
                  <a:gd name="connsiteX3" fmla="*/ 1010407 w 10039599"/>
                  <a:gd name="connsiteY3" fmla="*/ 1672428 h 1710604"/>
                  <a:gd name="connsiteX4" fmla="*/ 1303325 w 10039599"/>
                  <a:gd name="connsiteY4" fmla="*/ 1089243 h 1710604"/>
                  <a:gd name="connsiteX5" fmla="*/ 1699840 w 10039599"/>
                  <a:gd name="connsiteY5" fmla="*/ 1643755 h 1710604"/>
                  <a:gd name="connsiteX6" fmla="*/ 2195733 w 10039599"/>
                  <a:gd name="connsiteY6" fmla="*/ 682515 h 1710604"/>
                  <a:gd name="connsiteX7" fmla="*/ 3115333 w 10039599"/>
                  <a:gd name="connsiteY7" fmla="*/ 1653574 h 1710604"/>
                  <a:gd name="connsiteX8" fmla="*/ 5205924 w 10039599"/>
                  <a:gd name="connsiteY8" fmla="*/ 1116247 h 1710604"/>
                  <a:gd name="connsiteX9" fmla="*/ 6337435 w 10039599"/>
                  <a:gd name="connsiteY9" fmla="*/ 343249 h 1710604"/>
                  <a:gd name="connsiteX10" fmla="*/ 6948999 w 10039599"/>
                  <a:gd name="connsiteY10" fmla="*/ 1002928 h 1710604"/>
                  <a:gd name="connsiteX11" fmla="*/ 8382757 w 10039599"/>
                  <a:gd name="connsiteY11" fmla="*/ 13310 h 1710604"/>
                  <a:gd name="connsiteX12" fmla="*/ 9146328 w 10039599"/>
                  <a:gd name="connsiteY12" fmla="*/ 428090 h 1710604"/>
                  <a:gd name="connsiteX13" fmla="*/ 9754618 w 10039599"/>
                  <a:gd name="connsiteY13" fmla="*/ 372118 h 1710604"/>
                  <a:gd name="connsiteX14" fmla="*/ 10039093 w 10039599"/>
                  <a:gd name="connsiteY14" fmla="*/ 14505 h 1710604"/>
                  <a:gd name="connsiteX0" fmla="*/ 0 w 10039599"/>
                  <a:gd name="connsiteY0" fmla="*/ 1434990 h 1710771"/>
                  <a:gd name="connsiteX1" fmla="*/ 357290 w 10039599"/>
                  <a:gd name="connsiteY1" fmla="*/ 1710332 h 1710771"/>
                  <a:gd name="connsiteX2" fmla="*/ 604858 w 10039599"/>
                  <a:gd name="connsiteY2" fmla="*/ 1381179 h 1710771"/>
                  <a:gd name="connsiteX3" fmla="*/ 1010407 w 10039599"/>
                  <a:gd name="connsiteY3" fmla="*/ 1672428 h 1710771"/>
                  <a:gd name="connsiteX4" fmla="*/ 1303325 w 10039599"/>
                  <a:gd name="connsiteY4" fmla="*/ 1089243 h 1710771"/>
                  <a:gd name="connsiteX5" fmla="*/ 1699840 w 10039599"/>
                  <a:gd name="connsiteY5" fmla="*/ 1643755 h 1710771"/>
                  <a:gd name="connsiteX6" fmla="*/ 2195733 w 10039599"/>
                  <a:gd name="connsiteY6" fmla="*/ 682515 h 1710771"/>
                  <a:gd name="connsiteX7" fmla="*/ 3115333 w 10039599"/>
                  <a:gd name="connsiteY7" fmla="*/ 1653574 h 1710771"/>
                  <a:gd name="connsiteX8" fmla="*/ 5205924 w 10039599"/>
                  <a:gd name="connsiteY8" fmla="*/ 1116247 h 1710771"/>
                  <a:gd name="connsiteX9" fmla="*/ 6337435 w 10039599"/>
                  <a:gd name="connsiteY9" fmla="*/ 343249 h 1710771"/>
                  <a:gd name="connsiteX10" fmla="*/ 6948999 w 10039599"/>
                  <a:gd name="connsiteY10" fmla="*/ 1002928 h 1710771"/>
                  <a:gd name="connsiteX11" fmla="*/ 8382757 w 10039599"/>
                  <a:gd name="connsiteY11" fmla="*/ 13310 h 1710771"/>
                  <a:gd name="connsiteX12" fmla="*/ 9146328 w 10039599"/>
                  <a:gd name="connsiteY12" fmla="*/ 428090 h 1710771"/>
                  <a:gd name="connsiteX13" fmla="*/ 9754618 w 10039599"/>
                  <a:gd name="connsiteY13" fmla="*/ 372118 h 1710771"/>
                  <a:gd name="connsiteX14" fmla="*/ 10039093 w 10039599"/>
                  <a:gd name="connsiteY14" fmla="*/ 14505 h 1710771"/>
                  <a:gd name="connsiteX0" fmla="*/ 0 w 10039599"/>
                  <a:gd name="connsiteY0" fmla="*/ 1434990 h 1710928"/>
                  <a:gd name="connsiteX1" fmla="*/ 357290 w 10039599"/>
                  <a:gd name="connsiteY1" fmla="*/ 1710332 h 1710928"/>
                  <a:gd name="connsiteX2" fmla="*/ 478716 w 10039599"/>
                  <a:gd name="connsiteY2" fmla="*/ 1371654 h 1710928"/>
                  <a:gd name="connsiteX3" fmla="*/ 1010407 w 10039599"/>
                  <a:gd name="connsiteY3" fmla="*/ 1672428 h 1710928"/>
                  <a:gd name="connsiteX4" fmla="*/ 1303325 w 10039599"/>
                  <a:gd name="connsiteY4" fmla="*/ 1089243 h 1710928"/>
                  <a:gd name="connsiteX5" fmla="*/ 1699840 w 10039599"/>
                  <a:gd name="connsiteY5" fmla="*/ 1643755 h 1710928"/>
                  <a:gd name="connsiteX6" fmla="*/ 2195733 w 10039599"/>
                  <a:gd name="connsiteY6" fmla="*/ 682515 h 1710928"/>
                  <a:gd name="connsiteX7" fmla="*/ 3115333 w 10039599"/>
                  <a:gd name="connsiteY7" fmla="*/ 1653574 h 1710928"/>
                  <a:gd name="connsiteX8" fmla="*/ 5205924 w 10039599"/>
                  <a:gd name="connsiteY8" fmla="*/ 1116247 h 1710928"/>
                  <a:gd name="connsiteX9" fmla="*/ 6337435 w 10039599"/>
                  <a:gd name="connsiteY9" fmla="*/ 343249 h 1710928"/>
                  <a:gd name="connsiteX10" fmla="*/ 6948999 w 10039599"/>
                  <a:gd name="connsiteY10" fmla="*/ 1002928 h 1710928"/>
                  <a:gd name="connsiteX11" fmla="*/ 8382757 w 10039599"/>
                  <a:gd name="connsiteY11" fmla="*/ 13310 h 1710928"/>
                  <a:gd name="connsiteX12" fmla="*/ 9146328 w 10039599"/>
                  <a:gd name="connsiteY12" fmla="*/ 428090 h 1710928"/>
                  <a:gd name="connsiteX13" fmla="*/ 9754618 w 10039599"/>
                  <a:gd name="connsiteY13" fmla="*/ 372118 h 1710928"/>
                  <a:gd name="connsiteX14" fmla="*/ 10039093 w 10039599"/>
                  <a:gd name="connsiteY14" fmla="*/ 14505 h 1710928"/>
                  <a:gd name="connsiteX0" fmla="*/ 0 w 10039599"/>
                  <a:gd name="connsiteY0" fmla="*/ 1434990 h 1710928"/>
                  <a:gd name="connsiteX1" fmla="*/ 357290 w 10039599"/>
                  <a:gd name="connsiteY1" fmla="*/ 1710332 h 1710928"/>
                  <a:gd name="connsiteX2" fmla="*/ 478716 w 10039599"/>
                  <a:gd name="connsiteY2" fmla="*/ 1371654 h 1710928"/>
                  <a:gd name="connsiteX3" fmla="*/ 1010407 w 10039599"/>
                  <a:gd name="connsiteY3" fmla="*/ 1672428 h 1710928"/>
                  <a:gd name="connsiteX4" fmla="*/ 1215996 w 10039599"/>
                  <a:gd name="connsiteY4" fmla="*/ 1165443 h 1710928"/>
                  <a:gd name="connsiteX5" fmla="*/ 1699840 w 10039599"/>
                  <a:gd name="connsiteY5" fmla="*/ 1643755 h 1710928"/>
                  <a:gd name="connsiteX6" fmla="*/ 2195733 w 10039599"/>
                  <a:gd name="connsiteY6" fmla="*/ 682515 h 1710928"/>
                  <a:gd name="connsiteX7" fmla="*/ 3115333 w 10039599"/>
                  <a:gd name="connsiteY7" fmla="*/ 1653574 h 1710928"/>
                  <a:gd name="connsiteX8" fmla="*/ 5205924 w 10039599"/>
                  <a:gd name="connsiteY8" fmla="*/ 1116247 h 1710928"/>
                  <a:gd name="connsiteX9" fmla="*/ 6337435 w 10039599"/>
                  <a:gd name="connsiteY9" fmla="*/ 343249 h 1710928"/>
                  <a:gd name="connsiteX10" fmla="*/ 6948999 w 10039599"/>
                  <a:gd name="connsiteY10" fmla="*/ 1002928 h 1710928"/>
                  <a:gd name="connsiteX11" fmla="*/ 8382757 w 10039599"/>
                  <a:gd name="connsiteY11" fmla="*/ 13310 h 1710928"/>
                  <a:gd name="connsiteX12" fmla="*/ 9146328 w 10039599"/>
                  <a:gd name="connsiteY12" fmla="*/ 428090 h 1710928"/>
                  <a:gd name="connsiteX13" fmla="*/ 9754618 w 10039599"/>
                  <a:gd name="connsiteY13" fmla="*/ 372118 h 1710928"/>
                  <a:gd name="connsiteX14" fmla="*/ 10039093 w 10039599"/>
                  <a:gd name="connsiteY14" fmla="*/ 14505 h 1710928"/>
                  <a:gd name="connsiteX0" fmla="*/ 0 w 10039599"/>
                  <a:gd name="connsiteY0" fmla="*/ 1434990 h 1722244"/>
                  <a:gd name="connsiteX1" fmla="*/ 357290 w 10039599"/>
                  <a:gd name="connsiteY1" fmla="*/ 1710332 h 1722244"/>
                  <a:gd name="connsiteX2" fmla="*/ 478716 w 10039599"/>
                  <a:gd name="connsiteY2" fmla="*/ 1371654 h 1722244"/>
                  <a:gd name="connsiteX3" fmla="*/ 903672 w 10039599"/>
                  <a:gd name="connsiteY3" fmla="*/ 1720053 h 1722244"/>
                  <a:gd name="connsiteX4" fmla="*/ 1215996 w 10039599"/>
                  <a:gd name="connsiteY4" fmla="*/ 1165443 h 1722244"/>
                  <a:gd name="connsiteX5" fmla="*/ 1699840 w 10039599"/>
                  <a:gd name="connsiteY5" fmla="*/ 1643755 h 1722244"/>
                  <a:gd name="connsiteX6" fmla="*/ 2195733 w 10039599"/>
                  <a:gd name="connsiteY6" fmla="*/ 682515 h 1722244"/>
                  <a:gd name="connsiteX7" fmla="*/ 3115333 w 10039599"/>
                  <a:gd name="connsiteY7" fmla="*/ 1653574 h 1722244"/>
                  <a:gd name="connsiteX8" fmla="*/ 5205924 w 10039599"/>
                  <a:gd name="connsiteY8" fmla="*/ 1116247 h 1722244"/>
                  <a:gd name="connsiteX9" fmla="*/ 6337435 w 10039599"/>
                  <a:gd name="connsiteY9" fmla="*/ 343249 h 1722244"/>
                  <a:gd name="connsiteX10" fmla="*/ 6948999 w 10039599"/>
                  <a:gd name="connsiteY10" fmla="*/ 1002928 h 1722244"/>
                  <a:gd name="connsiteX11" fmla="*/ 8382757 w 10039599"/>
                  <a:gd name="connsiteY11" fmla="*/ 13310 h 1722244"/>
                  <a:gd name="connsiteX12" fmla="*/ 9146328 w 10039599"/>
                  <a:gd name="connsiteY12" fmla="*/ 428090 h 1722244"/>
                  <a:gd name="connsiteX13" fmla="*/ 9754618 w 10039599"/>
                  <a:gd name="connsiteY13" fmla="*/ 372118 h 1722244"/>
                  <a:gd name="connsiteX14" fmla="*/ 10039093 w 10039599"/>
                  <a:gd name="connsiteY14" fmla="*/ 14505 h 1722244"/>
                  <a:gd name="connsiteX0" fmla="*/ 0 w 10039599"/>
                  <a:gd name="connsiteY0" fmla="*/ 1434990 h 1722244"/>
                  <a:gd name="connsiteX1" fmla="*/ 357290 w 10039599"/>
                  <a:gd name="connsiteY1" fmla="*/ 1710332 h 1722244"/>
                  <a:gd name="connsiteX2" fmla="*/ 478716 w 10039599"/>
                  <a:gd name="connsiteY2" fmla="*/ 1371654 h 1722244"/>
                  <a:gd name="connsiteX3" fmla="*/ 903672 w 10039599"/>
                  <a:gd name="connsiteY3" fmla="*/ 1720053 h 1722244"/>
                  <a:gd name="connsiteX4" fmla="*/ 1215996 w 10039599"/>
                  <a:gd name="connsiteY4" fmla="*/ 1165443 h 1722244"/>
                  <a:gd name="connsiteX5" fmla="*/ 1583401 w 10039599"/>
                  <a:gd name="connsiteY5" fmla="*/ 1634230 h 1722244"/>
                  <a:gd name="connsiteX6" fmla="*/ 2195733 w 10039599"/>
                  <a:gd name="connsiteY6" fmla="*/ 682515 h 1722244"/>
                  <a:gd name="connsiteX7" fmla="*/ 3115333 w 10039599"/>
                  <a:gd name="connsiteY7" fmla="*/ 1653574 h 1722244"/>
                  <a:gd name="connsiteX8" fmla="*/ 5205924 w 10039599"/>
                  <a:gd name="connsiteY8" fmla="*/ 1116247 h 1722244"/>
                  <a:gd name="connsiteX9" fmla="*/ 6337435 w 10039599"/>
                  <a:gd name="connsiteY9" fmla="*/ 343249 h 1722244"/>
                  <a:gd name="connsiteX10" fmla="*/ 6948999 w 10039599"/>
                  <a:gd name="connsiteY10" fmla="*/ 1002928 h 1722244"/>
                  <a:gd name="connsiteX11" fmla="*/ 8382757 w 10039599"/>
                  <a:gd name="connsiteY11" fmla="*/ 13310 h 1722244"/>
                  <a:gd name="connsiteX12" fmla="*/ 9146328 w 10039599"/>
                  <a:gd name="connsiteY12" fmla="*/ 428090 h 1722244"/>
                  <a:gd name="connsiteX13" fmla="*/ 9754618 w 10039599"/>
                  <a:gd name="connsiteY13" fmla="*/ 372118 h 1722244"/>
                  <a:gd name="connsiteX14" fmla="*/ 10039093 w 10039599"/>
                  <a:gd name="connsiteY14" fmla="*/ 14505 h 1722244"/>
                  <a:gd name="connsiteX0" fmla="*/ 0 w 10040822"/>
                  <a:gd name="connsiteY0" fmla="*/ 1434990 h 1722244"/>
                  <a:gd name="connsiteX1" fmla="*/ 357290 w 10040822"/>
                  <a:gd name="connsiteY1" fmla="*/ 1710332 h 1722244"/>
                  <a:gd name="connsiteX2" fmla="*/ 478716 w 10040822"/>
                  <a:gd name="connsiteY2" fmla="*/ 1371654 h 1722244"/>
                  <a:gd name="connsiteX3" fmla="*/ 903672 w 10040822"/>
                  <a:gd name="connsiteY3" fmla="*/ 1720053 h 1722244"/>
                  <a:gd name="connsiteX4" fmla="*/ 1215996 w 10040822"/>
                  <a:gd name="connsiteY4" fmla="*/ 1165443 h 1722244"/>
                  <a:gd name="connsiteX5" fmla="*/ 1583401 w 10040822"/>
                  <a:gd name="connsiteY5" fmla="*/ 1634230 h 1722244"/>
                  <a:gd name="connsiteX6" fmla="*/ 2195733 w 10040822"/>
                  <a:gd name="connsiteY6" fmla="*/ 682515 h 1722244"/>
                  <a:gd name="connsiteX7" fmla="*/ 3115333 w 10040822"/>
                  <a:gd name="connsiteY7" fmla="*/ 1653574 h 1722244"/>
                  <a:gd name="connsiteX8" fmla="*/ 5205924 w 10040822"/>
                  <a:gd name="connsiteY8" fmla="*/ 1116247 h 1722244"/>
                  <a:gd name="connsiteX9" fmla="*/ 6337435 w 10040822"/>
                  <a:gd name="connsiteY9" fmla="*/ 343249 h 1722244"/>
                  <a:gd name="connsiteX10" fmla="*/ 6948999 w 10040822"/>
                  <a:gd name="connsiteY10" fmla="*/ 1002928 h 1722244"/>
                  <a:gd name="connsiteX11" fmla="*/ 8382757 w 10040822"/>
                  <a:gd name="connsiteY11" fmla="*/ 13310 h 1722244"/>
                  <a:gd name="connsiteX12" fmla="*/ 9146328 w 10040822"/>
                  <a:gd name="connsiteY12" fmla="*/ 428090 h 1722244"/>
                  <a:gd name="connsiteX13" fmla="*/ 9754618 w 10040822"/>
                  <a:gd name="connsiteY13" fmla="*/ 372118 h 1722244"/>
                  <a:gd name="connsiteX14" fmla="*/ 10039093 w 10040822"/>
                  <a:gd name="connsiteY14" fmla="*/ 14505 h 1722244"/>
                  <a:gd name="connsiteX0" fmla="*/ 0 w 10039093"/>
                  <a:gd name="connsiteY0" fmla="*/ 1434990 h 1722244"/>
                  <a:gd name="connsiteX1" fmla="*/ 357290 w 10039093"/>
                  <a:gd name="connsiteY1" fmla="*/ 1710332 h 1722244"/>
                  <a:gd name="connsiteX2" fmla="*/ 478716 w 10039093"/>
                  <a:gd name="connsiteY2" fmla="*/ 1371654 h 1722244"/>
                  <a:gd name="connsiteX3" fmla="*/ 903672 w 10039093"/>
                  <a:gd name="connsiteY3" fmla="*/ 1720053 h 1722244"/>
                  <a:gd name="connsiteX4" fmla="*/ 1215996 w 10039093"/>
                  <a:gd name="connsiteY4" fmla="*/ 1165443 h 1722244"/>
                  <a:gd name="connsiteX5" fmla="*/ 1583401 w 10039093"/>
                  <a:gd name="connsiteY5" fmla="*/ 1634230 h 1722244"/>
                  <a:gd name="connsiteX6" fmla="*/ 2195733 w 10039093"/>
                  <a:gd name="connsiteY6" fmla="*/ 682515 h 1722244"/>
                  <a:gd name="connsiteX7" fmla="*/ 3115333 w 10039093"/>
                  <a:gd name="connsiteY7" fmla="*/ 1653574 h 1722244"/>
                  <a:gd name="connsiteX8" fmla="*/ 5205924 w 10039093"/>
                  <a:gd name="connsiteY8" fmla="*/ 1116247 h 1722244"/>
                  <a:gd name="connsiteX9" fmla="*/ 6337435 w 10039093"/>
                  <a:gd name="connsiteY9" fmla="*/ 343249 h 1722244"/>
                  <a:gd name="connsiteX10" fmla="*/ 6948999 w 10039093"/>
                  <a:gd name="connsiteY10" fmla="*/ 1002928 h 1722244"/>
                  <a:gd name="connsiteX11" fmla="*/ 8382757 w 10039093"/>
                  <a:gd name="connsiteY11" fmla="*/ 13310 h 1722244"/>
                  <a:gd name="connsiteX12" fmla="*/ 9146328 w 10039093"/>
                  <a:gd name="connsiteY12" fmla="*/ 428090 h 1722244"/>
                  <a:gd name="connsiteX13" fmla="*/ 9754618 w 10039093"/>
                  <a:gd name="connsiteY13" fmla="*/ 372118 h 1722244"/>
                  <a:gd name="connsiteX14" fmla="*/ 10039093 w 10039093"/>
                  <a:gd name="connsiteY14" fmla="*/ 14505 h 1722244"/>
                  <a:gd name="connsiteX0" fmla="*/ 0 w 10039599"/>
                  <a:gd name="connsiteY0" fmla="*/ 1434990 h 1722244"/>
                  <a:gd name="connsiteX1" fmla="*/ 357290 w 10039599"/>
                  <a:gd name="connsiteY1" fmla="*/ 1710332 h 1722244"/>
                  <a:gd name="connsiteX2" fmla="*/ 478716 w 10039599"/>
                  <a:gd name="connsiteY2" fmla="*/ 1371654 h 1722244"/>
                  <a:gd name="connsiteX3" fmla="*/ 903672 w 10039599"/>
                  <a:gd name="connsiteY3" fmla="*/ 1720053 h 1722244"/>
                  <a:gd name="connsiteX4" fmla="*/ 1215996 w 10039599"/>
                  <a:gd name="connsiteY4" fmla="*/ 1165443 h 1722244"/>
                  <a:gd name="connsiteX5" fmla="*/ 1583401 w 10039599"/>
                  <a:gd name="connsiteY5" fmla="*/ 1634230 h 1722244"/>
                  <a:gd name="connsiteX6" fmla="*/ 2195733 w 10039599"/>
                  <a:gd name="connsiteY6" fmla="*/ 682515 h 1722244"/>
                  <a:gd name="connsiteX7" fmla="*/ 3115333 w 10039599"/>
                  <a:gd name="connsiteY7" fmla="*/ 1653574 h 1722244"/>
                  <a:gd name="connsiteX8" fmla="*/ 5205924 w 10039599"/>
                  <a:gd name="connsiteY8" fmla="*/ 1116247 h 1722244"/>
                  <a:gd name="connsiteX9" fmla="*/ 6337435 w 10039599"/>
                  <a:gd name="connsiteY9" fmla="*/ 343249 h 1722244"/>
                  <a:gd name="connsiteX10" fmla="*/ 6948999 w 10039599"/>
                  <a:gd name="connsiteY10" fmla="*/ 1002928 h 1722244"/>
                  <a:gd name="connsiteX11" fmla="*/ 8382757 w 10039599"/>
                  <a:gd name="connsiteY11" fmla="*/ 13310 h 1722244"/>
                  <a:gd name="connsiteX12" fmla="*/ 9146328 w 10039599"/>
                  <a:gd name="connsiteY12" fmla="*/ 428090 h 1722244"/>
                  <a:gd name="connsiteX13" fmla="*/ 9754618 w 10039599"/>
                  <a:gd name="connsiteY13" fmla="*/ 372118 h 1722244"/>
                  <a:gd name="connsiteX14" fmla="*/ 10039093 w 10039599"/>
                  <a:gd name="connsiteY14" fmla="*/ 14505 h 1722244"/>
                  <a:gd name="connsiteX0" fmla="*/ 0 w 10039599"/>
                  <a:gd name="connsiteY0" fmla="*/ 1434990 h 1722244"/>
                  <a:gd name="connsiteX1" fmla="*/ 357290 w 10039599"/>
                  <a:gd name="connsiteY1" fmla="*/ 1710332 h 1722244"/>
                  <a:gd name="connsiteX2" fmla="*/ 478716 w 10039599"/>
                  <a:gd name="connsiteY2" fmla="*/ 1371654 h 1722244"/>
                  <a:gd name="connsiteX3" fmla="*/ 903672 w 10039599"/>
                  <a:gd name="connsiteY3" fmla="*/ 1720053 h 1722244"/>
                  <a:gd name="connsiteX4" fmla="*/ 1215996 w 10039599"/>
                  <a:gd name="connsiteY4" fmla="*/ 1165443 h 1722244"/>
                  <a:gd name="connsiteX5" fmla="*/ 1583401 w 10039599"/>
                  <a:gd name="connsiteY5" fmla="*/ 1634230 h 1722244"/>
                  <a:gd name="connsiteX6" fmla="*/ 2190054 w 10039599"/>
                  <a:gd name="connsiteY6" fmla="*/ 923899 h 1722244"/>
                  <a:gd name="connsiteX7" fmla="*/ 3115333 w 10039599"/>
                  <a:gd name="connsiteY7" fmla="*/ 1653574 h 1722244"/>
                  <a:gd name="connsiteX8" fmla="*/ 5205924 w 10039599"/>
                  <a:gd name="connsiteY8" fmla="*/ 1116247 h 1722244"/>
                  <a:gd name="connsiteX9" fmla="*/ 6337435 w 10039599"/>
                  <a:gd name="connsiteY9" fmla="*/ 343249 h 1722244"/>
                  <a:gd name="connsiteX10" fmla="*/ 6948999 w 10039599"/>
                  <a:gd name="connsiteY10" fmla="*/ 1002928 h 1722244"/>
                  <a:gd name="connsiteX11" fmla="*/ 8382757 w 10039599"/>
                  <a:gd name="connsiteY11" fmla="*/ 13310 h 1722244"/>
                  <a:gd name="connsiteX12" fmla="*/ 9146328 w 10039599"/>
                  <a:gd name="connsiteY12" fmla="*/ 428090 h 1722244"/>
                  <a:gd name="connsiteX13" fmla="*/ 9754618 w 10039599"/>
                  <a:gd name="connsiteY13" fmla="*/ 372118 h 1722244"/>
                  <a:gd name="connsiteX14" fmla="*/ 10039093 w 10039599"/>
                  <a:gd name="connsiteY14" fmla="*/ 14505 h 1722244"/>
                  <a:gd name="connsiteX0" fmla="*/ 0 w 10039599"/>
                  <a:gd name="connsiteY0" fmla="*/ 1434990 h 1720147"/>
                  <a:gd name="connsiteX1" fmla="*/ 357290 w 10039599"/>
                  <a:gd name="connsiteY1" fmla="*/ 1710332 h 1720147"/>
                  <a:gd name="connsiteX2" fmla="*/ 478716 w 10039599"/>
                  <a:gd name="connsiteY2" fmla="*/ 1371654 h 1720147"/>
                  <a:gd name="connsiteX3" fmla="*/ 903672 w 10039599"/>
                  <a:gd name="connsiteY3" fmla="*/ 1720053 h 1720147"/>
                  <a:gd name="connsiteX4" fmla="*/ 1210317 w 10039599"/>
                  <a:gd name="connsiteY4" fmla="*/ 1331395 h 1720147"/>
                  <a:gd name="connsiteX5" fmla="*/ 1583401 w 10039599"/>
                  <a:gd name="connsiteY5" fmla="*/ 1634230 h 1720147"/>
                  <a:gd name="connsiteX6" fmla="*/ 2190054 w 10039599"/>
                  <a:gd name="connsiteY6" fmla="*/ 923899 h 1720147"/>
                  <a:gd name="connsiteX7" fmla="*/ 3115333 w 10039599"/>
                  <a:gd name="connsiteY7" fmla="*/ 1653574 h 1720147"/>
                  <a:gd name="connsiteX8" fmla="*/ 5205924 w 10039599"/>
                  <a:gd name="connsiteY8" fmla="*/ 1116247 h 1720147"/>
                  <a:gd name="connsiteX9" fmla="*/ 6337435 w 10039599"/>
                  <a:gd name="connsiteY9" fmla="*/ 343249 h 1720147"/>
                  <a:gd name="connsiteX10" fmla="*/ 6948999 w 10039599"/>
                  <a:gd name="connsiteY10" fmla="*/ 1002928 h 1720147"/>
                  <a:gd name="connsiteX11" fmla="*/ 8382757 w 10039599"/>
                  <a:gd name="connsiteY11" fmla="*/ 13310 h 1720147"/>
                  <a:gd name="connsiteX12" fmla="*/ 9146328 w 10039599"/>
                  <a:gd name="connsiteY12" fmla="*/ 428090 h 1720147"/>
                  <a:gd name="connsiteX13" fmla="*/ 9754618 w 10039599"/>
                  <a:gd name="connsiteY13" fmla="*/ 372118 h 1720147"/>
                  <a:gd name="connsiteX14" fmla="*/ 10039093 w 10039599"/>
                  <a:gd name="connsiteY14" fmla="*/ 14505 h 1720147"/>
                  <a:gd name="connsiteX0" fmla="*/ 0 w 10039599"/>
                  <a:gd name="connsiteY0" fmla="*/ 1434990 h 1720147"/>
                  <a:gd name="connsiteX1" fmla="*/ 357290 w 10039599"/>
                  <a:gd name="connsiteY1" fmla="*/ 1710332 h 1720147"/>
                  <a:gd name="connsiteX2" fmla="*/ 478716 w 10039599"/>
                  <a:gd name="connsiteY2" fmla="*/ 1371654 h 1720147"/>
                  <a:gd name="connsiteX3" fmla="*/ 903672 w 10039599"/>
                  <a:gd name="connsiteY3" fmla="*/ 1720053 h 1720147"/>
                  <a:gd name="connsiteX4" fmla="*/ 1210317 w 10039599"/>
                  <a:gd name="connsiteY4" fmla="*/ 1331395 h 1720147"/>
                  <a:gd name="connsiteX5" fmla="*/ 1583401 w 10039599"/>
                  <a:gd name="connsiteY5" fmla="*/ 1634230 h 1720147"/>
                  <a:gd name="connsiteX6" fmla="*/ 2167336 w 10039599"/>
                  <a:gd name="connsiteY6" fmla="*/ 1059677 h 1720147"/>
                  <a:gd name="connsiteX7" fmla="*/ 3115333 w 10039599"/>
                  <a:gd name="connsiteY7" fmla="*/ 1653574 h 1720147"/>
                  <a:gd name="connsiteX8" fmla="*/ 5205924 w 10039599"/>
                  <a:gd name="connsiteY8" fmla="*/ 1116247 h 1720147"/>
                  <a:gd name="connsiteX9" fmla="*/ 6337435 w 10039599"/>
                  <a:gd name="connsiteY9" fmla="*/ 343249 h 1720147"/>
                  <a:gd name="connsiteX10" fmla="*/ 6948999 w 10039599"/>
                  <a:gd name="connsiteY10" fmla="*/ 1002928 h 1720147"/>
                  <a:gd name="connsiteX11" fmla="*/ 8382757 w 10039599"/>
                  <a:gd name="connsiteY11" fmla="*/ 13310 h 1720147"/>
                  <a:gd name="connsiteX12" fmla="*/ 9146328 w 10039599"/>
                  <a:gd name="connsiteY12" fmla="*/ 428090 h 1720147"/>
                  <a:gd name="connsiteX13" fmla="*/ 9754618 w 10039599"/>
                  <a:gd name="connsiteY13" fmla="*/ 372118 h 1720147"/>
                  <a:gd name="connsiteX14" fmla="*/ 10039093 w 10039599"/>
                  <a:gd name="connsiteY14" fmla="*/ 14505 h 1720147"/>
                  <a:gd name="connsiteX0" fmla="*/ 0 w 10039599"/>
                  <a:gd name="connsiteY0" fmla="*/ 1434990 h 1721955"/>
                  <a:gd name="connsiteX1" fmla="*/ 357290 w 10039599"/>
                  <a:gd name="connsiteY1" fmla="*/ 1710332 h 1721955"/>
                  <a:gd name="connsiteX2" fmla="*/ 512794 w 10039599"/>
                  <a:gd name="connsiteY2" fmla="*/ 1489328 h 1721955"/>
                  <a:gd name="connsiteX3" fmla="*/ 903672 w 10039599"/>
                  <a:gd name="connsiteY3" fmla="*/ 1720053 h 1721955"/>
                  <a:gd name="connsiteX4" fmla="*/ 1210317 w 10039599"/>
                  <a:gd name="connsiteY4" fmla="*/ 1331395 h 1721955"/>
                  <a:gd name="connsiteX5" fmla="*/ 1583401 w 10039599"/>
                  <a:gd name="connsiteY5" fmla="*/ 1634230 h 1721955"/>
                  <a:gd name="connsiteX6" fmla="*/ 2167336 w 10039599"/>
                  <a:gd name="connsiteY6" fmla="*/ 1059677 h 1721955"/>
                  <a:gd name="connsiteX7" fmla="*/ 3115333 w 10039599"/>
                  <a:gd name="connsiteY7" fmla="*/ 1653574 h 1721955"/>
                  <a:gd name="connsiteX8" fmla="*/ 5205924 w 10039599"/>
                  <a:gd name="connsiteY8" fmla="*/ 1116247 h 1721955"/>
                  <a:gd name="connsiteX9" fmla="*/ 6337435 w 10039599"/>
                  <a:gd name="connsiteY9" fmla="*/ 343249 h 1721955"/>
                  <a:gd name="connsiteX10" fmla="*/ 6948999 w 10039599"/>
                  <a:gd name="connsiteY10" fmla="*/ 1002928 h 1721955"/>
                  <a:gd name="connsiteX11" fmla="*/ 8382757 w 10039599"/>
                  <a:gd name="connsiteY11" fmla="*/ 13310 h 1721955"/>
                  <a:gd name="connsiteX12" fmla="*/ 9146328 w 10039599"/>
                  <a:gd name="connsiteY12" fmla="*/ 428090 h 1721955"/>
                  <a:gd name="connsiteX13" fmla="*/ 9754618 w 10039599"/>
                  <a:gd name="connsiteY13" fmla="*/ 372118 h 1721955"/>
                  <a:gd name="connsiteX14" fmla="*/ 10039093 w 10039599"/>
                  <a:gd name="connsiteY14" fmla="*/ 14505 h 1721955"/>
                  <a:gd name="connsiteX0" fmla="*/ 0 w 10039599"/>
                  <a:gd name="connsiteY0" fmla="*/ 1434990 h 1721068"/>
                  <a:gd name="connsiteX1" fmla="*/ 357290 w 10039599"/>
                  <a:gd name="connsiteY1" fmla="*/ 1710332 h 1721068"/>
                  <a:gd name="connsiteX2" fmla="*/ 512794 w 10039599"/>
                  <a:gd name="connsiteY2" fmla="*/ 1489328 h 1721068"/>
                  <a:gd name="connsiteX3" fmla="*/ 903672 w 10039599"/>
                  <a:gd name="connsiteY3" fmla="*/ 1720053 h 1721068"/>
                  <a:gd name="connsiteX4" fmla="*/ 1203501 w 10039599"/>
                  <a:gd name="connsiteY4" fmla="*/ 1376655 h 1721068"/>
                  <a:gd name="connsiteX5" fmla="*/ 1583401 w 10039599"/>
                  <a:gd name="connsiteY5" fmla="*/ 1634230 h 1721068"/>
                  <a:gd name="connsiteX6" fmla="*/ 2167336 w 10039599"/>
                  <a:gd name="connsiteY6" fmla="*/ 1059677 h 1721068"/>
                  <a:gd name="connsiteX7" fmla="*/ 3115333 w 10039599"/>
                  <a:gd name="connsiteY7" fmla="*/ 1653574 h 1721068"/>
                  <a:gd name="connsiteX8" fmla="*/ 5205924 w 10039599"/>
                  <a:gd name="connsiteY8" fmla="*/ 1116247 h 1721068"/>
                  <a:gd name="connsiteX9" fmla="*/ 6337435 w 10039599"/>
                  <a:gd name="connsiteY9" fmla="*/ 343249 h 1721068"/>
                  <a:gd name="connsiteX10" fmla="*/ 6948999 w 10039599"/>
                  <a:gd name="connsiteY10" fmla="*/ 1002928 h 1721068"/>
                  <a:gd name="connsiteX11" fmla="*/ 8382757 w 10039599"/>
                  <a:gd name="connsiteY11" fmla="*/ 13310 h 1721068"/>
                  <a:gd name="connsiteX12" fmla="*/ 9146328 w 10039599"/>
                  <a:gd name="connsiteY12" fmla="*/ 428090 h 1721068"/>
                  <a:gd name="connsiteX13" fmla="*/ 9754618 w 10039599"/>
                  <a:gd name="connsiteY13" fmla="*/ 372118 h 1721068"/>
                  <a:gd name="connsiteX14" fmla="*/ 10039093 w 10039599"/>
                  <a:gd name="connsiteY14" fmla="*/ 14505 h 1721068"/>
                  <a:gd name="connsiteX0" fmla="*/ 0 w 10039599"/>
                  <a:gd name="connsiteY0" fmla="*/ 1434990 h 1721068"/>
                  <a:gd name="connsiteX1" fmla="*/ 357290 w 10039599"/>
                  <a:gd name="connsiteY1" fmla="*/ 1710332 h 1721068"/>
                  <a:gd name="connsiteX2" fmla="*/ 512794 w 10039599"/>
                  <a:gd name="connsiteY2" fmla="*/ 1489328 h 1721068"/>
                  <a:gd name="connsiteX3" fmla="*/ 903672 w 10039599"/>
                  <a:gd name="connsiteY3" fmla="*/ 1720053 h 1721068"/>
                  <a:gd name="connsiteX4" fmla="*/ 1203501 w 10039599"/>
                  <a:gd name="connsiteY4" fmla="*/ 1376655 h 1721068"/>
                  <a:gd name="connsiteX5" fmla="*/ 1583401 w 10039599"/>
                  <a:gd name="connsiteY5" fmla="*/ 1634230 h 1721068"/>
                  <a:gd name="connsiteX6" fmla="*/ 2146890 w 10039599"/>
                  <a:gd name="connsiteY6" fmla="*/ 1113989 h 1721068"/>
                  <a:gd name="connsiteX7" fmla="*/ 3115333 w 10039599"/>
                  <a:gd name="connsiteY7" fmla="*/ 1653574 h 1721068"/>
                  <a:gd name="connsiteX8" fmla="*/ 5205924 w 10039599"/>
                  <a:gd name="connsiteY8" fmla="*/ 1116247 h 1721068"/>
                  <a:gd name="connsiteX9" fmla="*/ 6337435 w 10039599"/>
                  <a:gd name="connsiteY9" fmla="*/ 343249 h 1721068"/>
                  <a:gd name="connsiteX10" fmla="*/ 6948999 w 10039599"/>
                  <a:gd name="connsiteY10" fmla="*/ 1002928 h 1721068"/>
                  <a:gd name="connsiteX11" fmla="*/ 8382757 w 10039599"/>
                  <a:gd name="connsiteY11" fmla="*/ 13310 h 1721068"/>
                  <a:gd name="connsiteX12" fmla="*/ 9146328 w 10039599"/>
                  <a:gd name="connsiteY12" fmla="*/ 428090 h 1721068"/>
                  <a:gd name="connsiteX13" fmla="*/ 9754618 w 10039599"/>
                  <a:gd name="connsiteY13" fmla="*/ 372118 h 1721068"/>
                  <a:gd name="connsiteX14" fmla="*/ 10039093 w 10039599"/>
                  <a:gd name="connsiteY14" fmla="*/ 14505 h 1721068"/>
                  <a:gd name="connsiteX0" fmla="*/ 0 w 10039599"/>
                  <a:gd name="connsiteY0" fmla="*/ 1434990 h 1721068"/>
                  <a:gd name="connsiteX1" fmla="*/ 357290 w 10039599"/>
                  <a:gd name="connsiteY1" fmla="*/ 1710332 h 1721068"/>
                  <a:gd name="connsiteX2" fmla="*/ 512794 w 10039599"/>
                  <a:gd name="connsiteY2" fmla="*/ 1489328 h 1721068"/>
                  <a:gd name="connsiteX3" fmla="*/ 903672 w 10039599"/>
                  <a:gd name="connsiteY3" fmla="*/ 1720053 h 1721068"/>
                  <a:gd name="connsiteX4" fmla="*/ 1203501 w 10039599"/>
                  <a:gd name="connsiteY4" fmla="*/ 1376655 h 1721068"/>
                  <a:gd name="connsiteX5" fmla="*/ 1583401 w 10039599"/>
                  <a:gd name="connsiteY5" fmla="*/ 1634230 h 1721068"/>
                  <a:gd name="connsiteX6" fmla="*/ 2146890 w 10039599"/>
                  <a:gd name="connsiteY6" fmla="*/ 1195456 h 1721068"/>
                  <a:gd name="connsiteX7" fmla="*/ 3115333 w 10039599"/>
                  <a:gd name="connsiteY7" fmla="*/ 1653574 h 1721068"/>
                  <a:gd name="connsiteX8" fmla="*/ 5205924 w 10039599"/>
                  <a:gd name="connsiteY8" fmla="*/ 1116247 h 1721068"/>
                  <a:gd name="connsiteX9" fmla="*/ 6337435 w 10039599"/>
                  <a:gd name="connsiteY9" fmla="*/ 343249 h 1721068"/>
                  <a:gd name="connsiteX10" fmla="*/ 6948999 w 10039599"/>
                  <a:gd name="connsiteY10" fmla="*/ 1002928 h 1721068"/>
                  <a:gd name="connsiteX11" fmla="*/ 8382757 w 10039599"/>
                  <a:gd name="connsiteY11" fmla="*/ 13310 h 1721068"/>
                  <a:gd name="connsiteX12" fmla="*/ 9146328 w 10039599"/>
                  <a:gd name="connsiteY12" fmla="*/ 428090 h 1721068"/>
                  <a:gd name="connsiteX13" fmla="*/ 9754618 w 10039599"/>
                  <a:gd name="connsiteY13" fmla="*/ 372118 h 1721068"/>
                  <a:gd name="connsiteX14" fmla="*/ 10039093 w 10039599"/>
                  <a:gd name="connsiteY14" fmla="*/ 14505 h 1721068"/>
                  <a:gd name="connsiteX0" fmla="*/ 0 w 10039599"/>
                  <a:gd name="connsiteY0" fmla="*/ 1434990 h 1721068"/>
                  <a:gd name="connsiteX1" fmla="*/ 357290 w 10039599"/>
                  <a:gd name="connsiteY1" fmla="*/ 1710332 h 1721068"/>
                  <a:gd name="connsiteX2" fmla="*/ 512794 w 10039599"/>
                  <a:gd name="connsiteY2" fmla="*/ 1489328 h 1721068"/>
                  <a:gd name="connsiteX3" fmla="*/ 903672 w 10039599"/>
                  <a:gd name="connsiteY3" fmla="*/ 1720053 h 1721068"/>
                  <a:gd name="connsiteX4" fmla="*/ 1203501 w 10039599"/>
                  <a:gd name="connsiteY4" fmla="*/ 1376655 h 1721068"/>
                  <a:gd name="connsiteX5" fmla="*/ 1583401 w 10039599"/>
                  <a:gd name="connsiteY5" fmla="*/ 1634230 h 1721068"/>
                  <a:gd name="connsiteX6" fmla="*/ 2140074 w 10039599"/>
                  <a:gd name="connsiteY6" fmla="*/ 1132093 h 1721068"/>
                  <a:gd name="connsiteX7" fmla="*/ 3115333 w 10039599"/>
                  <a:gd name="connsiteY7" fmla="*/ 1653574 h 1721068"/>
                  <a:gd name="connsiteX8" fmla="*/ 5205924 w 10039599"/>
                  <a:gd name="connsiteY8" fmla="*/ 1116247 h 1721068"/>
                  <a:gd name="connsiteX9" fmla="*/ 6337435 w 10039599"/>
                  <a:gd name="connsiteY9" fmla="*/ 343249 h 1721068"/>
                  <a:gd name="connsiteX10" fmla="*/ 6948999 w 10039599"/>
                  <a:gd name="connsiteY10" fmla="*/ 1002928 h 1721068"/>
                  <a:gd name="connsiteX11" fmla="*/ 8382757 w 10039599"/>
                  <a:gd name="connsiteY11" fmla="*/ 13310 h 1721068"/>
                  <a:gd name="connsiteX12" fmla="*/ 9146328 w 10039599"/>
                  <a:gd name="connsiteY12" fmla="*/ 428090 h 1721068"/>
                  <a:gd name="connsiteX13" fmla="*/ 9754618 w 10039599"/>
                  <a:gd name="connsiteY13" fmla="*/ 372118 h 1721068"/>
                  <a:gd name="connsiteX14" fmla="*/ 10039093 w 10039599"/>
                  <a:gd name="connsiteY14" fmla="*/ 14505 h 1721068"/>
                  <a:gd name="connsiteX0" fmla="*/ 0 w 10039599"/>
                  <a:gd name="connsiteY0" fmla="*/ 1434990 h 1721068"/>
                  <a:gd name="connsiteX1" fmla="*/ 357290 w 10039599"/>
                  <a:gd name="connsiteY1" fmla="*/ 1710332 h 1721068"/>
                  <a:gd name="connsiteX2" fmla="*/ 512794 w 10039599"/>
                  <a:gd name="connsiteY2" fmla="*/ 1489328 h 1721068"/>
                  <a:gd name="connsiteX3" fmla="*/ 903672 w 10039599"/>
                  <a:gd name="connsiteY3" fmla="*/ 1720053 h 1721068"/>
                  <a:gd name="connsiteX4" fmla="*/ 1203501 w 10039599"/>
                  <a:gd name="connsiteY4" fmla="*/ 1376655 h 1721068"/>
                  <a:gd name="connsiteX5" fmla="*/ 1583401 w 10039599"/>
                  <a:gd name="connsiteY5" fmla="*/ 1634230 h 1721068"/>
                  <a:gd name="connsiteX6" fmla="*/ 2140074 w 10039599"/>
                  <a:gd name="connsiteY6" fmla="*/ 1132093 h 1721068"/>
                  <a:gd name="connsiteX7" fmla="*/ 3115333 w 10039599"/>
                  <a:gd name="connsiteY7" fmla="*/ 1653574 h 1721068"/>
                  <a:gd name="connsiteX8" fmla="*/ 5205924 w 10039599"/>
                  <a:gd name="connsiteY8" fmla="*/ 1116247 h 1721068"/>
                  <a:gd name="connsiteX9" fmla="*/ 6337435 w 10039599"/>
                  <a:gd name="connsiteY9" fmla="*/ 343249 h 1721068"/>
                  <a:gd name="connsiteX10" fmla="*/ 6948999 w 10039599"/>
                  <a:gd name="connsiteY10" fmla="*/ 1002928 h 1721068"/>
                  <a:gd name="connsiteX11" fmla="*/ 8382757 w 10039599"/>
                  <a:gd name="connsiteY11" fmla="*/ 13310 h 1721068"/>
                  <a:gd name="connsiteX12" fmla="*/ 9146328 w 10039599"/>
                  <a:gd name="connsiteY12" fmla="*/ 428090 h 1721068"/>
                  <a:gd name="connsiteX13" fmla="*/ 9754618 w 10039599"/>
                  <a:gd name="connsiteY13" fmla="*/ 372118 h 1721068"/>
                  <a:gd name="connsiteX14" fmla="*/ 10039093 w 10039599"/>
                  <a:gd name="connsiteY14" fmla="*/ 14505 h 1721068"/>
                  <a:gd name="connsiteX0" fmla="*/ 0 w 10039599"/>
                  <a:gd name="connsiteY0" fmla="*/ 1434990 h 1721068"/>
                  <a:gd name="connsiteX1" fmla="*/ 357290 w 10039599"/>
                  <a:gd name="connsiteY1" fmla="*/ 1710332 h 1721068"/>
                  <a:gd name="connsiteX2" fmla="*/ 512794 w 10039599"/>
                  <a:gd name="connsiteY2" fmla="*/ 1489328 h 1721068"/>
                  <a:gd name="connsiteX3" fmla="*/ 903672 w 10039599"/>
                  <a:gd name="connsiteY3" fmla="*/ 1720053 h 1721068"/>
                  <a:gd name="connsiteX4" fmla="*/ 1203501 w 10039599"/>
                  <a:gd name="connsiteY4" fmla="*/ 1376655 h 1721068"/>
                  <a:gd name="connsiteX5" fmla="*/ 1583401 w 10039599"/>
                  <a:gd name="connsiteY5" fmla="*/ 1634230 h 1721068"/>
                  <a:gd name="connsiteX6" fmla="*/ 2140074 w 10039599"/>
                  <a:gd name="connsiteY6" fmla="*/ 1132093 h 1721068"/>
                  <a:gd name="connsiteX7" fmla="*/ 3115333 w 10039599"/>
                  <a:gd name="connsiteY7" fmla="*/ 1653574 h 1721068"/>
                  <a:gd name="connsiteX8" fmla="*/ 5205924 w 10039599"/>
                  <a:gd name="connsiteY8" fmla="*/ 1116247 h 1721068"/>
                  <a:gd name="connsiteX9" fmla="*/ 6323804 w 10039599"/>
                  <a:gd name="connsiteY9" fmla="*/ 189366 h 1721068"/>
                  <a:gd name="connsiteX10" fmla="*/ 6948999 w 10039599"/>
                  <a:gd name="connsiteY10" fmla="*/ 1002928 h 1721068"/>
                  <a:gd name="connsiteX11" fmla="*/ 8382757 w 10039599"/>
                  <a:gd name="connsiteY11" fmla="*/ 13310 h 1721068"/>
                  <a:gd name="connsiteX12" fmla="*/ 9146328 w 10039599"/>
                  <a:gd name="connsiteY12" fmla="*/ 428090 h 1721068"/>
                  <a:gd name="connsiteX13" fmla="*/ 9754618 w 10039599"/>
                  <a:gd name="connsiteY13" fmla="*/ 372118 h 1721068"/>
                  <a:gd name="connsiteX14" fmla="*/ 10039093 w 10039599"/>
                  <a:gd name="connsiteY14" fmla="*/ 14505 h 1721068"/>
                  <a:gd name="connsiteX0" fmla="*/ 0 w 10039599"/>
                  <a:gd name="connsiteY0" fmla="*/ 1562674 h 1848752"/>
                  <a:gd name="connsiteX1" fmla="*/ 357290 w 10039599"/>
                  <a:gd name="connsiteY1" fmla="*/ 1838016 h 1848752"/>
                  <a:gd name="connsiteX2" fmla="*/ 512794 w 10039599"/>
                  <a:gd name="connsiteY2" fmla="*/ 1617012 h 1848752"/>
                  <a:gd name="connsiteX3" fmla="*/ 903672 w 10039599"/>
                  <a:gd name="connsiteY3" fmla="*/ 1847737 h 1848752"/>
                  <a:gd name="connsiteX4" fmla="*/ 1203501 w 10039599"/>
                  <a:gd name="connsiteY4" fmla="*/ 1504339 h 1848752"/>
                  <a:gd name="connsiteX5" fmla="*/ 1583401 w 10039599"/>
                  <a:gd name="connsiteY5" fmla="*/ 1761914 h 1848752"/>
                  <a:gd name="connsiteX6" fmla="*/ 2140074 w 10039599"/>
                  <a:gd name="connsiteY6" fmla="*/ 1259777 h 1848752"/>
                  <a:gd name="connsiteX7" fmla="*/ 3115333 w 10039599"/>
                  <a:gd name="connsiteY7" fmla="*/ 1781258 h 1848752"/>
                  <a:gd name="connsiteX8" fmla="*/ 5205924 w 10039599"/>
                  <a:gd name="connsiteY8" fmla="*/ 1243931 h 1848752"/>
                  <a:gd name="connsiteX9" fmla="*/ 6340843 w 10039599"/>
                  <a:gd name="connsiteY9" fmla="*/ 234 h 1848752"/>
                  <a:gd name="connsiteX10" fmla="*/ 6948999 w 10039599"/>
                  <a:gd name="connsiteY10" fmla="*/ 1130612 h 1848752"/>
                  <a:gd name="connsiteX11" fmla="*/ 8382757 w 10039599"/>
                  <a:gd name="connsiteY11" fmla="*/ 140994 h 1848752"/>
                  <a:gd name="connsiteX12" fmla="*/ 9146328 w 10039599"/>
                  <a:gd name="connsiteY12" fmla="*/ 555774 h 1848752"/>
                  <a:gd name="connsiteX13" fmla="*/ 9754618 w 10039599"/>
                  <a:gd name="connsiteY13" fmla="*/ 499802 h 1848752"/>
                  <a:gd name="connsiteX14" fmla="*/ 10039093 w 10039599"/>
                  <a:gd name="connsiteY14" fmla="*/ 142189 h 1848752"/>
                  <a:gd name="connsiteX0" fmla="*/ 0 w 10039599"/>
                  <a:gd name="connsiteY0" fmla="*/ 1635365 h 1921443"/>
                  <a:gd name="connsiteX1" fmla="*/ 357290 w 10039599"/>
                  <a:gd name="connsiteY1" fmla="*/ 1910707 h 1921443"/>
                  <a:gd name="connsiteX2" fmla="*/ 512794 w 10039599"/>
                  <a:gd name="connsiteY2" fmla="*/ 1689703 h 1921443"/>
                  <a:gd name="connsiteX3" fmla="*/ 903672 w 10039599"/>
                  <a:gd name="connsiteY3" fmla="*/ 1920428 h 1921443"/>
                  <a:gd name="connsiteX4" fmla="*/ 1203501 w 10039599"/>
                  <a:gd name="connsiteY4" fmla="*/ 1577030 h 1921443"/>
                  <a:gd name="connsiteX5" fmla="*/ 1583401 w 10039599"/>
                  <a:gd name="connsiteY5" fmla="*/ 1834605 h 1921443"/>
                  <a:gd name="connsiteX6" fmla="*/ 2140074 w 10039599"/>
                  <a:gd name="connsiteY6" fmla="*/ 1332468 h 1921443"/>
                  <a:gd name="connsiteX7" fmla="*/ 3115333 w 10039599"/>
                  <a:gd name="connsiteY7" fmla="*/ 1853949 h 1921443"/>
                  <a:gd name="connsiteX8" fmla="*/ 5205924 w 10039599"/>
                  <a:gd name="connsiteY8" fmla="*/ 1316622 h 1921443"/>
                  <a:gd name="connsiteX9" fmla="*/ 6340843 w 10039599"/>
                  <a:gd name="connsiteY9" fmla="*/ 72925 h 1921443"/>
                  <a:gd name="connsiteX10" fmla="*/ 6948999 w 10039599"/>
                  <a:gd name="connsiteY10" fmla="*/ 1203303 h 1921443"/>
                  <a:gd name="connsiteX11" fmla="*/ 8405475 w 10039599"/>
                  <a:gd name="connsiteY11" fmla="*/ 10018 h 1921443"/>
                  <a:gd name="connsiteX12" fmla="*/ 9146328 w 10039599"/>
                  <a:gd name="connsiteY12" fmla="*/ 628465 h 1921443"/>
                  <a:gd name="connsiteX13" fmla="*/ 9754618 w 10039599"/>
                  <a:gd name="connsiteY13" fmla="*/ 572493 h 1921443"/>
                  <a:gd name="connsiteX14" fmla="*/ 10039093 w 10039599"/>
                  <a:gd name="connsiteY14" fmla="*/ 214880 h 1921443"/>
                  <a:gd name="connsiteX0" fmla="*/ 0 w 10039599"/>
                  <a:gd name="connsiteY0" fmla="*/ 1627929 h 1914007"/>
                  <a:gd name="connsiteX1" fmla="*/ 357290 w 10039599"/>
                  <a:gd name="connsiteY1" fmla="*/ 1903271 h 1914007"/>
                  <a:gd name="connsiteX2" fmla="*/ 512794 w 10039599"/>
                  <a:gd name="connsiteY2" fmla="*/ 1682267 h 1914007"/>
                  <a:gd name="connsiteX3" fmla="*/ 903672 w 10039599"/>
                  <a:gd name="connsiteY3" fmla="*/ 1912992 h 1914007"/>
                  <a:gd name="connsiteX4" fmla="*/ 1203501 w 10039599"/>
                  <a:gd name="connsiteY4" fmla="*/ 1569594 h 1914007"/>
                  <a:gd name="connsiteX5" fmla="*/ 1583401 w 10039599"/>
                  <a:gd name="connsiteY5" fmla="*/ 1827169 h 1914007"/>
                  <a:gd name="connsiteX6" fmla="*/ 2140074 w 10039599"/>
                  <a:gd name="connsiteY6" fmla="*/ 1325032 h 1914007"/>
                  <a:gd name="connsiteX7" fmla="*/ 3115333 w 10039599"/>
                  <a:gd name="connsiteY7" fmla="*/ 1846513 h 1914007"/>
                  <a:gd name="connsiteX8" fmla="*/ 5205924 w 10039599"/>
                  <a:gd name="connsiteY8" fmla="*/ 1309186 h 1914007"/>
                  <a:gd name="connsiteX9" fmla="*/ 6340843 w 10039599"/>
                  <a:gd name="connsiteY9" fmla="*/ 65489 h 1914007"/>
                  <a:gd name="connsiteX10" fmla="*/ 7017155 w 10039599"/>
                  <a:gd name="connsiteY10" fmla="*/ 894138 h 1914007"/>
                  <a:gd name="connsiteX11" fmla="*/ 8405475 w 10039599"/>
                  <a:gd name="connsiteY11" fmla="*/ 2582 h 1914007"/>
                  <a:gd name="connsiteX12" fmla="*/ 9146328 w 10039599"/>
                  <a:gd name="connsiteY12" fmla="*/ 621029 h 1914007"/>
                  <a:gd name="connsiteX13" fmla="*/ 9754618 w 10039599"/>
                  <a:gd name="connsiteY13" fmla="*/ 565057 h 1914007"/>
                  <a:gd name="connsiteX14" fmla="*/ 10039093 w 10039599"/>
                  <a:gd name="connsiteY14" fmla="*/ 207444 h 191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039599" h="1914007">
                    <a:moveTo>
                      <a:pt x="0" y="1627929"/>
                    </a:moveTo>
                    <a:cubicBezTo>
                      <a:pt x="91824" y="1782784"/>
                      <a:pt x="271824" y="1894215"/>
                      <a:pt x="357290" y="1903271"/>
                    </a:cubicBezTo>
                    <a:cubicBezTo>
                      <a:pt x="442756" y="1912327"/>
                      <a:pt x="421730" y="1680647"/>
                      <a:pt x="512794" y="1682267"/>
                    </a:cubicBezTo>
                    <a:cubicBezTo>
                      <a:pt x="603858" y="1683887"/>
                      <a:pt x="788554" y="1931771"/>
                      <a:pt x="903672" y="1912992"/>
                    </a:cubicBezTo>
                    <a:cubicBezTo>
                      <a:pt x="1018790" y="1894213"/>
                      <a:pt x="1090213" y="1583898"/>
                      <a:pt x="1203501" y="1569594"/>
                    </a:cubicBezTo>
                    <a:cubicBezTo>
                      <a:pt x="1316789" y="1555290"/>
                      <a:pt x="1427305" y="1867929"/>
                      <a:pt x="1583401" y="1827169"/>
                    </a:cubicBezTo>
                    <a:cubicBezTo>
                      <a:pt x="1739497" y="1786409"/>
                      <a:pt x="1884752" y="1321808"/>
                      <a:pt x="2140074" y="1325032"/>
                    </a:cubicBezTo>
                    <a:cubicBezTo>
                      <a:pt x="2395396" y="1328256"/>
                      <a:pt x="2604358" y="1849154"/>
                      <a:pt x="3115333" y="1846513"/>
                    </a:cubicBezTo>
                    <a:cubicBezTo>
                      <a:pt x="3626308" y="1843872"/>
                      <a:pt x="4668339" y="1606023"/>
                      <a:pt x="5205924" y="1309186"/>
                    </a:cubicBezTo>
                    <a:cubicBezTo>
                      <a:pt x="5743509" y="1012349"/>
                      <a:pt x="6038971" y="134664"/>
                      <a:pt x="6340843" y="65489"/>
                    </a:cubicBezTo>
                    <a:cubicBezTo>
                      <a:pt x="6642715" y="-3686"/>
                      <a:pt x="6673050" y="904623"/>
                      <a:pt x="7017155" y="894138"/>
                    </a:cubicBezTo>
                    <a:cubicBezTo>
                      <a:pt x="7361260" y="883654"/>
                      <a:pt x="8050613" y="48100"/>
                      <a:pt x="8405475" y="2582"/>
                    </a:cubicBezTo>
                    <a:cubicBezTo>
                      <a:pt x="8760337" y="-42936"/>
                      <a:pt x="8921471" y="527283"/>
                      <a:pt x="9146328" y="621029"/>
                    </a:cubicBezTo>
                    <a:cubicBezTo>
                      <a:pt x="9371185" y="714775"/>
                      <a:pt x="9605824" y="633988"/>
                      <a:pt x="9754618" y="565057"/>
                    </a:cubicBezTo>
                    <a:cubicBezTo>
                      <a:pt x="9903412" y="496126"/>
                      <a:pt x="10049306" y="319903"/>
                      <a:pt x="10039093" y="207444"/>
                    </a:cubicBezTo>
                  </a:path>
                </a:pathLst>
              </a:custGeom>
              <a:noFill/>
              <a:ln w="44450" cap="flat" cmpd="sng" algn="ctr">
                <a:solidFill>
                  <a:srgbClr val="12384E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70" name="Straight Arrow Connector 69">
                <a:extLst>
                  <a:ext uri="{FF2B5EF4-FFF2-40B4-BE49-F238E27FC236}">
                    <a16:creationId xmlns:a16="http://schemas.microsoft.com/office/drawing/2014/main" id="{779466EA-BC3B-4C0B-8A60-46C5D7EAB45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5037" y="3180394"/>
                <a:ext cx="0" cy="1871949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12384E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60EE0D80-BB0B-478B-965C-9FB9C5154AD8}"/>
                  </a:ext>
                </a:extLst>
              </p:cNvPr>
              <p:cNvSpPr txBox="1"/>
              <p:nvPr/>
            </p:nvSpPr>
            <p:spPr>
              <a:xfrm rot="16200000">
                <a:off x="-26677" y="3935341"/>
                <a:ext cx="1197126" cy="2624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kern="0">
                    <a:solidFill>
                      <a:srgbClr val="5DBA00"/>
                    </a:solidFill>
                  </a:rPr>
                  <a:t>PSA level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2309F933-3954-4842-A608-DA44463199E7}"/>
                  </a:ext>
                </a:extLst>
              </p:cNvPr>
              <p:cNvSpPr/>
              <p:nvPr/>
            </p:nvSpPr>
            <p:spPr>
              <a:xfrm>
                <a:off x="7621179" y="5209386"/>
                <a:ext cx="4098092" cy="523688"/>
              </a:xfrm>
              <a:prstGeom prst="rect">
                <a:avLst/>
              </a:prstGeom>
              <a:solidFill>
                <a:schemeClr val="accent1"/>
              </a:solidFill>
              <a:ln w="28575" cap="flat" cmpd="sng" algn="ctr">
                <a:solidFill>
                  <a:srgbClr val="12384E"/>
                </a:solidFill>
                <a:prstDash val="solid"/>
                <a:miter lim="800000"/>
              </a:ln>
              <a:effectLst/>
            </p:spPr>
            <p:txBody>
              <a:bodyPr lIns="0" tIns="0" rIns="0" bIns="0" spcCol="1270" anchor="ctr"/>
              <a:lstStyle/>
              <a:p>
                <a:pPr algn="ctr" defTabSz="1001259">
                  <a:spcAft>
                    <a:spcPts val="1200"/>
                  </a:spcAft>
                </a:pPr>
                <a:r>
                  <a:rPr lang="en-US" sz="1400" kern="0" dirty="0">
                    <a:solidFill>
                      <a:srgbClr val="FFFFFF"/>
                    </a:solidFill>
                  </a:rPr>
                  <a:t>Metastatic CRPC</a:t>
                </a:r>
                <a:endParaRPr lang="en-US" sz="1400" kern="0" baseline="30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7DDAFFDE-FE33-4A45-855E-22332E36B846}"/>
                  </a:ext>
                </a:extLst>
              </p:cNvPr>
              <p:cNvSpPr/>
              <p:nvPr/>
            </p:nvSpPr>
            <p:spPr>
              <a:xfrm>
                <a:off x="3413223" y="5217578"/>
                <a:ext cx="4113521" cy="515498"/>
              </a:xfrm>
              <a:prstGeom prst="rect">
                <a:avLst/>
              </a:prstGeom>
              <a:solidFill>
                <a:schemeClr val="accent4"/>
              </a:solidFill>
              <a:ln w="28575" cap="flat" cmpd="sng" algn="ctr">
                <a:solidFill>
                  <a:srgbClr val="12384E"/>
                </a:solidFill>
                <a:prstDash val="solid"/>
                <a:miter lim="800000"/>
              </a:ln>
              <a:effectLst/>
            </p:spPr>
            <p:txBody>
              <a:bodyPr lIns="0" tIns="0" rIns="0" bIns="0" spcCol="1270" anchor="ctr"/>
              <a:lstStyle/>
              <a:p>
                <a:pPr algn="ctr" defTabSz="1001259" fontAlgn="auto">
                  <a:spcBef>
                    <a:spcPts val="0"/>
                  </a:spcBef>
                  <a:spcAft>
                    <a:spcPts val="1200"/>
                  </a:spcAft>
                  <a:defRPr/>
                </a:pPr>
                <a:r>
                  <a:rPr lang="en-US" sz="1400" kern="0" dirty="0">
                    <a:solidFill>
                      <a:srgbClr val="FFFFFF"/>
                    </a:solidFill>
                  </a:rPr>
                  <a:t>Nonmetastatic CRPC</a:t>
                </a: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3572224E-3C38-48DD-9E0E-EFB150EBA635}"/>
                  </a:ext>
                </a:extLst>
              </p:cNvPr>
              <p:cNvSpPr/>
              <p:nvPr/>
            </p:nvSpPr>
            <p:spPr>
              <a:xfrm>
                <a:off x="1004190" y="5221096"/>
                <a:ext cx="2341195" cy="511978"/>
              </a:xfrm>
              <a:prstGeom prst="rect">
                <a:avLst/>
              </a:prstGeom>
              <a:solidFill>
                <a:srgbClr val="FFFFFF"/>
              </a:solidFill>
              <a:ln w="28575" cap="flat" cmpd="sng" algn="ctr">
                <a:solidFill>
                  <a:srgbClr val="12384E"/>
                </a:solidFill>
                <a:prstDash val="solid"/>
                <a:miter lim="800000"/>
              </a:ln>
              <a:effectLst/>
            </p:spPr>
            <p:txBody>
              <a:bodyPr lIns="0" tIns="0" rIns="0" bIns="0" spcCol="1270" anchor="ctr"/>
              <a:lstStyle/>
              <a:p>
                <a:pPr algn="ctr" defTabSz="1001259" fontAlgn="auto">
                  <a:spcBef>
                    <a:spcPts val="0"/>
                  </a:spcBef>
                  <a:spcAft>
                    <a:spcPts val="1200"/>
                  </a:spcAft>
                  <a:defRPr/>
                </a:pPr>
                <a:r>
                  <a:rPr lang="en-US" sz="1400" kern="0" dirty="0">
                    <a:solidFill>
                      <a:srgbClr val="181A26"/>
                    </a:solidFill>
                  </a:rPr>
                  <a:t>Local disease/</a:t>
                </a:r>
                <a:br>
                  <a:rPr lang="en-US" sz="1400" kern="0" dirty="0">
                    <a:solidFill>
                      <a:srgbClr val="181A26"/>
                    </a:solidFill>
                  </a:rPr>
                </a:br>
                <a:r>
                  <a:rPr lang="en-US" sz="1400" kern="0" dirty="0">
                    <a:solidFill>
                      <a:srgbClr val="181A26"/>
                    </a:solidFill>
                  </a:rPr>
                  <a:t>biochemical relapse</a:t>
                </a:r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E72F067-33D9-4246-9D0F-200AA31183F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582506" y="3436067"/>
                <a:ext cx="16170" cy="2317689"/>
              </a:xfrm>
              <a:prstGeom prst="line">
                <a:avLst/>
              </a:prstGeom>
              <a:noFill/>
              <a:ln w="38100" cap="flat" cmpd="sng" algn="ctr">
                <a:solidFill>
                  <a:srgbClr val="181A26"/>
                </a:solidFill>
                <a:prstDash val="sysDash"/>
                <a:miter lim="800000"/>
              </a:ln>
              <a:effectLst/>
            </p:spPr>
          </p:cxnSp>
          <p:sp>
            <p:nvSpPr>
              <p:cNvPr id="76" name="Rounded Rectangle 196">
                <a:extLst>
                  <a:ext uri="{FF2B5EF4-FFF2-40B4-BE49-F238E27FC236}">
                    <a16:creationId xmlns:a16="http://schemas.microsoft.com/office/drawing/2014/main" id="{1CE00E12-3A79-4CDC-BC97-DC000B0876AB}"/>
                  </a:ext>
                </a:extLst>
              </p:cNvPr>
              <p:cNvSpPr/>
              <p:nvPr/>
            </p:nvSpPr>
            <p:spPr>
              <a:xfrm>
                <a:off x="8263106" y="3103688"/>
                <a:ext cx="1106569" cy="441317"/>
              </a:xfrm>
              <a:prstGeom prst="round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rIns="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CH" sz="1200" kern="0">
                    <a:solidFill>
                      <a:srgbClr val="000000"/>
                    </a:solidFill>
                  </a:rPr>
                  <a:t>Radiological </a:t>
                </a:r>
                <a:br>
                  <a:rPr lang="de-CH" sz="1200" kern="0">
                    <a:solidFill>
                      <a:srgbClr val="000000"/>
                    </a:solidFill>
                  </a:rPr>
                </a:br>
                <a:r>
                  <a:rPr lang="de-CH" sz="1200" kern="0">
                    <a:solidFill>
                      <a:srgbClr val="000000"/>
                    </a:solidFill>
                  </a:rPr>
                  <a:t>Progression</a:t>
                </a:r>
                <a:endParaRPr lang="en-US" sz="1200" kern="0" baseline="300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19BD0B74-F236-47C9-99DB-5266C6D6520A}"/>
                  </a:ext>
                </a:extLst>
              </p:cNvPr>
              <p:cNvCxnSpPr>
                <a:cxnSpLocks/>
                <a:stCxn id="69" idx="7"/>
                <a:endCxn id="78" idx="2"/>
              </p:cNvCxnSpPr>
              <p:nvPr/>
            </p:nvCxnSpPr>
            <p:spPr>
              <a:xfrm flipV="1">
                <a:off x="4384835" y="4569919"/>
                <a:ext cx="6608" cy="298843"/>
              </a:xfrm>
              <a:prstGeom prst="line">
                <a:avLst/>
              </a:prstGeom>
              <a:noFill/>
              <a:ln w="22225" cap="flat" cmpd="sng" algn="ctr">
                <a:solidFill>
                  <a:srgbClr val="5DBA00"/>
                </a:solidFill>
                <a:prstDash val="solid"/>
                <a:miter lim="800000"/>
                <a:headEnd type="oval" w="lg" len="lg"/>
                <a:tailEnd w="lg" len="lg"/>
              </a:ln>
              <a:effectLst/>
            </p:spPr>
          </p:cxnSp>
          <p:sp>
            <p:nvSpPr>
              <p:cNvPr id="78" name="Rounded Rectangle 204">
                <a:extLst>
                  <a:ext uri="{FF2B5EF4-FFF2-40B4-BE49-F238E27FC236}">
                    <a16:creationId xmlns:a16="http://schemas.microsoft.com/office/drawing/2014/main" id="{7E067914-2ACC-4995-82D3-6F3423F20F52}"/>
                  </a:ext>
                </a:extLst>
              </p:cNvPr>
              <p:cNvSpPr/>
              <p:nvPr/>
            </p:nvSpPr>
            <p:spPr>
              <a:xfrm>
                <a:off x="3856317" y="4351802"/>
                <a:ext cx="1070251" cy="218117"/>
              </a:xfrm>
              <a:prstGeom prst="round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CH" sz="1200" kern="0">
                    <a:solidFill>
                      <a:srgbClr val="2F2E2F"/>
                    </a:solidFill>
                  </a:rPr>
                  <a:t>PSA Nadir</a:t>
                </a:r>
                <a:endParaRPr lang="en-US" sz="1200" kern="0" baseline="30000">
                  <a:solidFill>
                    <a:srgbClr val="2F2E2F"/>
                  </a:solidFill>
                </a:endParaRPr>
              </a:p>
            </p:txBody>
          </p:sp>
          <p:sp>
            <p:nvSpPr>
              <p:cNvPr id="79" name="Rounded Rectangle 201">
                <a:extLst>
                  <a:ext uri="{FF2B5EF4-FFF2-40B4-BE49-F238E27FC236}">
                    <a16:creationId xmlns:a16="http://schemas.microsoft.com/office/drawing/2014/main" id="{BE0D2BAB-7223-4356-BC52-ABD0495E203B}"/>
                  </a:ext>
                </a:extLst>
              </p:cNvPr>
              <p:cNvSpPr/>
              <p:nvPr/>
            </p:nvSpPr>
            <p:spPr>
              <a:xfrm>
                <a:off x="5806259" y="3668230"/>
                <a:ext cx="1482849" cy="362368"/>
              </a:xfrm>
              <a:prstGeom prst="round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CH" sz="1200" kern="0">
                    <a:solidFill>
                      <a:srgbClr val="000000"/>
                    </a:solidFill>
                  </a:rPr>
                  <a:t>PSA </a:t>
                </a:r>
                <a:br>
                  <a:rPr lang="de-CH" sz="1200" kern="0">
                    <a:solidFill>
                      <a:srgbClr val="000000"/>
                    </a:solidFill>
                  </a:rPr>
                </a:br>
                <a:r>
                  <a:rPr lang="de-CH" sz="1200" kern="0">
                    <a:solidFill>
                      <a:srgbClr val="000000"/>
                    </a:solidFill>
                  </a:rPr>
                  <a:t>Progression</a:t>
                </a:r>
                <a:endParaRPr lang="en-US" sz="1200" kern="0" baseline="300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AF0E194-75AE-4D1C-89B5-97F70FDC2F80}"/>
                  </a:ext>
                </a:extLst>
              </p:cNvPr>
              <p:cNvCxnSpPr>
                <a:cxnSpLocks/>
                <a:stCxn id="79" idx="2"/>
                <a:endCxn id="107" idx="9"/>
              </p:cNvCxnSpPr>
              <p:nvPr/>
            </p:nvCxnSpPr>
            <p:spPr>
              <a:xfrm>
                <a:off x="6547684" y="4030598"/>
                <a:ext cx="14957" cy="409936"/>
              </a:xfrm>
              <a:prstGeom prst="line">
                <a:avLst/>
              </a:prstGeom>
              <a:noFill/>
              <a:ln w="22225" cap="flat" cmpd="sng" algn="ctr">
                <a:solidFill>
                  <a:srgbClr val="63BC47"/>
                </a:solidFill>
                <a:prstDash val="solid"/>
                <a:miter lim="800000"/>
                <a:tailEnd type="oval" w="lg" len="lg"/>
              </a:ln>
              <a:effectLst/>
            </p:spPr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18189D31-74B0-4FF7-BA14-CBA514D40C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8613" y="4002386"/>
                <a:ext cx="0" cy="1200005"/>
              </a:xfrm>
              <a:prstGeom prst="line">
                <a:avLst/>
              </a:prstGeom>
              <a:noFill/>
              <a:ln w="19050" cap="flat" cmpd="sng" algn="ctr">
                <a:solidFill>
                  <a:srgbClr val="181A26"/>
                </a:solidFill>
                <a:prstDash val="sysDash"/>
                <a:miter lim="800000"/>
              </a:ln>
              <a:effectLst/>
            </p:spPr>
          </p:cxn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FE9DF2B6-5DDA-412F-A7A9-088125773150}"/>
                  </a:ext>
                </a:extLst>
              </p:cNvPr>
              <p:cNvSpPr txBox="1"/>
              <p:nvPr/>
            </p:nvSpPr>
            <p:spPr>
              <a:xfrm>
                <a:off x="7467647" y="4747926"/>
                <a:ext cx="1486344" cy="4924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CH" sz="1300" b="1" kern="0" dirty="0">
                    <a:solidFill>
                      <a:srgbClr val="2F2E2F"/>
                    </a:solidFill>
                  </a:rPr>
                  <a:t>20 </a:t>
                </a:r>
                <a:br>
                  <a:rPr lang="de-CH" sz="1300" b="1" kern="0" dirty="0">
                    <a:solidFill>
                      <a:srgbClr val="2F2E2F"/>
                    </a:solidFill>
                  </a:rPr>
                </a:br>
                <a:r>
                  <a:rPr lang="de-CH" sz="1300" b="1" kern="0" dirty="0">
                    <a:solidFill>
                      <a:srgbClr val="2F2E2F"/>
                    </a:solidFill>
                  </a:rPr>
                  <a:t>MONTHS</a:t>
                </a:r>
                <a:endParaRPr lang="en-US" sz="1300" b="1" kern="0" baseline="30000" dirty="0">
                  <a:solidFill>
                    <a:srgbClr val="2F2E2F"/>
                  </a:solidFill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E32AF650-C89D-4F52-B756-7BAE7D433AA3}"/>
                  </a:ext>
                </a:extLst>
              </p:cNvPr>
              <p:cNvSpPr txBox="1"/>
              <p:nvPr/>
            </p:nvSpPr>
            <p:spPr>
              <a:xfrm>
                <a:off x="8771473" y="4747926"/>
                <a:ext cx="1266659" cy="4924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CH" sz="1300" b="1" kern="0" dirty="0">
                    <a:solidFill>
                      <a:srgbClr val="2F2E2F"/>
                    </a:solidFill>
                  </a:rPr>
                  <a:t>5-8 </a:t>
                </a:r>
                <a:br>
                  <a:rPr lang="de-CH" sz="1300" b="1" kern="0" dirty="0">
                    <a:solidFill>
                      <a:srgbClr val="2F2E2F"/>
                    </a:solidFill>
                  </a:rPr>
                </a:br>
                <a:r>
                  <a:rPr lang="de-CH" sz="1300" b="1" kern="0" dirty="0">
                    <a:solidFill>
                      <a:srgbClr val="2F2E2F"/>
                    </a:solidFill>
                  </a:rPr>
                  <a:t>MONTHS</a:t>
                </a:r>
                <a:endParaRPr lang="en-US" sz="1300" b="1" kern="0" dirty="0">
                  <a:solidFill>
                    <a:srgbClr val="2F2E2F"/>
                  </a:solidFill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D0B21160-A941-4BBC-B76B-7A953F90C005}"/>
                  </a:ext>
                </a:extLst>
              </p:cNvPr>
              <p:cNvSpPr txBox="1"/>
              <p:nvPr/>
            </p:nvSpPr>
            <p:spPr>
              <a:xfrm>
                <a:off x="9915939" y="4747926"/>
                <a:ext cx="1866261" cy="492443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CH" sz="1300" b="1" kern="0" dirty="0">
                    <a:solidFill>
                      <a:srgbClr val="2F2E2F"/>
                    </a:solidFill>
                  </a:rPr>
                  <a:t>7-10</a:t>
                </a:r>
                <a:r>
                  <a:rPr lang="de-CH" sz="1300" b="1" kern="0" dirty="0">
                    <a:solidFill>
                      <a:srgbClr val="FFFFFF"/>
                    </a:solidFill>
                  </a:rPr>
                  <a:t> </a:t>
                </a:r>
                <a:br>
                  <a:rPr lang="de-CH" sz="1300" b="1" kern="0" dirty="0">
                    <a:solidFill>
                      <a:srgbClr val="FFFFFF"/>
                    </a:solidFill>
                  </a:rPr>
                </a:br>
                <a:r>
                  <a:rPr lang="de-CH" sz="1300" b="1" kern="0" dirty="0">
                    <a:solidFill>
                      <a:srgbClr val="2F2E2F"/>
                    </a:solidFill>
                  </a:rPr>
                  <a:t>MONTHS</a:t>
                </a:r>
                <a:endParaRPr lang="en-US" sz="1300" b="1" kern="0" dirty="0">
                  <a:solidFill>
                    <a:srgbClr val="2F2E2F"/>
                  </a:solidFill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A36D714B-DEAD-4D58-BCE3-191059DB4CA5}"/>
                  </a:ext>
                </a:extLst>
              </p:cNvPr>
              <p:cNvSpPr txBox="1"/>
              <p:nvPr/>
            </p:nvSpPr>
            <p:spPr>
              <a:xfrm>
                <a:off x="4702793" y="4947981"/>
                <a:ext cx="2026636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CH" sz="1300" b="1" kern="0" dirty="0">
                    <a:solidFill>
                      <a:srgbClr val="2F2E2F"/>
                    </a:solidFill>
                  </a:rPr>
                  <a:t>40 MONTHS</a:t>
                </a:r>
                <a:endParaRPr lang="en-US" sz="1300" b="1" kern="0" dirty="0">
                  <a:solidFill>
                    <a:srgbClr val="2F2E2F"/>
                  </a:solidFill>
                </a:endParaRPr>
              </a:p>
            </p:txBody>
          </p: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52A07EAF-A58F-402F-B418-22E2F1551A86}"/>
                  </a:ext>
                </a:extLst>
              </p:cNvPr>
              <p:cNvGrpSpPr/>
              <p:nvPr/>
            </p:nvGrpSpPr>
            <p:grpSpPr>
              <a:xfrm>
                <a:off x="1713900" y="4705672"/>
                <a:ext cx="287189" cy="243536"/>
                <a:chOff x="2409845" y="997660"/>
                <a:chExt cx="266148" cy="289299"/>
              </a:xfrm>
            </p:grpSpPr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2BD06BC-9806-444D-A807-83FB7085495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409845" y="997661"/>
                  <a:ext cx="184160" cy="289298"/>
                </a:xfrm>
                <a:prstGeom prst="line">
                  <a:avLst/>
                </a:prstGeom>
                <a:noFill/>
                <a:ln w="50800" cap="flat" cmpd="sng" algn="ctr">
                  <a:solidFill>
                    <a:srgbClr val="181A26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B820FBF2-9985-426C-912C-07D59A18C0C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491833" y="997660"/>
                  <a:ext cx="184160" cy="289298"/>
                </a:xfrm>
                <a:prstGeom prst="line">
                  <a:avLst/>
                </a:prstGeom>
                <a:noFill/>
                <a:ln w="50800" cap="flat" cmpd="sng" algn="ctr">
                  <a:solidFill>
                    <a:srgbClr val="181A26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FA630C45-EBBB-4280-97CA-99B2EA0818FA}"/>
                  </a:ext>
                </a:extLst>
              </p:cNvPr>
              <p:cNvGrpSpPr/>
              <p:nvPr/>
            </p:nvGrpSpPr>
            <p:grpSpPr>
              <a:xfrm>
                <a:off x="5837768" y="4471535"/>
                <a:ext cx="287189" cy="243536"/>
                <a:chOff x="2409845" y="997660"/>
                <a:chExt cx="266148" cy="289299"/>
              </a:xfrm>
            </p:grpSpPr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4F844B02-826D-41A1-AF4C-73D790BE1A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409845" y="997661"/>
                  <a:ext cx="184160" cy="289298"/>
                </a:xfrm>
                <a:prstGeom prst="line">
                  <a:avLst/>
                </a:prstGeom>
                <a:noFill/>
                <a:ln w="50800" cap="flat" cmpd="sng" algn="ctr">
                  <a:solidFill>
                    <a:srgbClr val="181A26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13A593AC-FEE5-49D7-AC38-7DD0586E142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491833" y="997660"/>
                  <a:ext cx="184160" cy="289298"/>
                </a:xfrm>
                <a:prstGeom prst="line">
                  <a:avLst/>
                </a:prstGeom>
                <a:noFill/>
                <a:ln w="50800" cap="flat" cmpd="sng" algn="ctr">
                  <a:solidFill>
                    <a:srgbClr val="181A26"/>
                  </a:solidFill>
                  <a:prstDash val="solid"/>
                  <a:miter lim="800000"/>
                </a:ln>
                <a:effectLst/>
              </p:spPr>
            </p:cxnSp>
          </p:grp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C6D21DEF-FE78-4A36-B579-005A064D9631}"/>
                  </a:ext>
                </a:extLst>
              </p:cNvPr>
              <p:cNvCxnSpPr>
                <a:cxnSpLocks/>
                <a:stCxn id="69" idx="11"/>
              </p:cNvCxnSpPr>
              <p:nvPr/>
            </p:nvCxnSpPr>
            <p:spPr>
              <a:xfrm flipH="1">
                <a:off x="9956611" y="3316518"/>
                <a:ext cx="31736" cy="1901060"/>
              </a:xfrm>
              <a:prstGeom prst="line">
                <a:avLst/>
              </a:prstGeom>
              <a:noFill/>
              <a:ln w="19050" cap="flat" cmpd="sng" algn="ctr">
                <a:solidFill>
                  <a:srgbClr val="181A26"/>
                </a:solidFill>
                <a:prstDash val="sysDash"/>
                <a:miter lim="800000"/>
              </a:ln>
              <a:effectLst/>
            </p:spPr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01A5238-738F-4423-B329-C58D4661BD49}"/>
                  </a:ext>
                </a:extLst>
              </p:cNvPr>
              <p:cNvCxnSpPr>
                <a:cxnSpLocks/>
                <a:stCxn id="76" idx="2"/>
              </p:cNvCxnSpPr>
              <p:nvPr/>
            </p:nvCxnSpPr>
            <p:spPr>
              <a:xfrm>
                <a:off x="8816391" y="3545005"/>
                <a:ext cx="2348" cy="448652"/>
              </a:xfrm>
              <a:prstGeom prst="line">
                <a:avLst/>
              </a:prstGeom>
              <a:noFill/>
              <a:ln w="19050" cap="flat" cmpd="sng" algn="ctr">
                <a:solidFill>
                  <a:srgbClr val="5DBA00"/>
                </a:solidFill>
                <a:prstDash val="solid"/>
                <a:miter lim="800000"/>
                <a:tailEnd type="oval" w="lg" len="lg"/>
              </a:ln>
              <a:effectLst/>
            </p:spPr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3748185A-55B8-4690-A3F9-0AB295BFACE6}"/>
                  </a:ext>
                </a:extLst>
              </p:cNvPr>
              <p:cNvCxnSpPr>
                <a:cxnSpLocks/>
                <a:stCxn id="96" idx="2"/>
              </p:cNvCxnSpPr>
              <p:nvPr/>
            </p:nvCxnSpPr>
            <p:spPr>
              <a:xfrm>
                <a:off x="9988348" y="3055159"/>
                <a:ext cx="0" cy="261359"/>
              </a:xfrm>
              <a:prstGeom prst="line">
                <a:avLst/>
              </a:prstGeom>
              <a:noFill/>
              <a:ln w="22225" cap="flat" cmpd="sng" algn="ctr">
                <a:solidFill>
                  <a:srgbClr val="5DBA00"/>
                </a:solidFill>
                <a:prstDash val="solid"/>
                <a:miter lim="800000"/>
                <a:tailEnd type="oval" w="lg" len="lg"/>
              </a:ln>
              <a:effectLst/>
            </p:spPr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38F120B-2E83-46B1-9991-B534E49A692F}"/>
                  </a:ext>
                </a:extLst>
              </p:cNvPr>
              <p:cNvCxnSpPr>
                <a:cxnSpLocks/>
                <a:endCxn id="108" idx="0"/>
              </p:cNvCxnSpPr>
              <p:nvPr/>
            </p:nvCxnSpPr>
            <p:spPr>
              <a:xfrm>
                <a:off x="3361829" y="3436067"/>
                <a:ext cx="0" cy="981848"/>
              </a:xfrm>
              <a:prstGeom prst="line">
                <a:avLst/>
              </a:prstGeom>
              <a:noFill/>
              <a:ln w="22225" cap="flat" cmpd="sng" algn="ctr">
                <a:solidFill>
                  <a:srgbClr val="5DBA00"/>
                </a:solidFill>
                <a:prstDash val="solid"/>
                <a:miter lim="800000"/>
                <a:tailEnd type="oval" w="lg" len="lg"/>
              </a:ln>
              <a:effectLst/>
            </p:spPr>
          </p:cxnSp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BD4FBD1A-C54D-4EA6-913F-1188891D1BB0}"/>
                  </a:ext>
                </a:extLst>
              </p:cNvPr>
              <p:cNvGrpSpPr/>
              <p:nvPr/>
            </p:nvGrpSpPr>
            <p:grpSpPr>
              <a:xfrm>
                <a:off x="2537603" y="4705672"/>
                <a:ext cx="287189" cy="243536"/>
                <a:chOff x="2409845" y="997660"/>
                <a:chExt cx="266148" cy="289299"/>
              </a:xfrm>
            </p:grpSpPr>
            <p:cxnSp>
              <p:nvCxnSpPr>
                <p:cNvPr id="98" name="Straight Connector 97">
                  <a:extLst>
                    <a:ext uri="{FF2B5EF4-FFF2-40B4-BE49-F238E27FC236}">
                      <a16:creationId xmlns:a16="http://schemas.microsoft.com/office/drawing/2014/main" id="{915751DB-2937-4832-9A07-B6C09214F18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409845" y="997661"/>
                  <a:ext cx="184160" cy="289298"/>
                </a:xfrm>
                <a:prstGeom prst="line">
                  <a:avLst/>
                </a:prstGeom>
                <a:noFill/>
                <a:ln w="50800" cap="flat" cmpd="sng" algn="ctr">
                  <a:solidFill>
                    <a:srgbClr val="181A26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548E7145-3016-4D7B-AF66-FBA72DAF13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491833" y="997660"/>
                  <a:ext cx="184160" cy="289298"/>
                </a:xfrm>
                <a:prstGeom prst="line">
                  <a:avLst/>
                </a:prstGeom>
                <a:noFill/>
                <a:ln w="50800" cap="flat" cmpd="sng" algn="ctr">
                  <a:solidFill>
                    <a:srgbClr val="181A26"/>
                  </a:solidFill>
                  <a:prstDash val="solid"/>
                  <a:miter lim="800000"/>
                </a:ln>
                <a:effectLst/>
              </p:spPr>
            </p:cxnSp>
          </p:grp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8533BC01-2212-403C-BFEF-1A23DB3F8006}"/>
                  </a:ext>
                </a:extLst>
              </p:cNvPr>
              <p:cNvSpPr txBox="1"/>
              <p:nvPr/>
            </p:nvSpPr>
            <p:spPr>
              <a:xfrm>
                <a:off x="9940295" y="4340360"/>
                <a:ext cx="1796898" cy="276999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kern="0" dirty="0">
                    <a:solidFill>
                      <a:srgbClr val="181A26"/>
                    </a:solidFill>
                  </a:rPr>
                  <a:t>Visceral metastases</a:t>
                </a:r>
                <a:endParaRPr lang="en-US" sz="1200" b="1" kern="0" baseline="30000" dirty="0">
                  <a:solidFill>
                    <a:srgbClr val="181A26"/>
                  </a:solidFill>
                </a:endParaRPr>
              </a:p>
            </p:txBody>
          </p:sp>
          <p:sp>
            <p:nvSpPr>
              <p:cNvPr id="96" name="Rounded Rectangle 195">
                <a:extLst>
                  <a:ext uri="{FF2B5EF4-FFF2-40B4-BE49-F238E27FC236}">
                    <a16:creationId xmlns:a16="http://schemas.microsoft.com/office/drawing/2014/main" id="{C8DF1132-3721-4FA0-9A99-836670CB0F2A}"/>
                  </a:ext>
                </a:extLst>
              </p:cNvPr>
              <p:cNvSpPr/>
              <p:nvPr/>
            </p:nvSpPr>
            <p:spPr>
              <a:xfrm>
                <a:off x="9398653" y="2819260"/>
                <a:ext cx="1179388" cy="235899"/>
              </a:xfrm>
              <a:prstGeom prst="round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rIns="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CH" sz="1200" kern="0">
                    <a:solidFill>
                      <a:srgbClr val="000000"/>
                    </a:solidFill>
                  </a:rPr>
                  <a:t>Chemotherapy</a:t>
                </a:r>
                <a:endParaRPr lang="en-US" sz="1200" kern="0" baseline="3000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6C793823-CCAC-4ACE-AE1C-17D04ACA465A}"/>
                  </a:ext>
                </a:extLst>
              </p:cNvPr>
              <p:cNvSpPr txBox="1"/>
              <p:nvPr/>
            </p:nvSpPr>
            <p:spPr>
              <a:xfrm>
                <a:off x="2610161" y="3126412"/>
                <a:ext cx="1558101" cy="276999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squar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kern="0" dirty="0">
                    <a:solidFill>
                      <a:srgbClr val="000000"/>
                    </a:solidFill>
                    <a:latin typeface="+mn-lt"/>
                  </a:rPr>
                  <a:t>Treatment Initiation</a:t>
                </a:r>
                <a:endParaRPr lang="en-US" sz="1200" kern="0" baseline="300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469D4CD1-93FA-4F2D-9F3D-21E8C0FB2204}"/>
                </a:ext>
              </a:extLst>
            </p:cNvPr>
            <p:cNvCxnSpPr>
              <a:cxnSpLocks/>
            </p:cNvCxnSpPr>
            <p:nvPr/>
          </p:nvCxnSpPr>
          <p:spPr>
            <a:xfrm>
              <a:off x="2995902" y="3316734"/>
              <a:ext cx="0" cy="784263"/>
            </a:xfrm>
            <a:prstGeom prst="line">
              <a:avLst/>
            </a:prstGeom>
            <a:noFill/>
            <a:ln w="22225" cap="flat" cmpd="sng" algn="ctr">
              <a:solidFill>
                <a:srgbClr val="5DBA00"/>
              </a:solidFill>
              <a:prstDash val="solid"/>
              <a:miter lim="800000"/>
              <a:tailEnd type="oval" w="lg" len="lg"/>
            </a:ln>
            <a:effectLst/>
          </p:spPr>
        </p:cxn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BC2B64B-D5A9-497C-843B-EEFA0D5F4957}"/>
                </a:ext>
              </a:extLst>
            </p:cNvPr>
            <p:cNvSpPr/>
            <p:nvPr/>
          </p:nvSpPr>
          <p:spPr bwMode="gray">
            <a:xfrm>
              <a:off x="671356" y="3147192"/>
              <a:ext cx="2434812" cy="651738"/>
            </a:xfrm>
            <a:prstGeom prst="rect">
              <a:avLst/>
            </a:prstGeom>
            <a:solidFill>
              <a:srgbClr val="10384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eaLnBrk="0" hangingPunct="0">
                <a:defRPr/>
              </a:pPr>
              <a:r>
                <a:rPr lang="en-US" sz="1300" kern="0">
                  <a:solidFill>
                    <a:srgbClr val="FFFFFF"/>
                  </a:solidFill>
                  <a:latin typeface="Arial"/>
                  <a:cs typeface="Arial"/>
                </a:rPr>
                <a:t>PSA level rising despite ADT; additional treatment needed to control disease progress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8683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oup 130">
            <a:extLst>
              <a:ext uri="{FF2B5EF4-FFF2-40B4-BE49-F238E27FC236}">
                <a16:creationId xmlns:a16="http://schemas.microsoft.com/office/drawing/2014/main" id="{0C401134-F660-43C1-BDE4-B4C2A8D70E45}"/>
              </a:ext>
            </a:extLst>
          </p:cNvPr>
          <p:cNvGrpSpPr>
            <a:grpSpLocks/>
          </p:cNvGrpSpPr>
          <p:nvPr/>
        </p:nvGrpSpPr>
        <p:grpSpPr bwMode="auto">
          <a:xfrm>
            <a:off x="1184976" y="5392387"/>
            <a:ext cx="4491476" cy="960438"/>
            <a:chOff x="4662957" y="2319417"/>
            <a:chExt cx="4701774" cy="960166"/>
          </a:xfrm>
        </p:grpSpPr>
        <p:sp>
          <p:nvSpPr>
            <p:cNvPr id="66" name="Rectangle 7">
              <a:extLst>
                <a:ext uri="{FF2B5EF4-FFF2-40B4-BE49-F238E27FC236}">
                  <a16:creationId xmlns:a16="http://schemas.microsoft.com/office/drawing/2014/main" id="{80C73881-3F9A-4297-A76E-99A8E95EB4FD}"/>
                </a:ext>
              </a:extLst>
            </p:cNvPr>
            <p:cNvSpPr/>
            <p:nvPr/>
          </p:nvSpPr>
          <p:spPr>
            <a:xfrm>
              <a:off x="4662957" y="2319417"/>
              <a:ext cx="4701774" cy="960166"/>
            </a:xfrm>
            <a:prstGeom prst="rect">
              <a:avLst/>
            </a:prstGeom>
            <a:solidFill>
              <a:srgbClr val="E7E6E6"/>
            </a:solidFill>
            <a:ln w="381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E78317"/>
                </a:solidFill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7" name="Straight Connector 132">
              <a:extLst>
                <a:ext uri="{FF2B5EF4-FFF2-40B4-BE49-F238E27FC236}">
                  <a16:creationId xmlns:a16="http://schemas.microsoft.com/office/drawing/2014/main" id="{7357F7F3-E04A-4B77-82B0-A9D0A391236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014801" y="2417265"/>
              <a:ext cx="0" cy="739108"/>
            </a:xfrm>
            <a:prstGeom prst="line">
              <a:avLst/>
            </a:prstGeom>
            <a:noFill/>
            <a:ln w="25400" algn="ctr">
              <a:solidFill>
                <a:srgbClr val="1F459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68" name="Group 133">
              <a:extLst>
                <a:ext uri="{FF2B5EF4-FFF2-40B4-BE49-F238E27FC236}">
                  <a16:creationId xmlns:a16="http://schemas.microsoft.com/office/drawing/2014/main" id="{2E51052B-147B-4590-BBD3-8B439F500EA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52803" y="2495710"/>
              <a:ext cx="493214" cy="610674"/>
              <a:chOff x="4920067" y="1289459"/>
              <a:chExt cx="380061" cy="470573"/>
            </a:xfrm>
          </p:grpSpPr>
          <p:pic>
            <p:nvPicPr>
              <p:cNvPr id="74" name="Picture 15">
                <a:extLst>
                  <a:ext uri="{FF2B5EF4-FFF2-40B4-BE49-F238E27FC236}">
                    <a16:creationId xmlns:a16="http://schemas.microsoft.com/office/drawing/2014/main" id="{4A40B1A2-D871-4C02-9586-440073C5AE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duotone>
                  <a:srgbClr val="1F4597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20067" y="1289459"/>
                <a:ext cx="380061" cy="470573"/>
              </a:xfrm>
              <a:prstGeom prst="rect">
                <a:avLst/>
              </a:prstGeom>
            </p:spPr>
          </p:pic>
          <p:sp>
            <p:nvSpPr>
              <p:cNvPr id="75" name="Rectangle 16">
                <a:extLst>
                  <a:ext uri="{FF2B5EF4-FFF2-40B4-BE49-F238E27FC236}">
                    <a16:creationId xmlns:a16="http://schemas.microsoft.com/office/drawing/2014/main" id="{23318369-BF99-43EF-B362-A49B8D7AA857}"/>
                  </a:ext>
                </a:extLst>
              </p:cNvPr>
              <p:cNvSpPr/>
              <p:nvPr/>
            </p:nvSpPr>
            <p:spPr>
              <a:xfrm>
                <a:off x="4963367" y="1522941"/>
                <a:ext cx="140667" cy="129633"/>
              </a:xfrm>
              <a:prstGeom prst="rect">
                <a:avLst/>
              </a:prstGeom>
              <a:solidFill>
                <a:srgbClr val="4C6AA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kern="0">
                    <a:solidFill>
                      <a:srgbClr val="FFFFFF"/>
                    </a:solidFill>
                    <a:latin typeface="Arial"/>
                    <a:ea typeface="+mn-ea"/>
                    <a:cs typeface="+mn-cs"/>
                  </a:rPr>
                  <a:t>$</a:t>
                </a:r>
              </a:p>
            </p:txBody>
          </p:sp>
        </p:grpSp>
        <p:sp>
          <p:nvSpPr>
            <p:cNvPr id="69" name="Rectangle 10">
              <a:extLst>
                <a:ext uri="{FF2B5EF4-FFF2-40B4-BE49-F238E27FC236}">
                  <a16:creationId xmlns:a16="http://schemas.microsoft.com/office/drawing/2014/main" id="{F32DFD6D-42D2-45DE-8E26-D4A613186C34}"/>
                </a:ext>
              </a:extLst>
            </p:cNvPr>
            <p:cNvSpPr/>
            <p:nvPr/>
          </p:nvSpPr>
          <p:spPr>
            <a:xfrm>
              <a:off x="6028091" y="2357506"/>
              <a:ext cx="3336640" cy="83076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kern="0" dirty="0">
                  <a:solidFill>
                    <a:srgbClr val="1F4597"/>
                  </a:solidFill>
                  <a:latin typeface="+mn-lt"/>
                  <a:ea typeface="+mn-ea"/>
                  <a:cs typeface="+mn-cs"/>
                </a:rPr>
                <a:t>Bone metastases significantly lower QOL and increase healthcare costs</a:t>
              </a:r>
              <a:r>
                <a:rPr lang="en-US" sz="1600" b="1" kern="0" baseline="30000" dirty="0">
                  <a:solidFill>
                    <a:srgbClr val="1F4597"/>
                  </a:solidFill>
                  <a:latin typeface="+mn-lt"/>
                </a:rPr>
                <a:t>18</a:t>
              </a:r>
              <a:r>
                <a:rPr lang="en-US" sz="1600" b="1" kern="0" baseline="30000" dirty="0">
                  <a:solidFill>
                    <a:srgbClr val="1F4597"/>
                  </a:solidFill>
                  <a:latin typeface="+mn-lt"/>
                  <a:ea typeface="+mn-ea"/>
                  <a:cs typeface="+mn-cs"/>
                </a:rPr>
                <a:t>-22</a:t>
              </a:r>
              <a:endParaRPr lang="en-US" sz="1600" b="1" kern="0" dirty="0">
                <a:solidFill>
                  <a:srgbClr val="1F4597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70" name="Group 135">
              <a:extLst>
                <a:ext uri="{FF2B5EF4-FFF2-40B4-BE49-F238E27FC236}">
                  <a16:creationId xmlns:a16="http://schemas.microsoft.com/office/drawing/2014/main" id="{D405A72E-1AE6-4EB0-9487-EA315205F9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336444" y="2500872"/>
              <a:ext cx="601786" cy="601786"/>
              <a:chOff x="4894708" y="3321811"/>
              <a:chExt cx="609375" cy="609375"/>
            </a:xfrm>
          </p:grpSpPr>
          <p:sp>
            <p:nvSpPr>
              <p:cNvPr id="71" name="Oval 12">
                <a:extLst>
                  <a:ext uri="{FF2B5EF4-FFF2-40B4-BE49-F238E27FC236}">
                    <a16:creationId xmlns:a16="http://schemas.microsoft.com/office/drawing/2014/main" id="{50FE9911-E327-42C6-98DE-A00BA3D40B16}"/>
                  </a:ext>
                </a:extLst>
              </p:cNvPr>
              <p:cNvSpPr/>
              <p:nvPr/>
            </p:nvSpPr>
            <p:spPr>
              <a:xfrm>
                <a:off x="4895865" y="3321273"/>
                <a:ext cx="609199" cy="609078"/>
              </a:xfrm>
              <a:prstGeom prst="ellipse">
                <a:avLst/>
              </a:prstGeom>
              <a:solidFill>
                <a:srgbClr val="1F4597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800" kern="0">
                  <a:solidFill>
                    <a:srgbClr val="FFFFFF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Right Arrow 57">
                <a:extLst>
                  <a:ext uri="{FF2B5EF4-FFF2-40B4-BE49-F238E27FC236}">
                    <a16:creationId xmlns:a16="http://schemas.microsoft.com/office/drawing/2014/main" id="{C7588142-0DB3-4F88-A63A-8C9D2FA18DBF}"/>
                  </a:ext>
                </a:extLst>
              </p:cNvPr>
              <p:cNvSpPr/>
              <p:nvPr/>
            </p:nvSpPr>
            <p:spPr>
              <a:xfrm rot="5400000">
                <a:off x="4985118" y="3386309"/>
                <a:ext cx="430694" cy="515970"/>
              </a:xfrm>
              <a:prstGeom prst="rightArrow">
                <a:avLst>
                  <a:gd name="adj1" fmla="val 70352"/>
                  <a:gd name="adj2" fmla="val 42818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800" kern="0">
                  <a:solidFill>
                    <a:srgbClr val="FFFFFF"/>
                  </a:solidFill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73" name="Picture 14">
                <a:extLst>
                  <a:ext uri="{FF2B5EF4-FFF2-40B4-BE49-F238E27FC236}">
                    <a16:creationId xmlns:a16="http://schemas.microsoft.com/office/drawing/2014/main" id="{F167229A-DBCA-4760-8C6C-D25EB06076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rgbClr val="1F4597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039894" y="3502059"/>
                <a:ext cx="319003" cy="248879"/>
              </a:xfrm>
              <a:prstGeom prst="rect">
                <a:avLst/>
              </a:prstGeom>
            </p:spPr>
          </p:pic>
        </p:grpSp>
      </p:grpSp>
      <p:sp>
        <p:nvSpPr>
          <p:cNvPr id="129" name="Rectangle 35">
            <a:extLst>
              <a:ext uri="{FF2B5EF4-FFF2-40B4-BE49-F238E27FC236}">
                <a16:creationId xmlns:a16="http://schemas.microsoft.com/office/drawing/2014/main" id="{864A03CD-0B36-47E9-A5D6-78F947A97892}"/>
              </a:ext>
            </a:extLst>
          </p:cNvPr>
          <p:cNvSpPr/>
          <p:nvPr/>
        </p:nvSpPr>
        <p:spPr bwMode="auto">
          <a:xfrm>
            <a:off x="1184976" y="2837381"/>
            <a:ext cx="4491476" cy="2475081"/>
          </a:xfrm>
          <a:prstGeom prst="rect">
            <a:avLst/>
          </a:prstGeom>
          <a:solidFill>
            <a:srgbClr val="E7E6E6"/>
          </a:solidFill>
          <a:ln w="381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kern="0">
              <a:solidFill>
                <a:srgbClr val="E7E6E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30" name="Rectangle 36">
            <a:extLst>
              <a:ext uri="{FF2B5EF4-FFF2-40B4-BE49-F238E27FC236}">
                <a16:creationId xmlns:a16="http://schemas.microsoft.com/office/drawing/2014/main" id="{E0F4FDCC-4A03-46E6-9E89-4CEC52768E05}"/>
              </a:ext>
            </a:extLst>
          </p:cNvPr>
          <p:cNvSpPr/>
          <p:nvPr/>
        </p:nvSpPr>
        <p:spPr>
          <a:xfrm>
            <a:off x="1203442" y="2857724"/>
            <a:ext cx="45020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1F4597"/>
                </a:solidFill>
                <a:latin typeface="+mn-lt"/>
                <a:ea typeface="+mn-ea"/>
                <a:cs typeface="+mn-cs"/>
              </a:rPr>
              <a:t>In men with prostate cancer, 5-year survival is reduced after the development of metastases</a:t>
            </a:r>
            <a:r>
              <a:rPr lang="en-US" sz="1600" b="1" kern="0" baseline="30000" dirty="0">
                <a:solidFill>
                  <a:srgbClr val="1F4597"/>
                </a:solidFill>
                <a:latin typeface="+mn-lt"/>
              </a:rPr>
              <a:t>19</a:t>
            </a:r>
            <a:endParaRPr lang="en-US" sz="1600" b="1" kern="0" baseline="30000" dirty="0">
              <a:solidFill>
                <a:srgbClr val="1F4597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31" name="Chart 38">
            <a:extLst>
              <a:ext uri="{FF2B5EF4-FFF2-40B4-BE49-F238E27FC236}">
                <a16:creationId xmlns:a16="http://schemas.microsoft.com/office/drawing/2014/main" id="{EEF48EB3-6226-427F-8A2D-637C2BBFE6B7}"/>
              </a:ext>
            </a:extLst>
          </p:cNvPr>
          <p:cNvGraphicFramePr/>
          <p:nvPr/>
        </p:nvGraphicFramePr>
        <p:xfrm>
          <a:off x="1211725" y="3659411"/>
          <a:ext cx="1323364" cy="1375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2" name="Chart 39">
            <a:extLst>
              <a:ext uri="{FF2B5EF4-FFF2-40B4-BE49-F238E27FC236}">
                <a16:creationId xmlns:a16="http://schemas.microsoft.com/office/drawing/2014/main" id="{6CFF2D1D-BF4C-4527-8381-7B4C17AAEA0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448877" y="3712304"/>
          <a:ext cx="1320160" cy="137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3" name="Rectangle 40">
            <a:extLst>
              <a:ext uri="{FF2B5EF4-FFF2-40B4-BE49-F238E27FC236}">
                <a16:creationId xmlns:a16="http://schemas.microsoft.com/office/drawing/2014/main" id="{FAECF7E1-D029-4C8B-BF40-2983ABC4EDFE}"/>
              </a:ext>
            </a:extLst>
          </p:cNvPr>
          <p:cNvSpPr/>
          <p:nvPr/>
        </p:nvSpPr>
        <p:spPr bwMode="auto">
          <a:xfrm>
            <a:off x="2402722" y="4003287"/>
            <a:ext cx="1112837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1F4597"/>
                </a:solidFill>
                <a:latin typeface="+mn-lt"/>
                <a:ea typeface="+mn-ea"/>
                <a:cs typeface="+mn-cs"/>
              </a:rPr>
              <a:t>56%</a:t>
            </a:r>
            <a:br>
              <a:rPr lang="en-US" sz="1200" b="1" kern="0">
                <a:solidFill>
                  <a:srgbClr val="1F4597"/>
                </a:solidFill>
                <a:latin typeface="+mn-lt"/>
                <a:ea typeface="+mn-ea"/>
                <a:cs typeface="+mn-cs"/>
              </a:rPr>
            </a:br>
            <a:r>
              <a:rPr lang="en-US" sz="1200" kern="0">
                <a:solidFill>
                  <a:srgbClr val="1F4597"/>
                </a:solidFill>
                <a:latin typeface="+mn-lt"/>
                <a:ea typeface="+mn-ea"/>
                <a:cs typeface="+mn-cs"/>
              </a:rPr>
              <a:t>without bone metastases</a:t>
            </a:r>
          </a:p>
        </p:txBody>
      </p:sp>
      <p:sp>
        <p:nvSpPr>
          <p:cNvPr id="134" name="Rectangle 41">
            <a:extLst>
              <a:ext uri="{FF2B5EF4-FFF2-40B4-BE49-F238E27FC236}">
                <a16:creationId xmlns:a16="http://schemas.microsoft.com/office/drawing/2014/main" id="{2AACF0EC-4E35-4183-BFBF-771338BA16F9}"/>
              </a:ext>
            </a:extLst>
          </p:cNvPr>
          <p:cNvSpPr/>
          <p:nvPr/>
        </p:nvSpPr>
        <p:spPr bwMode="auto">
          <a:xfrm>
            <a:off x="4630298" y="4042602"/>
            <a:ext cx="1112837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1F4597"/>
                </a:solidFill>
                <a:latin typeface="+mn-lt"/>
                <a:ea typeface="+mn-ea"/>
                <a:cs typeface="+mn-cs"/>
              </a:rPr>
              <a:t>3%</a:t>
            </a:r>
            <a:br>
              <a:rPr lang="en-US" sz="1200" b="1" kern="0" dirty="0">
                <a:solidFill>
                  <a:srgbClr val="1F4597"/>
                </a:solidFill>
                <a:latin typeface="+mn-lt"/>
                <a:ea typeface="+mn-ea"/>
                <a:cs typeface="+mn-cs"/>
              </a:rPr>
            </a:br>
            <a:r>
              <a:rPr lang="en-US" sz="1200" kern="0" dirty="0">
                <a:solidFill>
                  <a:srgbClr val="1F4597"/>
                </a:solidFill>
                <a:latin typeface="+mn-lt"/>
                <a:ea typeface="+mn-ea"/>
                <a:cs typeface="+mn-cs"/>
              </a:rPr>
              <a:t>with bone metastases</a:t>
            </a:r>
          </a:p>
        </p:txBody>
      </p:sp>
      <p:sp>
        <p:nvSpPr>
          <p:cNvPr id="40" name="TextBox 5">
            <a:extLst>
              <a:ext uri="{FF2B5EF4-FFF2-40B4-BE49-F238E27FC236}">
                <a16:creationId xmlns:a16="http://schemas.microsoft.com/office/drawing/2014/main" id="{2BCC4FB7-0AFA-4321-8702-660E7AE8832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648427" y="2934568"/>
            <a:ext cx="4762524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b="1" kern="0" dirty="0">
                <a:solidFill>
                  <a:srgbClr val="1F4597"/>
                </a:solidFill>
              </a:rPr>
              <a:t>Relative risk for bone metastasis–free survival (BMFS)</a:t>
            </a:r>
            <a:r>
              <a:rPr lang="en-US" altLang="en-US" sz="1400" b="1" kern="0" baseline="30000" dirty="0">
                <a:solidFill>
                  <a:srgbClr val="1F4597"/>
                </a:solidFill>
              </a:rPr>
              <a:t>23</a:t>
            </a:r>
            <a:endParaRPr kumimoji="0" lang="en-US" altLang="en-US" sz="1400" b="1" i="0" u="none" strike="noStrike" kern="0" cap="none" spc="0" normalizeH="0" baseline="30000" noProof="0" dirty="0">
              <a:ln>
                <a:noFill/>
              </a:ln>
              <a:solidFill>
                <a:srgbClr val="1F4597"/>
              </a:solidFill>
              <a:effectLst/>
              <a:uLnTx/>
              <a:uFillTx/>
            </a:endParaRPr>
          </a:p>
        </p:txBody>
      </p:sp>
      <p:pic>
        <p:nvPicPr>
          <p:cNvPr id="41" name="Picture 1">
            <a:extLst>
              <a:ext uri="{FF2B5EF4-FFF2-40B4-BE49-F238E27FC236}">
                <a16:creationId xmlns:a16="http://schemas.microsoft.com/office/drawing/2014/main" id="{171B3F0C-E4E0-400F-80CC-817C5069F56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571" t="7495" r="2853"/>
          <a:stretch/>
        </p:blipFill>
        <p:spPr>
          <a:xfrm>
            <a:off x="6906075" y="3296645"/>
            <a:ext cx="3577520" cy="2961779"/>
          </a:xfrm>
          <a:prstGeom prst="rect">
            <a:avLst/>
          </a:prstGeom>
        </p:spPr>
      </p:pic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11796D7-B9C2-4D54-89A2-3B200429985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88246" y="1314451"/>
            <a:ext cx="11193569" cy="117477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fontAlgn="base">
              <a:spcBef>
                <a:spcPts val="300"/>
              </a:spcBef>
              <a:spcAft>
                <a:spcPts val="600"/>
              </a:spcAft>
              <a:buBlip>
                <a:blip r:embed="rId7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fontAlgn="base">
              <a:spcBef>
                <a:spcPts val="300"/>
              </a:spcBef>
              <a:spcAft>
                <a:spcPts val="600"/>
              </a:spcAft>
              <a:buBlip>
                <a:blip r:embed="rId8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rtl="0" fontAlgn="base">
              <a:spcBef>
                <a:spcPts val="300"/>
              </a:spcBef>
              <a:spcAft>
                <a:spcPts val="600"/>
              </a:spcAft>
              <a:buBlip>
                <a:blip r:embed="rId9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rtl="0" fontAlgn="base">
              <a:spcBef>
                <a:spcPts val="300"/>
              </a:spcBef>
              <a:spcAft>
                <a:spcPts val="600"/>
              </a:spcAft>
              <a:buBlip>
                <a:blip r:embed="rId10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>
                <a:srgbClr val="0091DF"/>
              </a:buClr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1/3 of </a:t>
            </a:r>
            <a:r>
              <a:rPr kumimoji="0" lang="en-US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nmCRPC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 progresses to </a:t>
            </a:r>
            <a:r>
              <a:rPr kumimoji="0" lang="en-US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mCRPC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 within 2 years on ADT alone</a:t>
            </a:r>
            <a:r>
              <a:rPr lang="en-US" altLang="en-US" sz="1600" baseline="30000" dirty="0">
                <a:solidFill>
                  <a:srgbClr val="000000"/>
                </a:solidFill>
                <a:latin typeface="Arial"/>
                <a:cs typeface="Arial"/>
              </a:rPr>
              <a:t>17</a:t>
            </a:r>
            <a:endParaRPr kumimoji="0" lang="en-US" altLang="en-US" sz="16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lvl="1">
              <a:buClr>
                <a:srgbClr val="0091DF"/>
              </a:buClr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In men with CRPC, PSADT is a strong predictor for the speed of disease progression in terms of development of metastases and overall </a:t>
            </a:r>
            <a:r>
              <a:rPr lang="en-US" altLang="en-US" sz="1600" dirty="0">
                <a:solidFill>
                  <a:srgbClr val="000000"/>
                </a:solidFill>
                <a:latin typeface="Arial"/>
                <a:cs typeface="Arial"/>
              </a:rPr>
              <a:t>survival</a:t>
            </a:r>
            <a:endParaRPr lang="en-US" altLang="en-US" sz="1600" baseline="300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69875" marR="0" lvl="1" indent="-269875" algn="l" defTabSz="914400" rtl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91DF"/>
              </a:buClr>
              <a:buSzTx/>
              <a:buFontTx/>
              <a:buBlip>
                <a:blip r:embed="rId7"/>
              </a:buBlip>
              <a:tabLst/>
              <a:defRPr/>
            </a:pPr>
            <a:r>
              <a:rPr lang="en-US" altLang="en-US" sz="1600" dirty="0">
                <a:solidFill>
                  <a:srgbClr val="000000"/>
                </a:solidFill>
                <a:latin typeface="Arial"/>
                <a:cs typeface="Arial"/>
              </a:rPr>
              <a:t>Patients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 with shorter PSADT are at a greater risk of 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30F4B"/>
                </a:solidFill>
                <a:effectLst/>
                <a:uLnTx/>
                <a:uFillTx/>
                <a:latin typeface="Arial"/>
                <a:cs typeface="Arial"/>
              </a:rPr>
              <a:t>distant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30F4B"/>
                </a:solidFill>
                <a:effectLst/>
                <a:uLnTx/>
                <a:uFillTx/>
                <a:latin typeface="Arial"/>
                <a:cs typeface="Arial"/>
              </a:rPr>
              <a:t>metastasis</a:t>
            </a:r>
            <a:endParaRPr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8" name="Title 3">
            <a:extLst>
              <a:ext uri="{FF2B5EF4-FFF2-40B4-BE49-F238E27FC236}">
                <a16:creationId xmlns:a16="http://schemas.microsoft.com/office/drawing/2014/main" id="{4DA8E6A6-B808-4BD5-BE83-AC6BD60DD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en-US" dirty="0"/>
              <a:t>Patients With Shorter PSADT Are at a Greater Risk of Distant Metastasis and Therefore Have a High Urgency for Trea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97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8C86BC9-1EAD-49CC-9551-E969BDB8B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ic therapy for M0 CRPC according to Guidelin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6D70371-0C76-4BF2-992A-42AE86992D0E}"/>
              </a:ext>
            </a:extLst>
          </p:cNvPr>
          <p:cNvSpPr txBox="1">
            <a:spLocks/>
          </p:cNvSpPr>
          <p:nvPr/>
        </p:nvSpPr>
        <p:spPr>
          <a:xfrm>
            <a:off x="336820" y="1813683"/>
            <a:ext cx="3758364" cy="278895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45708" tIns="91416" rIns="45708" bIns="91416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dirty="0">
                <a:solidFill>
                  <a:srgbClr val="10384F"/>
                </a:solidFill>
                <a:latin typeface="Arial"/>
                <a:cs typeface="Arial"/>
              </a:rPr>
              <a:t>NCCN Guidelines Prostate Cancer (Version 4.2024)</a:t>
            </a:r>
            <a:r>
              <a:rPr lang="en-US" sz="1600" b="1" baseline="30000" dirty="0">
                <a:solidFill>
                  <a:srgbClr val="10384F"/>
                </a:solidFill>
                <a:latin typeface="Arial"/>
                <a:cs typeface="Arial"/>
              </a:rPr>
              <a:t>16</a:t>
            </a:r>
          </a:p>
          <a:p>
            <a:pPr marL="120778" lvl="1" indent="0">
              <a:buClr>
                <a:srgbClr val="0091DF"/>
              </a:buClr>
              <a:buNone/>
              <a:defRPr/>
            </a:pPr>
            <a:endParaRPr lang="en-US" sz="1400" dirty="0">
              <a:solidFill>
                <a:srgbClr val="000000"/>
              </a:solidFill>
            </a:endParaRPr>
          </a:p>
          <a:p>
            <a:pPr marL="120778" lvl="1" indent="0">
              <a:buClr>
                <a:srgbClr val="0091DF"/>
              </a:buClr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For patients with CRPC, imaging studies negative for distant metastases and PSADT ≤ 10 months, secondary hormone therapy (with apalutamide, </a:t>
            </a:r>
            <a:r>
              <a:rPr lang="en-US" sz="1400" dirty="0" err="1">
                <a:solidFill>
                  <a:srgbClr val="000000"/>
                </a:solidFill>
              </a:rPr>
              <a:t>darolutamide</a:t>
            </a:r>
            <a:r>
              <a:rPr lang="en-US" sz="1400" dirty="0">
                <a:solidFill>
                  <a:srgbClr val="000000"/>
                </a:solidFill>
              </a:rPr>
              <a:t> or enzalutamide) is the preferred regimen [category 1 evidence]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7355475-BE23-4896-B06C-14958485FB19}"/>
              </a:ext>
            </a:extLst>
          </p:cNvPr>
          <p:cNvSpPr txBox="1">
            <a:spLocks/>
          </p:cNvSpPr>
          <p:nvPr/>
        </p:nvSpPr>
        <p:spPr bwMode="gray">
          <a:xfrm>
            <a:off x="4216818" y="1813679"/>
            <a:ext cx="3758364" cy="27889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45708" tIns="91416" rIns="45708" bIns="91416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dirty="0">
                <a:solidFill>
                  <a:srgbClr val="10384F"/>
                </a:solidFill>
                <a:latin typeface="Arial"/>
                <a:cs typeface="Arial"/>
              </a:rPr>
              <a:t>EAU Guideline</a:t>
            </a:r>
            <a:br>
              <a:rPr lang="en-US" sz="1600" b="1" dirty="0">
                <a:solidFill>
                  <a:srgbClr val="10384F"/>
                </a:solidFill>
                <a:latin typeface="Arial"/>
                <a:cs typeface="Arial"/>
              </a:rPr>
            </a:br>
            <a:r>
              <a:rPr lang="en-US" sz="1600" b="1" dirty="0">
                <a:solidFill>
                  <a:srgbClr val="10384F"/>
                </a:solidFill>
                <a:latin typeface="Arial"/>
                <a:cs typeface="Arial"/>
              </a:rPr>
              <a:t>(update 2024)</a:t>
            </a:r>
            <a:r>
              <a:rPr lang="en-US" sz="1600" b="1" baseline="30000" dirty="0">
                <a:solidFill>
                  <a:srgbClr val="10384F"/>
                </a:solidFill>
                <a:latin typeface="Arial"/>
                <a:cs typeface="Arial"/>
              </a:rPr>
              <a:t>2</a:t>
            </a:r>
          </a:p>
          <a:p>
            <a:pPr algn="ctr">
              <a:spcBef>
                <a:spcPts val="60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10384F"/>
              </a:solidFill>
              <a:latin typeface="Arial"/>
              <a:cs typeface="Arial"/>
            </a:endParaRPr>
          </a:p>
          <a:p>
            <a:pPr marL="120626" lvl="1" indent="0">
              <a:buClr>
                <a:srgbClr val="0091DF"/>
              </a:buClr>
              <a:buNone/>
              <a:defRPr/>
            </a:pPr>
            <a:r>
              <a:rPr lang="en-US" sz="1400" dirty="0">
                <a:solidFill>
                  <a:srgbClr val="000000"/>
                </a:solidFill>
                <a:cs typeface="Arial"/>
              </a:rPr>
              <a:t>Offer apalutamide, </a:t>
            </a:r>
            <a:r>
              <a:rPr lang="en-US" sz="1400" dirty="0" err="1">
                <a:solidFill>
                  <a:srgbClr val="000000"/>
                </a:solidFill>
                <a:cs typeface="Arial"/>
              </a:rPr>
              <a:t>darolutamide</a:t>
            </a:r>
            <a:r>
              <a:rPr lang="en-US" sz="1400" dirty="0">
                <a:solidFill>
                  <a:srgbClr val="000000"/>
                </a:solidFill>
                <a:cs typeface="Arial"/>
              </a:rPr>
              <a:t> or enzalutamide to patients with M0 CRPC and a high risk of developing metastasis (PSA-DT &lt; 10 months) to prolong time to metastases and overall survival [strong rating]</a:t>
            </a: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>
              <a:defRPr/>
            </a:pPr>
            <a:endParaRPr lang="en-US" dirty="0">
              <a:solidFill>
                <a:srgbClr val="10384F"/>
              </a:solidFill>
              <a:latin typeface="Arial"/>
              <a:cs typeface="Arial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5293DAB-C55D-4BD8-A982-61B8B83B7439}"/>
              </a:ext>
            </a:extLst>
          </p:cNvPr>
          <p:cNvSpPr txBox="1">
            <a:spLocks/>
          </p:cNvSpPr>
          <p:nvPr/>
        </p:nvSpPr>
        <p:spPr bwMode="gray">
          <a:xfrm>
            <a:off x="8122788" y="1813678"/>
            <a:ext cx="3758364" cy="27889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45708" tIns="91416" rIns="45708" bIns="91416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dirty="0">
                <a:solidFill>
                  <a:srgbClr val="10384F"/>
                </a:solidFill>
                <a:latin typeface="Arial"/>
                <a:cs typeface="Arial"/>
              </a:rPr>
              <a:t>ESMO Guideline Prostate Cancer (update 2020/2023)</a:t>
            </a:r>
            <a:r>
              <a:rPr lang="en-US" sz="1600" b="1" baseline="30000" dirty="0">
                <a:solidFill>
                  <a:srgbClr val="10384F"/>
                </a:solidFill>
                <a:latin typeface="Arial"/>
                <a:cs typeface="Arial"/>
              </a:rPr>
              <a:t>24,41</a:t>
            </a:r>
          </a:p>
          <a:p>
            <a:pPr algn="ctr">
              <a:spcBef>
                <a:spcPts val="0"/>
              </a:spcBef>
              <a:defRPr/>
            </a:pPr>
            <a:endParaRPr lang="en-US" sz="2800" b="1" baseline="30000" dirty="0">
              <a:solidFill>
                <a:srgbClr val="10384F"/>
              </a:solidFill>
              <a:latin typeface="Arial"/>
              <a:cs typeface="Arial"/>
            </a:endParaRPr>
          </a:p>
          <a:p>
            <a:pPr>
              <a:spcBef>
                <a:spcPts val="0"/>
              </a:spcBef>
            </a:pPr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</a:rPr>
              <a:t>Apalutamide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</a:rPr>
              <a:t>darolutamide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 or enzalutamide should be considered as options for men with M0 (on bone scan and CT) CRPC and a high risk of disease progression [Evidence rating: I, B].</a:t>
            </a:r>
            <a:endParaRPr lang="en-US" sz="1600" b="1" dirty="0">
              <a:solidFill>
                <a:schemeClr val="accent5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16635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A65267-876C-415D-B6E7-4D336BDAC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b="1" dirty="0"/>
              <a:t>Possible algorithm of treatment in patients with nmCRPC</a:t>
            </a:r>
            <a:r>
              <a:rPr lang="en-US" b="1" baseline="30000" dirty="0"/>
              <a:t>3,25</a:t>
            </a:r>
            <a:endParaRPr lang="de-CH" b="1" baseline="30000" dirty="0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85A11DE0-C654-44FF-9A86-BB3BB0441998}"/>
              </a:ext>
            </a:extLst>
          </p:cNvPr>
          <p:cNvSpPr txBox="1">
            <a:spLocks/>
          </p:cNvSpPr>
          <p:nvPr/>
        </p:nvSpPr>
        <p:spPr bwMode="gray">
          <a:xfrm>
            <a:off x="8827128" y="6439643"/>
            <a:ext cx="3223034" cy="28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171450" indent="-171450" algn="l" defTabSz="4572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-171450" algn="l" defTabSz="4572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Georgia" panose="02040502050405020303" pitchFamily="18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0100" indent="-114300" algn="l" defTabSz="4572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Tx/>
              <a:buFont typeface="Arial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Tx/>
              <a:buFont typeface="Arial"/>
              <a:buChar char="•"/>
              <a:defRPr sz="10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 * Consensus statement by the RADAR group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</a:rPr>
              <a:t>2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. </a:t>
            </a:r>
          </a:p>
          <a:p>
            <a:pPr mar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ADT: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androgendeprivation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 therapy; CIM: conventional imaging;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mCRPC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: metastatic castration-resistant prostate cancer;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nmCRPC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: nonmetastatic castration-resistant prostate cancer;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nmHSPC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: nonmetastatic hormone-sensitive prostate cancer; PET: positron emission tomography; PSA: prostate-specific antigen; PSA-dt: PSA doubling time; PSMA: prostate-specific membrane antigen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B9E6110-AF1B-4832-A967-19A3979FFE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8012" y="1244030"/>
            <a:ext cx="4089416" cy="558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0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8adc4060-e7de-4bbe-9e2e-1837ae9ccef0"/>
  <p:tag name="UNDO_REDO_REVISION" val="5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8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4t8hYOBOmlOuZa/IT88sQEEAAAAAAADAAAAAAADAAAAAwADAAAAAAADAAAAAwADAAIA////////BQAAAAMAEAAL5uT7qKXAHEm+9pU47f+9wQQAAAABAAMAAAACAAMAAAAEAAMAAAACAAMAAAAEAAQAAgD///////8FAAAABAAQAAv17b7ZeQnyRJHJSGKtpIzm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i3yFg4E6aU65lr8hPzyxAQNEYXRhAFMAAAAIUHJlc2VudGF0aW9uU2Nhbm5lZEZvckxpbmtlZFNoYXBlcwABAk51bWJlckZvcm1hdFNlcGFyYXRvck1vZGUACgAAAEF1dG9tYXRpYwAAAk5hbWUAJAAAAExpbmtlZFNoYXBlUHJlc2VudGF0aW9uU2V0dGluZ3NEYXRhABBWZXJzaW9uAAAAAAAJTGFzdFdyaXRlAN9mE6GCAQAAAAEA/////4MAgwAAAAVfaWQAEAAAAATm5PuopcAcSb72lTjt/73BA0RhdGEAGwAAAARMaW5rZWRTaGFwZURhdGEABQAAAAAAAk5hbWUAGQAAAExpbmtlZFNoYXBlc0RhdGFQcm9wZXJ0eQAQVmVyc2lvbgAAAAAACUxhc3RXcml0ZQDNZhOhggEAAAACAP////+DAIMAAAAFX2lkABAAAAAE9e2+2XkJ8kSRyUhiraSM5gNEYXRhABsAAAAETGlua2VkU2hhcGVEYXRhAAUAAAAAAAJOYW1lABkAAABMaW5rZWRTaGFwZXNEYXRhUHJvcGVydHkAEFZlcnNpb24AAQAAAAlMYXN0V3JpdGUAz8sG8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JCw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JQAGTGlua2VkU2hhcGVQcmVzZW50YXRpb25TZXR0aW5nc0RhdGFfMAQAAAAAAAUAAAAAAAUAAAADAAUAAAAAAAUAAAADAAMAAgEDAAAAAwD///////8aAAZMaW5rZWRTaGFwZXNEYXRhUHJvcGVydHlfMAQAAAABAAUAAAACAAUAAAAEAAUAAAACAAUAAAAEAAQAAgEDAAAABAD///////8aAAZMaW5rZWRTaGFwZXNEYXRhUHJvcGVydHlfMQQAAAACAAUAAAADAAUAAAABAAUAAAAD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1694136972382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Bayer Xofigo">
  <a:themeElements>
    <a:clrScheme name="Xofigo Slide Library">
      <a:dk1>
        <a:sysClr val="windowText" lastClr="000000"/>
      </a:dk1>
      <a:lt1>
        <a:sysClr val="window" lastClr="FFFFFF"/>
      </a:lt1>
      <a:dk2>
        <a:srgbClr val="A13F88"/>
      </a:dk2>
      <a:lt2>
        <a:srgbClr val="676767"/>
      </a:lt2>
      <a:accent1>
        <a:srgbClr val="0070C0"/>
      </a:accent1>
      <a:accent2>
        <a:srgbClr val="EFB21B"/>
      </a:accent2>
      <a:accent3>
        <a:srgbClr val="A3A3A3"/>
      </a:accent3>
      <a:accent4>
        <a:srgbClr val="6E205B"/>
      </a:accent4>
      <a:accent5>
        <a:srgbClr val="F5D076"/>
      </a:accent5>
      <a:accent6>
        <a:srgbClr val="676767"/>
      </a:accent6>
      <a:hlink>
        <a:srgbClr val="A13F88"/>
      </a:hlink>
      <a:folHlink>
        <a:srgbClr val="676767"/>
      </a:folHlink>
    </a:clrScheme>
    <a:fontScheme name="Bayer Stivarg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yer Xofigo template_example slides.pptx" id="{2B0AB314-E38D-40D7-9CEF-C964DCD4EEF3}" vid="{DFD9C23A-6505-43E0-97D5-173EB74BC14F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ayer Xofigo">
  <a:themeElements>
    <a:clrScheme name="Xofigo Slide Library">
      <a:dk1>
        <a:sysClr val="windowText" lastClr="000000"/>
      </a:dk1>
      <a:lt1>
        <a:sysClr val="window" lastClr="FFFFFF"/>
      </a:lt1>
      <a:dk2>
        <a:srgbClr val="A13F88"/>
      </a:dk2>
      <a:lt2>
        <a:srgbClr val="676767"/>
      </a:lt2>
      <a:accent1>
        <a:srgbClr val="0070C0"/>
      </a:accent1>
      <a:accent2>
        <a:srgbClr val="EFB21B"/>
      </a:accent2>
      <a:accent3>
        <a:srgbClr val="A3A3A3"/>
      </a:accent3>
      <a:accent4>
        <a:srgbClr val="6E205B"/>
      </a:accent4>
      <a:accent5>
        <a:srgbClr val="F5D076"/>
      </a:accent5>
      <a:accent6>
        <a:srgbClr val="676767"/>
      </a:accent6>
      <a:hlink>
        <a:srgbClr val="A13F88"/>
      </a:hlink>
      <a:folHlink>
        <a:srgbClr val="676767"/>
      </a:folHlink>
    </a:clrScheme>
    <a:fontScheme name="Bayer Stivarg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yer Xofigo template_example slides.pptx" id="{2B0AB314-E38D-40D7-9CEF-C964DCD4EEF3}" vid="{DFD9C23A-6505-43E0-97D5-173EB74BC14F}"/>
    </a:ext>
  </a:extLst>
</a:theme>
</file>

<file path=ppt/theme/theme3.xml><?xml version="1.0" encoding="utf-8"?>
<a:theme xmlns:a="http://schemas.openxmlformats.org/drawingml/2006/main" name="Design1">
  <a:themeElements>
    <a:clrScheme name="Benutzerdefiniert 2">
      <a:dk1>
        <a:srgbClr val="10384F"/>
      </a:dk1>
      <a:lt1>
        <a:srgbClr val="FFFFFF"/>
      </a:lt1>
      <a:dk2>
        <a:srgbClr val="BAA3BE"/>
      </a:dk2>
      <a:lt2>
        <a:srgbClr val="F2F2F2"/>
      </a:lt2>
      <a:accent1>
        <a:srgbClr val="00B050"/>
      </a:accent1>
      <a:accent2>
        <a:srgbClr val="00BCFF"/>
      </a:accent2>
      <a:accent3>
        <a:srgbClr val="004422"/>
      </a:accent3>
      <a:accent4>
        <a:srgbClr val="10384F"/>
      </a:accent4>
      <a:accent5>
        <a:srgbClr val="443247"/>
      </a:accent5>
      <a:accent6>
        <a:srgbClr val="D30F4B"/>
      </a:accent6>
      <a:hlink>
        <a:srgbClr val="00BCFF"/>
      </a:hlink>
      <a:folHlink>
        <a:srgbClr val="10384F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1750">
          <a:solidFill>
            <a:schemeClr val="accent1"/>
          </a:solidFill>
          <a:miter lim="800000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esign1" id="{7ADDD8F1-F81B-42FD-8743-D8A49B810A72}" vid="{B1AC8219-FE0E-467B-A746-B1DB3CBAC8F3}"/>
    </a:ext>
  </a:extLst>
</a:theme>
</file>

<file path=ppt/theme/theme4.xml><?xml version="1.0" encoding="utf-8"?>
<a:theme xmlns:a="http://schemas.openxmlformats.org/drawingml/2006/main" name="Master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40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esentation72" id="{D8FEC87E-E49C-0946-AE93-611A4C9A72AB}" vid="{D5320208-D15C-5847-A573-D5158363CA57}"/>
    </a:ext>
  </a:extLst>
</a:theme>
</file>

<file path=ppt/theme/theme5.xml><?xml version="1.0" encoding="utf-8"?>
<a:theme xmlns:a="http://schemas.openxmlformats.org/drawingml/2006/main" name="PWP_Bay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6.xml><?xml version="1.0" encoding="utf-8"?>
<a:theme xmlns:a="http://schemas.openxmlformats.org/drawingml/2006/main" name="Daro Medical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Custom 1">
      <a:majorFont>
        <a:latin typeface="Arial Black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aro Medical" id="{612EBEA5-4CE3-4B31-AD54-AB62E17DE0B5}" vid="{94C32C4C-3669-4D00-B7BC-5BC719A8DD18}"/>
    </a:ext>
  </a:extLst>
</a:theme>
</file>

<file path=ppt/theme/theme7.xml><?xml version="1.0" encoding="utf-8"?>
<a:theme xmlns:a="http://schemas.openxmlformats.org/drawingml/2006/main" name="3_Bay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Custom 1">
      <a:majorFont>
        <a:latin typeface="Arial Black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8.xml><?xml version="1.0" encoding="utf-8"?>
<a:theme xmlns:a="http://schemas.openxmlformats.org/drawingml/2006/main" name="Slide Kit Master Layout">
  <a:themeElements>
    <a:clrScheme name="Custom 11">
      <a:dk1>
        <a:srgbClr val="223C78"/>
      </a:dk1>
      <a:lt1>
        <a:srgbClr val="FFFFFF"/>
      </a:lt1>
      <a:dk2>
        <a:srgbClr val="939598"/>
      </a:dk2>
      <a:lt2>
        <a:srgbClr val="F3FAFF"/>
      </a:lt2>
      <a:accent1>
        <a:srgbClr val="F16623"/>
      </a:accent1>
      <a:accent2>
        <a:srgbClr val="009EDB"/>
      </a:accent2>
      <a:accent3>
        <a:srgbClr val="B8D6A2"/>
      </a:accent3>
      <a:accent4>
        <a:srgbClr val="223C78"/>
      </a:accent4>
      <a:accent5>
        <a:srgbClr val="404140"/>
      </a:accent5>
      <a:accent6>
        <a:srgbClr val="77787B"/>
      </a:accent6>
      <a:hlink>
        <a:srgbClr val="F16623"/>
      </a:hlink>
      <a:folHlink>
        <a:srgbClr val="77787B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 Kit Master Layout" id="{809FA313-A447-4354-BA08-562EFD71E143}" vid="{8220ACDD-AFBB-42B6-B289-30A9255185B8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ayer 2017">
    <a:dk1>
      <a:srgbClr val="000000"/>
    </a:dk1>
    <a:lt1>
      <a:srgbClr val="FFFFFF"/>
    </a:lt1>
    <a:dk2>
      <a:srgbClr val="FF3162"/>
    </a:dk2>
    <a:lt2>
      <a:srgbClr val="624963"/>
    </a:lt2>
    <a:accent1>
      <a:srgbClr val="10384F"/>
    </a:accent1>
    <a:accent2>
      <a:srgbClr val="00BCFF"/>
    </a:accent2>
    <a:accent3>
      <a:srgbClr val="004422"/>
    </a:accent3>
    <a:accent4>
      <a:srgbClr val="89D329"/>
    </a:accent4>
    <a:accent5>
      <a:srgbClr val="443247"/>
    </a:accent5>
    <a:accent6>
      <a:srgbClr val="D30F4B"/>
    </a:accent6>
    <a:hlink>
      <a:srgbClr val="00BCFF"/>
    </a:hlink>
    <a:folHlink>
      <a:srgbClr val="89D329"/>
    </a:folHlink>
  </a:clrScheme>
  <a:fontScheme name="Arial">
    <a:majorFont>
      <a:latin typeface="Arial"/>
      <a:ea typeface="Arial Unicode MS"/>
      <a:cs typeface="Arial"/>
    </a:majorFont>
    <a:minorFont>
      <a:latin typeface="Arial"/>
      <a:ea typeface="Arial Unicode MS"/>
      <a:cs typeface="Arial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Bayer 2017">
    <a:dk1>
      <a:srgbClr val="000000"/>
    </a:dk1>
    <a:lt1>
      <a:srgbClr val="FFFFFF"/>
    </a:lt1>
    <a:dk2>
      <a:srgbClr val="FF3162"/>
    </a:dk2>
    <a:lt2>
      <a:srgbClr val="624963"/>
    </a:lt2>
    <a:accent1>
      <a:srgbClr val="10384F"/>
    </a:accent1>
    <a:accent2>
      <a:srgbClr val="00BCFF"/>
    </a:accent2>
    <a:accent3>
      <a:srgbClr val="004422"/>
    </a:accent3>
    <a:accent4>
      <a:srgbClr val="89D329"/>
    </a:accent4>
    <a:accent5>
      <a:srgbClr val="443247"/>
    </a:accent5>
    <a:accent6>
      <a:srgbClr val="D30F4B"/>
    </a:accent6>
    <a:hlink>
      <a:srgbClr val="00BCFF"/>
    </a:hlink>
    <a:folHlink>
      <a:srgbClr val="89D329"/>
    </a:folHlink>
  </a:clrScheme>
  <a:fontScheme name="Arial">
    <a:majorFont>
      <a:latin typeface="Arial"/>
      <a:ea typeface="Arial Unicode MS"/>
      <a:cs typeface="Arial"/>
    </a:majorFont>
    <a:minorFont>
      <a:latin typeface="Arial"/>
      <a:ea typeface="Arial Unicode MS"/>
      <a:cs typeface="Arial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Bayer 2017">
    <a:dk1>
      <a:srgbClr val="000000"/>
    </a:dk1>
    <a:lt1>
      <a:srgbClr val="FFFFFF"/>
    </a:lt1>
    <a:dk2>
      <a:srgbClr val="FF3162"/>
    </a:dk2>
    <a:lt2>
      <a:srgbClr val="624963"/>
    </a:lt2>
    <a:accent1>
      <a:srgbClr val="10384F"/>
    </a:accent1>
    <a:accent2>
      <a:srgbClr val="00BCFF"/>
    </a:accent2>
    <a:accent3>
      <a:srgbClr val="004422"/>
    </a:accent3>
    <a:accent4>
      <a:srgbClr val="89D329"/>
    </a:accent4>
    <a:accent5>
      <a:srgbClr val="443247"/>
    </a:accent5>
    <a:accent6>
      <a:srgbClr val="D30F4B"/>
    </a:accent6>
    <a:hlink>
      <a:srgbClr val="00BCFF"/>
    </a:hlink>
    <a:folHlink>
      <a:srgbClr val="89D329"/>
    </a:folHlink>
  </a:clrScheme>
  <a:fontScheme name="Arial">
    <a:majorFont>
      <a:latin typeface="Arial"/>
      <a:ea typeface="Arial Unicode MS"/>
      <a:cs typeface="Arial"/>
    </a:majorFont>
    <a:minorFont>
      <a:latin typeface="Arial"/>
      <a:ea typeface="Arial Unicode MS"/>
      <a:cs typeface="Arial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 xsi:nil="true"/>
    <_dlc_ExpireDateSaved xmlns="http://schemas.microsoft.com/sharepoint/v3" xsi:nil="true"/>
    <_dlc_ExpireDate xmlns="http://schemas.microsoft.com/sharepoint/v3" xsi:nil="true"/>
    <_dlc_Exempt xmlns="http://schemas.microsoft.com/sharepoint/v3" xsi:nil="true"/>
    <lcf76f155ced4ddcb4097134ff3c332f xmlns="60e175a8-a91d-45cb-b64c-1894803b351b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6B2E086CF2C243903AC4D389B7F67D" ma:contentTypeVersion="14" ma:contentTypeDescription="Create a new document." ma:contentTypeScope="" ma:versionID="d49b525ad94f7944dbfc05cf72f139f8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60e175a8-a91d-45cb-b64c-1894803b351b" xmlns:ns4="5a91a428-e1a2-4fcd-a197-de3b6b3887e8" targetNamespace="http://schemas.microsoft.com/office/2006/metadata/properties" ma:root="true" ma:fieldsID="2e96b00a87f7b1a1ca7714e35dc6dc7d" ns1:_="" ns2:_="" ns3:_="" ns4:_="">
    <xsd:import namespace="http://schemas.microsoft.com/sharepoint/v3"/>
    <xsd:import namespace="1a4d292e-883c-434b-96e3-060cfff16c86"/>
    <xsd:import namespace="60e175a8-a91d-45cb-b64c-1894803b351b"/>
    <xsd:import namespace="5a91a428-e1a2-4fcd-a197-de3b6b3887e8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EventHashCode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DateTaken" minOccurs="0"/>
                <xsd:element ref="ns3:MediaServiceObjectDetectorVersions" minOccurs="0"/>
                <xsd:element ref="ns3:MediaLengthInSeconds" minOccurs="0"/>
                <xsd:element ref="ns3:lcf76f155ced4ddcb4097134ff3c332f" minOccurs="0"/>
                <xsd:element ref="ns4:SharedWithUsers" minOccurs="0"/>
                <xsd:element ref="ns4:SharedWithDetail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9828a39b-429d-4cd1-82b9-e41b43116422}" ma:internalName="TaxCatchAll" ma:showField="CatchAllData" ma:web="5a91a428-e1a2-4fcd-a197-de3b6b3887e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9828a39b-429d-4cd1-82b9-e41b43116422}" ma:internalName="TaxCatchAllLabel" ma:readOnly="true" ma:showField="CatchAllDataLabel" ma:web="5a91a428-e1a2-4fcd-a197-de3b6b3887e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e175a8-a91d-45cb-b64c-1894803b351b" elementFormDefault="qualified">
    <xsd:import namespace="http://schemas.microsoft.com/office/2006/documentManagement/types"/>
    <xsd:import namespace="http://schemas.microsoft.com/office/infopath/2007/PartnerControls"/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7bc43322-b630-4bac-8b27-31def233d1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91a428-e1a2-4fcd-a197-de3b6b3887e8" elementFormDefault="qualified">
    <xsd:import namespace="http://schemas.microsoft.com/office/2006/documentManagement/types"/>
    <xsd:import namespace="http://schemas.microsoft.com/office/infopath/2007/PartnerControls"/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haredContentType xmlns="Microsoft.SharePoint.Taxonomy.ContentTypeSync" SourceId="7bc43322-b630-4bac-8b27-31def233d1d0" ContentTypeId="0x0101" PreviousValue="false"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5B73B7-6A89-4C61-8FC7-625461A349C9}">
  <ds:schemaRefs>
    <ds:schemaRef ds:uri="http://schemas.microsoft.com/office/2006/documentManagement/types"/>
    <ds:schemaRef ds:uri="http://schemas.microsoft.com/office/infopath/2007/PartnerControls"/>
    <ds:schemaRef ds:uri="323e0d82-7659-4d6f-ac2a-7eca2477f40c"/>
    <ds:schemaRef ds:uri="http://purl.org/dc/elements/1.1/"/>
    <ds:schemaRef ds:uri="http://schemas.microsoft.com/office/2006/metadata/properties"/>
    <ds:schemaRef ds:uri="63428aa0-6fc6-489a-8cda-4e5adc3dbd4e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1a4d292e-883c-434b-96e3-060cfff16c86"/>
    <ds:schemaRef ds:uri="http://schemas.microsoft.com/sharepoint/v3"/>
    <ds:schemaRef ds:uri="52c41914-47fd-4263-9e1b-d8877e82f575"/>
  </ds:schemaRefs>
</ds:datastoreItem>
</file>

<file path=customXml/itemProps2.xml><?xml version="1.0" encoding="utf-8"?>
<ds:datastoreItem xmlns:ds="http://schemas.openxmlformats.org/officeDocument/2006/customXml" ds:itemID="{7BDD6F5B-EACE-4AAC-81A1-CCCE498FE429}"/>
</file>

<file path=customXml/itemProps3.xml><?xml version="1.0" encoding="utf-8"?>
<ds:datastoreItem xmlns:ds="http://schemas.openxmlformats.org/officeDocument/2006/customXml" ds:itemID="{2FA7301A-AEF2-4C2B-ACCD-747A477511AE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513BB983-20F0-4129-A074-CBB6747D53D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33</Words>
  <Application>Microsoft Office PowerPoint</Application>
  <PresentationFormat>Breitbild</PresentationFormat>
  <Paragraphs>878</Paragraphs>
  <Slides>28</Slides>
  <Notes>1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8</vt:i4>
      </vt:variant>
      <vt:variant>
        <vt:lpstr>Folientitel</vt:lpstr>
      </vt:variant>
      <vt:variant>
        <vt:i4>28</vt:i4>
      </vt:variant>
    </vt:vector>
  </HeadingPairs>
  <TitlesOfParts>
    <vt:vector size="42" baseType="lpstr">
      <vt:lpstr>Arial</vt:lpstr>
      <vt:lpstr>Arial Unicode MS</vt:lpstr>
      <vt:lpstr>Calibri</vt:lpstr>
      <vt:lpstr>Courier New</vt:lpstr>
      <vt:lpstr>Helvetica</vt:lpstr>
      <vt:lpstr>Wingdings</vt:lpstr>
      <vt:lpstr>Bayer Xofigo</vt:lpstr>
      <vt:lpstr>1_Bayer Xofigo</vt:lpstr>
      <vt:lpstr>Design1</vt:lpstr>
      <vt:lpstr>Master</vt:lpstr>
      <vt:lpstr>PWP_Bayer_16-9</vt:lpstr>
      <vt:lpstr>Daro Medical</vt:lpstr>
      <vt:lpstr>3_Bayer_16-9</vt:lpstr>
      <vt:lpstr>Slide Kit Master Layout</vt:lpstr>
      <vt:lpstr>DAROLUTAMIDE in nmCRPC (NUBEQA®)</vt:lpstr>
      <vt:lpstr>Disclaimer</vt:lpstr>
      <vt:lpstr>TABLE OF CONTENT</vt:lpstr>
      <vt:lpstr>Non-metastatic castration-resistant prostate cancer (nmCRPC) </vt:lpstr>
      <vt:lpstr>nmCRPC Definition2-4</vt:lpstr>
      <vt:lpstr>Patients With nmCRPC Can Have Rising PSA Levels But Are Mostly Asymptomatic From Their Cancer5-16</vt:lpstr>
      <vt:lpstr>Patients With Shorter PSADT Are at a Greater Risk of Distant Metastasis and Therefore Have a High Urgency for Treatment</vt:lpstr>
      <vt:lpstr>Systemic therapy for M0 CRPC according to Guidelines</vt:lpstr>
      <vt:lpstr>Possible algorithm of treatment in patients with nmCRPC3,25</vt:lpstr>
      <vt:lpstr>The use of PSMA-PET in nmCRPC can cause stage migration and the Will Rogers phenomenon25</vt:lpstr>
      <vt:lpstr>What is Darolutamide? </vt:lpstr>
      <vt:lpstr>Darolutamide Is a Potent Androgen Receptor Inhibitor</vt:lpstr>
      <vt:lpstr>ARAMIS: Phase 3 Study in nmCRPC</vt:lpstr>
      <vt:lpstr>ARAMIS Trial Design8,35,36</vt:lpstr>
      <vt:lpstr>ARAMIS: Patient Criteria* and Treatment8,35</vt:lpstr>
      <vt:lpstr>ARAMIS: Patient Demographics and Baseline Characteristics8</vt:lpstr>
      <vt:lpstr>ARAMIS: Metastasis-free Survival (MFS) 8</vt:lpstr>
      <vt:lpstr>ARAMIS: Overall Survival 36</vt:lpstr>
      <vt:lpstr>ARAMIS: Subsequent Life-Prolonging Therapies in Patients Who Discontinued Study Treatment 36</vt:lpstr>
      <vt:lpstr>ARAMIS: Secondary Endpoints 36</vt:lpstr>
      <vt:lpstr>ARAMIS: Quality of Life (QOL) 37,38</vt:lpstr>
      <vt:lpstr>ARAMIS: Summary of TEAEs 8,36</vt:lpstr>
      <vt:lpstr>ARAMIS: Incidence of TEAEs8,36</vt:lpstr>
      <vt:lpstr>ARAMIS Drug-Drug Interactions Between Commonly Prescribed Drugs and AR Inhibitors</vt:lpstr>
      <vt:lpstr>ARAMIS: Concomitant Medications</vt:lpstr>
      <vt:lpstr>ARAMIS Conclusions</vt:lpstr>
      <vt:lpstr>References</vt:lpstr>
      <vt:lpstr>Short Professional Information</vt:lpstr>
    </vt:vector>
  </TitlesOfParts>
  <Company>DC=ghg,DC=grey,DC=glob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value of radium 223 as an addition to best standard of care was demonstrated in ALSYMPCA</dc:title>
  <dc:creator>Pascale Reidenberg</dc:creator>
  <cp:keywords/>
  <cp:lastModifiedBy>Alexa Becker</cp:lastModifiedBy>
  <cp:revision>3</cp:revision>
  <cp:lastPrinted>2019-08-27T07:07:41Z</cp:lastPrinted>
  <dcterms:created xsi:type="dcterms:W3CDTF">2013-06-12T20:07:55Z</dcterms:created>
  <dcterms:modified xsi:type="dcterms:W3CDTF">2024-06-07T08:46:3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850223-87a8-40c3-9eb2-432606efca2a_Enabled">
    <vt:lpwstr>true</vt:lpwstr>
  </property>
  <property fmtid="{D5CDD505-2E9C-101B-9397-08002B2CF9AE}" pid="3" name="MSIP_Label_7f850223-87a8-40c3-9eb2-432606efca2a_SetDate">
    <vt:lpwstr>2022-08-15T10:38:24Z</vt:lpwstr>
  </property>
  <property fmtid="{D5CDD505-2E9C-101B-9397-08002B2CF9AE}" pid="4" name="MSIP_Label_7f850223-87a8-40c3-9eb2-432606efca2a_Method">
    <vt:lpwstr>Privileged</vt:lpwstr>
  </property>
  <property fmtid="{D5CDD505-2E9C-101B-9397-08002B2CF9AE}" pid="5" name="MSIP_Label_7f850223-87a8-40c3-9eb2-432606efca2a_Name">
    <vt:lpwstr>7f850223-87a8-40c3-9eb2-432606efca2a</vt:lpwstr>
  </property>
  <property fmtid="{D5CDD505-2E9C-101B-9397-08002B2CF9AE}" pid="6" name="MSIP_Label_7f850223-87a8-40c3-9eb2-432606efca2a_SiteId">
    <vt:lpwstr>fcb2b37b-5da0-466b-9b83-0014b67a7c78</vt:lpwstr>
  </property>
  <property fmtid="{D5CDD505-2E9C-101B-9397-08002B2CF9AE}" pid="7" name="MSIP_Label_7f850223-87a8-40c3-9eb2-432606efca2a_ContentBits">
    <vt:lpwstr>0</vt:lpwstr>
  </property>
  <property fmtid="{D5CDD505-2E9C-101B-9397-08002B2CF9AE}" pid="8" name="ContentTypeId">
    <vt:lpwstr>0x010100066B2E086CF2C243903AC4D389B7F67D</vt:lpwstr>
  </property>
  <property fmtid="{D5CDD505-2E9C-101B-9397-08002B2CF9AE}" pid="9" name="MediaServiceImageTags">
    <vt:lpwstr/>
  </property>
</Properties>
</file>